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2" r:id="rId3"/>
    <p:sldMasterId id="2147483671" r:id="rId4"/>
    <p:sldMasterId id="2147483674" r:id="rId5"/>
  </p:sldMasterIdLst>
  <p:notesMasterIdLst>
    <p:notesMasterId r:id="rId43"/>
  </p:notesMasterIdLst>
  <p:sldIdLst>
    <p:sldId id="3343" r:id="rId6"/>
    <p:sldId id="3349" r:id="rId7"/>
    <p:sldId id="3342" r:id="rId8"/>
    <p:sldId id="3356" r:id="rId9"/>
    <p:sldId id="3357" r:id="rId10"/>
    <p:sldId id="3353" r:id="rId11"/>
    <p:sldId id="257" r:id="rId12"/>
    <p:sldId id="256" r:id="rId13"/>
    <p:sldId id="258" r:id="rId14"/>
    <p:sldId id="3318" r:id="rId15"/>
    <p:sldId id="2147483644" r:id="rId16"/>
    <p:sldId id="620" r:id="rId17"/>
    <p:sldId id="2147483646" r:id="rId18"/>
    <p:sldId id="2147483645" r:id="rId19"/>
    <p:sldId id="3344" r:id="rId20"/>
    <p:sldId id="3350" r:id="rId21"/>
    <p:sldId id="2147483647" r:id="rId22"/>
    <p:sldId id="3351" r:id="rId23"/>
    <p:sldId id="3345" r:id="rId24"/>
    <p:sldId id="259" r:id="rId25"/>
    <p:sldId id="3352" r:id="rId26"/>
    <p:sldId id="260" r:id="rId27"/>
    <p:sldId id="3354" r:id="rId28"/>
    <p:sldId id="3355" r:id="rId29"/>
    <p:sldId id="261" r:id="rId30"/>
    <p:sldId id="3346" r:id="rId31"/>
    <p:sldId id="3348" r:id="rId32"/>
    <p:sldId id="3347" r:id="rId33"/>
    <p:sldId id="3358" r:id="rId34"/>
    <p:sldId id="262" r:id="rId35"/>
    <p:sldId id="266" r:id="rId36"/>
    <p:sldId id="268" r:id="rId37"/>
    <p:sldId id="267" r:id="rId38"/>
    <p:sldId id="269" r:id="rId39"/>
    <p:sldId id="270" r:id="rId40"/>
    <p:sldId id="271" r:id="rId41"/>
    <p:sldId id="3359" r:id="rId42"/>
  </p:sldIdLst>
  <p:sldSz cx="12192000" cy="6858000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105E630-BE19-4163-9419-9AA252543F27}" v="27" dt="2026-05-18T10:14:10.37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90" d="100"/>
          <a:sy n="90" d="100"/>
        </p:scale>
        <p:origin x="39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notesMaster" Target="notesMasters/notesMaster1.xml"/><Relationship Id="rId48" Type="http://schemas.microsoft.com/office/2016/11/relationships/changesInfo" Target="changesInfos/changesInfo1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lanta Żyśko" userId="4381f832-b5c7-4656-b45d-0977651080ea" providerId="ADAL" clId="{CD609B17-0EEC-4881-B58E-32A5A922EC40}"/>
    <pc:docChg chg="undo custSel addSld delSld modSld sldOrd">
      <pc:chgData name="Jolanta Żyśko" userId="4381f832-b5c7-4656-b45d-0977651080ea" providerId="ADAL" clId="{CD609B17-0EEC-4881-B58E-32A5A922EC40}" dt="2026-05-18T10:14:39.247" v="1716" actId="1076"/>
      <pc:docMkLst>
        <pc:docMk/>
      </pc:docMkLst>
      <pc:sldChg chg="addSp delSp modSp mod ord delAnim modAnim">
        <pc:chgData name="Jolanta Żyśko" userId="4381f832-b5c7-4656-b45d-0977651080ea" providerId="ADAL" clId="{CD609B17-0EEC-4881-B58E-32A5A922EC40}" dt="2026-05-18T09:44:42.896" v="1560" actId="1076"/>
        <pc:sldMkLst>
          <pc:docMk/>
          <pc:sldMk cId="4096205488" sldId="256"/>
        </pc:sldMkLst>
        <pc:spChg chg="mod">
          <ac:chgData name="Jolanta Żyśko" userId="4381f832-b5c7-4656-b45d-0977651080ea" providerId="ADAL" clId="{CD609B17-0EEC-4881-B58E-32A5A922EC40}" dt="2026-05-13T13:21:56.714" v="859" actId="20577"/>
          <ac:spMkLst>
            <pc:docMk/>
            <pc:sldMk cId="4096205488" sldId="256"/>
            <ac:spMk id="2" creationId="{3E3E382B-0E93-7266-9A08-7E8C50054701}"/>
          </ac:spMkLst>
        </pc:spChg>
        <pc:spChg chg="add mod">
          <ac:chgData name="Jolanta Żyśko" userId="4381f832-b5c7-4656-b45d-0977651080ea" providerId="ADAL" clId="{CD609B17-0EEC-4881-B58E-32A5A922EC40}" dt="2026-05-18T09:44:42.896" v="1560" actId="1076"/>
          <ac:spMkLst>
            <pc:docMk/>
            <pc:sldMk cId="4096205488" sldId="256"/>
            <ac:spMk id="3" creationId="{703B18B0-CED3-F214-47B6-4ACF2D585AD9}"/>
          </ac:spMkLst>
        </pc:spChg>
        <pc:spChg chg="add mod">
          <ac:chgData name="Jolanta Żyśko" userId="4381f832-b5c7-4656-b45d-0977651080ea" providerId="ADAL" clId="{CD609B17-0EEC-4881-B58E-32A5A922EC40}" dt="2026-05-13T13:11:47.367" v="778" actId="478"/>
          <ac:spMkLst>
            <pc:docMk/>
            <pc:sldMk cId="4096205488" sldId="256"/>
            <ac:spMk id="8" creationId="{A577B416-7652-C4BF-4C14-B3A5503F16D1}"/>
          </ac:spMkLst>
        </pc:spChg>
        <pc:spChg chg="add mod">
          <ac:chgData name="Jolanta Żyśko" userId="4381f832-b5c7-4656-b45d-0977651080ea" providerId="ADAL" clId="{CD609B17-0EEC-4881-B58E-32A5A922EC40}" dt="2026-05-13T13:18:45.783" v="806" actId="1076"/>
          <ac:spMkLst>
            <pc:docMk/>
            <pc:sldMk cId="4096205488" sldId="256"/>
            <ac:spMk id="13" creationId="{C050B3F3-B476-48C1-9C34-FD1350FAA0FA}"/>
          </ac:spMkLst>
        </pc:spChg>
        <pc:spChg chg="add del mod">
          <ac:chgData name="Jolanta Żyśko" userId="4381f832-b5c7-4656-b45d-0977651080ea" providerId="ADAL" clId="{CD609B17-0EEC-4881-B58E-32A5A922EC40}" dt="2026-05-18T09:08:06.201" v="1369" actId="478"/>
          <ac:spMkLst>
            <pc:docMk/>
            <pc:sldMk cId="4096205488" sldId="256"/>
            <ac:spMk id="18" creationId="{F9E752EB-499E-FD2A-52A1-6921F1737950}"/>
          </ac:spMkLst>
        </pc:spChg>
        <pc:spChg chg="add mod">
          <ac:chgData name="Jolanta Żyśko" userId="4381f832-b5c7-4656-b45d-0977651080ea" providerId="ADAL" clId="{CD609B17-0EEC-4881-B58E-32A5A922EC40}" dt="2026-05-13T14:09:10.109" v="906" actId="1076"/>
          <ac:spMkLst>
            <pc:docMk/>
            <pc:sldMk cId="4096205488" sldId="256"/>
            <ac:spMk id="22" creationId="{EFAB0430-A2FE-CC80-C08D-23F18312C47A}"/>
          </ac:spMkLst>
        </pc:spChg>
        <pc:picChg chg="add mod">
          <ac:chgData name="Jolanta Żyśko" userId="4381f832-b5c7-4656-b45d-0977651080ea" providerId="ADAL" clId="{CD609B17-0EEC-4881-B58E-32A5A922EC40}" dt="2026-05-13T14:08:10.455" v="896" actId="1076"/>
          <ac:picMkLst>
            <pc:docMk/>
            <pc:sldMk cId="4096205488" sldId="256"/>
            <ac:picMk id="16" creationId="{95CFF77D-05B1-A1C9-765B-914078FC53F7}"/>
          </ac:picMkLst>
        </pc:picChg>
      </pc:sldChg>
      <pc:sldChg chg="addSp delSp modSp add mod">
        <pc:chgData name="Jolanta Żyśko" userId="4381f832-b5c7-4656-b45d-0977651080ea" providerId="ADAL" clId="{CD609B17-0EEC-4881-B58E-32A5A922EC40}" dt="2026-05-18T09:35:35.865" v="1526"/>
        <pc:sldMkLst>
          <pc:docMk/>
          <pc:sldMk cId="3993888927" sldId="257"/>
        </pc:sldMkLst>
        <pc:spChg chg="mod">
          <ac:chgData name="Jolanta Żyśko" userId="4381f832-b5c7-4656-b45d-0977651080ea" providerId="ADAL" clId="{CD609B17-0EEC-4881-B58E-32A5A922EC40}" dt="2026-05-13T20:11:11.834" v="943" actId="27636"/>
          <ac:spMkLst>
            <pc:docMk/>
            <pc:sldMk cId="3993888927" sldId="257"/>
            <ac:spMk id="2" creationId="{91C1F1C2-F9F9-BB48-D7AA-14773DB7157A}"/>
          </ac:spMkLst>
        </pc:spChg>
        <pc:spChg chg="add mod">
          <ac:chgData name="Jolanta Żyśko" userId="4381f832-b5c7-4656-b45d-0977651080ea" providerId="ADAL" clId="{CD609B17-0EEC-4881-B58E-32A5A922EC40}" dt="2026-05-18T09:35:35.865" v="1526"/>
          <ac:spMkLst>
            <pc:docMk/>
            <pc:sldMk cId="3993888927" sldId="257"/>
            <ac:spMk id="3" creationId="{3C056C27-AA62-D932-B9AA-93DBBE158750}"/>
          </ac:spMkLst>
        </pc:spChg>
        <pc:picChg chg="mod">
          <ac:chgData name="Jolanta Żyśko" userId="4381f832-b5c7-4656-b45d-0977651080ea" providerId="ADAL" clId="{CD609B17-0EEC-4881-B58E-32A5A922EC40}" dt="2026-05-13T20:10:22.937" v="913" actId="1076"/>
          <ac:picMkLst>
            <pc:docMk/>
            <pc:sldMk cId="3993888927" sldId="257"/>
            <ac:picMk id="11" creationId="{4FD2D809-BCF1-4738-09B5-EC7E35E3F0BC}"/>
          </ac:picMkLst>
        </pc:picChg>
      </pc:sldChg>
      <pc:sldChg chg="addSp delSp modSp add mod">
        <pc:chgData name="Jolanta Żyśko" userId="4381f832-b5c7-4656-b45d-0977651080ea" providerId="ADAL" clId="{CD609B17-0EEC-4881-B58E-32A5A922EC40}" dt="2026-05-18T09:47:44.277" v="1580" actId="1076"/>
        <pc:sldMkLst>
          <pc:docMk/>
          <pc:sldMk cId="3844856178" sldId="258"/>
        </pc:sldMkLst>
        <pc:spChg chg="mod">
          <ac:chgData name="Jolanta Żyśko" userId="4381f832-b5c7-4656-b45d-0977651080ea" providerId="ADAL" clId="{CD609B17-0EEC-4881-B58E-32A5A922EC40}" dt="2026-05-13T14:05:33.777" v="880" actId="20577"/>
          <ac:spMkLst>
            <pc:docMk/>
            <pc:sldMk cId="3844856178" sldId="258"/>
            <ac:spMk id="2" creationId="{60CB31EB-4A6A-6C8B-5DA7-9020A658E019}"/>
          </ac:spMkLst>
        </pc:spChg>
        <pc:spChg chg="add del mod">
          <ac:chgData name="Jolanta Żyśko" userId="4381f832-b5c7-4656-b45d-0977651080ea" providerId="ADAL" clId="{CD609B17-0EEC-4881-B58E-32A5A922EC40}" dt="2026-05-18T09:46:55.035" v="1562" actId="478"/>
          <ac:spMkLst>
            <pc:docMk/>
            <pc:sldMk cId="3844856178" sldId="258"/>
            <ac:spMk id="3" creationId="{891F53D7-F329-A05B-4332-53F1B80A52E5}"/>
          </ac:spMkLst>
        </pc:spChg>
        <pc:spChg chg="add del mod">
          <ac:chgData name="Jolanta Żyśko" userId="4381f832-b5c7-4656-b45d-0977651080ea" providerId="ADAL" clId="{CD609B17-0EEC-4881-B58E-32A5A922EC40}" dt="2026-05-18T09:16:05.711" v="1371" actId="478"/>
          <ac:spMkLst>
            <pc:docMk/>
            <pc:sldMk cId="3844856178" sldId="258"/>
            <ac:spMk id="4" creationId="{5E0F935A-6EF8-3B57-94DB-99F476EB9CD9}"/>
          </ac:spMkLst>
        </pc:spChg>
        <pc:spChg chg="add mod">
          <ac:chgData name="Jolanta Żyśko" userId="4381f832-b5c7-4656-b45d-0977651080ea" providerId="ADAL" clId="{CD609B17-0EEC-4881-B58E-32A5A922EC40}" dt="2026-05-13T14:07:33.059" v="895" actId="1076"/>
          <ac:spMkLst>
            <pc:docMk/>
            <pc:sldMk cId="3844856178" sldId="258"/>
            <ac:spMk id="6" creationId="{9E807C84-4E1B-B723-D17D-40CF928D6F1F}"/>
          </ac:spMkLst>
        </pc:spChg>
        <pc:spChg chg="add mod">
          <ac:chgData name="Jolanta Żyśko" userId="4381f832-b5c7-4656-b45d-0977651080ea" providerId="ADAL" clId="{CD609B17-0EEC-4881-B58E-32A5A922EC40}" dt="2026-05-18T09:47:44.277" v="1580" actId="1076"/>
          <ac:spMkLst>
            <pc:docMk/>
            <pc:sldMk cId="3844856178" sldId="258"/>
            <ac:spMk id="7" creationId="{9BE12860-A64C-12D9-E7E0-EB56E3CE037F}"/>
          </ac:spMkLst>
        </pc:spChg>
        <pc:picChg chg="mod">
          <ac:chgData name="Jolanta Żyśko" userId="4381f832-b5c7-4656-b45d-0977651080ea" providerId="ADAL" clId="{CD609B17-0EEC-4881-B58E-32A5A922EC40}" dt="2026-05-13T14:07:08.354" v="892" actId="1076"/>
          <ac:picMkLst>
            <pc:docMk/>
            <pc:sldMk cId="3844856178" sldId="258"/>
            <ac:picMk id="20" creationId="{FC388336-02E4-E5EB-9F7A-BDAC10BD89E9}"/>
          </ac:picMkLst>
        </pc:picChg>
      </pc:sldChg>
      <pc:sldChg chg="addSp modSp add">
        <pc:chgData name="Jolanta Żyśko" userId="4381f832-b5c7-4656-b45d-0977651080ea" providerId="ADAL" clId="{CD609B17-0EEC-4881-B58E-32A5A922EC40}" dt="2026-05-18T10:03:37.848" v="1619"/>
        <pc:sldMkLst>
          <pc:docMk/>
          <pc:sldMk cId="1845977501" sldId="259"/>
        </pc:sldMkLst>
        <pc:spChg chg="add mod">
          <ac:chgData name="Jolanta Żyśko" userId="4381f832-b5c7-4656-b45d-0977651080ea" providerId="ADAL" clId="{CD609B17-0EEC-4881-B58E-32A5A922EC40}" dt="2026-05-18T10:03:37.848" v="1619"/>
          <ac:spMkLst>
            <pc:docMk/>
            <pc:sldMk cId="1845977501" sldId="259"/>
            <ac:spMk id="6" creationId="{286F3C2A-7851-3D40-9120-A0982FFCD1A8}"/>
          </ac:spMkLst>
        </pc:spChg>
      </pc:sldChg>
      <pc:sldChg chg="addSp modSp add">
        <pc:chgData name="Jolanta Żyśko" userId="4381f832-b5c7-4656-b45d-0977651080ea" providerId="ADAL" clId="{CD609B17-0EEC-4881-B58E-32A5A922EC40}" dt="2026-05-18T10:03:45.404" v="1620"/>
        <pc:sldMkLst>
          <pc:docMk/>
          <pc:sldMk cId="1391819448" sldId="260"/>
        </pc:sldMkLst>
        <pc:spChg chg="add mod">
          <ac:chgData name="Jolanta Żyśko" userId="4381f832-b5c7-4656-b45d-0977651080ea" providerId="ADAL" clId="{CD609B17-0EEC-4881-B58E-32A5A922EC40}" dt="2026-05-18T10:03:45.404" v="1620"/>
          <ac:spMkLst>
            <pc:docMk/>
            <pc:sldMk cId="1391819448" sldId="260"/>
            <ac:spMk id="6" creationId="{39A3C8A0-5E70-B4FF-3CA9-43B6E6A45D4C}"/>
          </ac:spMkLst>
        </pc:spChg>
      </pc:sldChg>
      <pc:sldChg chg="addSp modSp add">
        <pc:chgData name="Jolanta Żyśko" userId="4381f832-b5c7-4656-b45d-0977651080ea" providerId="ADAL" clId="{CD609B17-0EEC-4881-B58E-32A5A922EC40}" dt="2026-05-18T10:03:50.980" v="1621"/>
        <pc:sldMkLst>
          <pc:docMk/>
          <pc:sldMk cId="903447534" sldId="261"/>
        </pc:sldMkLst>
        <pc:spChg chg="add mod">
          <ac:chgData name="Jolanta Żyśko" userId="4381f832-b5c7-4656-b45d-0977651080ea" providerId="ADAL" clId="{CD609B17-0EEC-4881-B58E-32A5A922EC40}" dt="2026-05-18T10:03:50.980" v="1621"/>
          <ac:spMkLst>
            <pc:docMk/>
            <pc:sldMk cId="903447534" sldId="261"/>
            <ac:spMk id="6" creationId="{67F543A3-2331-0685-7A57-0DD8F879FEEF}"/>
          </ac:spMkLst>
        </pc:spChg>
      </pc:sldChg>
      <pc:sldChg chg="addSp delSp modSp add mod">
        <pc:chgData name="Jolanta Żyśko" userId="4381f832-b5c7-4656-b45d-0977651080ea" providerId="ADAL" clId="{CD609B17-0EEC-4881-B58E-32A5A922EC40}" dt="2026-05-13T21:27:03.626" v="1294" actId="1076"/>
        <pc:sldMkLst>
          <pc:docMk/>
          <pc:sldMk cId="2489862619" sldId="262"/>
        </pc:sldMkLst>
        <pc:spChg chg="mod">
          <ac:chgData name="Jolanta Żyśko" userId="4381f832-b5c7-4656-b45d-0977651080ea" providerId="ADAL" clId="{CD609B17-0EEC-4881-B58E-32A5A922EC40}" dt="2026-05-13T21:12:13.583" v="1156" actId="20577"/>
          <ac:spMkLst>
            <pc:docMk/>
            <pc:sldMk cId="2489862619" sldId="262"/>
            <ac:spMk id="2" creationId="{DB54576F-A5FF-A3B9-26E3-3D1B1348A394}"/>
          </ac:spMkLst>
        </pc:spChg>
        <pc:spChg chg="mod">
          <ac:chgData name="Jolanta Żyśko" userId="4381f832-b5c7-4656-b45d-0977651080ea" providerId="ADAL" clId="{CD609B17-0EEC-4881-B58E-32A5A922EC40}" dt="2026-05-13T21:12:21.464" v="1157" actId="6549"/>
          <ac:spMkLst>
            <pc:docMk/>
            <pc:sldMk cId="2489862619" sldId="262"/>
            <ac:spMk id="6" creationId="{FF469BAC-7539-5513-1E9F-09768A7B25C3}"/>
          </ac:spMkLst>
        </pc:spChg>
        <pc:picChg chg="add mod">
          <ac:chgData name="Jolanta Żyśko" userId="4381f832-b5c7-4656-b45d-0977651080ea" providerId="ADAL" clId="{CD609B17-0EEC-4881-B58E-32A5A922EC40}" dt="2026-05-13T21:27:03.626" v="1294" actId="1076"/>
          <ac:picMkLst>
            <pc:docMk/>
            <pc:sldMk cId="2489862619" sldId="262"/>
            <ac:picMk id="5" creationId="{DC81AEB8-9B82-63D9-13D6-2EFC98BB6615}"/>
          </ac:picMkLst>
        </pc:picChg>
      </pc:sldChg>
      <pc:sldChg chg="addSp delSp modSp add mod">
        <pc:chgData name="Jolanta Żyśko" userId="4381f832-b5c7-4656-b45d-0977651080ea" providerId="ADAL" clId="{CD609B17-0EEC-4881-B58E-32A5A922EC40}" dt="2026-05-13T21:29:53.906" v="1307" actId="478"/>
        <pc:sldMkLst>
          <pc:docMk/>
          <pc:sldMk cId="2157156279" sldId="266"/>
        </pc:sldMkLst>
        <pc:spChg chg="mod">
          <ac:chgData name="Jolanta Żyśko" userId="4381f832-b5c7-4656-b45d-0977651080ea" providerId="ADAL" clId="{CD609B17-0EEC-4881-B58E-32A5A922EC40}" dt="2026-05-13T21:13:09.712" v="1183" actId="20577"/>
          <ac:spMkLst>
            <pc:docMk/>
            <pc:sldMk cId="2157156279" sldId="266"/>
            <ac:spMk id="2" creationId="{8135BDA4-96DC-9964-3C05-65958DC43527}"/>
          </ac:spMkLst>
        </pc:spChg>
        <pc:spChg chg="mod">
          <ac:chgData name="Jolanta Żyśko" userId="4381f832-b5c7-4656-b45d-0977651080ea" providerId="ADAL" clId="{CD609B17-0EEC-4881-B58E-32A5A922EC40}" dt="2026-05-13T21:13:32.356" v="1186" actId="12"/>
          <ac:spMkLst>
            <pc:docMk/>
            <pc:sldMk cId="2157156279" sldId="266"/>
            <ac:spMk id="6" creationId="{28FD372A-59D0-771E-3228-346D6D75E8AD}"/>
          </ac:spMkLst>
        </pc:spChg>
        <pc:picChg chg="add mod">
          <ac:chgData name="Jolanta Żyśko" userId="4381f832-b5c7-4656-b45d-0977651080ea" providerId="ADAL" clId="{CD609B17-0EEC-4881-B58E-32A5A922EC40}" dt="2026-05-13T21:29:50.862" v="1306" actId="1076"/>
          <ac:picMkLst>
            <pc:docMk/>
            <pc:sldMk cId="2157156279" sldId="266"/>
            <ac:picMk id="5" creationId="{F2017F0D-4EFF-6F4B-C80E-3251C49F612C}"/>
          </ac:picMkLst>
        </pc:picChg>
      </pc:sldChg>
      <pc:sldChg chg="addSp delSp modSp add mod">
        <pc:chgData name="Jolanta Żyśko" userId="4381f832-b5c7-4656-b45d-0977651080ea" providerId="ADAL" clId="{CD609B17-0EEC-4881-B58E-32A5A922EC40}" dt="2026-05-13T21:30:38.695" v="1313" actId="1076"/>
        <pc:sldMkLst>
          <pc:docMk/>
          <pc:sldMk cId="907171248" sldId="267"/>
        </pc:sldMkLst>
        <pc:spChg chg="mod">
          <ac:chgData name="Jolanta Żyśko" userId="4381f832-b5c7-4656-b45d-0977651080ea" providerId="ADAL" clId="{CD609B17-0EEC-4881-B58E-32A5A922EC40}" dt="2026-05-13T21:17:23.982" v="1223" actId="1076"/>
          <ac:spMkLst>
            <pc:docMk/>
            <pc:sldMk cId="907171248" sldId="267"/>
            <ac:spMk id="2" creationId="{570B63FD-5856-DF57-A848-848EE8AC5C7B}"/>
          </ac:spMkLst>
        </pc:spChg>
        <pc:spChg chg="mod">
          <ac:chgData name="Jolanta Żyśko" userId="4381f832-b5c7-4656-b45d-0977651080ea" providerId="ADAL" clId="{CD609B17-0EEC-4881-B58E-32A5A922EC40}" dt="2026-05-13T21:17:51.227" v="1226" actId="1076"/>
          <ac:spMkLst>
            <pc:docMk/>
            <pc:sldMk cId="907171248" sldId="267"/>
            <ac:spMk id="6" creationId="{887D3F7E-BFCD-95C1-7826-6C839A6ACB56}"/>
          </ac:spMkLst>
        </pc:spChg>
        <pc:picChg chg="add mod">
          <ac:chgData name="Jolanta Żyśko" userId="4381f832-b5c7-4656-b45d-0977651080ea" providerId="ADAL" clId="{CD609B17-0EEC-4881-B58E-32A5A922EC40}" dt="2026-05-13T21:30:38.695" v="1313" actId="1076"/>
          <ac:picMkLst>
            <pc:docMk/>
            <pc:sldMk cId="907171248" sldId="267"/>
            <ac:picMk id="5" creationId="{FD1AC2B3-78C1-AC7A-247E-DD68747D1FB4}"/>
          </ac:picMkLst>
        </pc:picChg>
      </pc:sldChg>
      <pc:sldChg chg="addSp delSp modSp add mod ord">
        <pc:chgData name="Jolanta Żyśko" userId="4381f832-b5c7-4656-b45d-0977651080ea" providerId="ADAL" clId="{CD609B17-0EEC-4881-B58E-32A5A922EC40}" dt="2026-05-13T21:27:44.563" v="1300" actId="478"/>
        <pc:sldMkLst>
          <pc:docMk/>
          <pc:sldMk cId="1241640719" sldId="268"/>
        </pc:sldMkLst>
        <pc:spChg chg="mod">
          <ac:chgData name="Jolanta Żyśko" userId="4381f832-b5c7-4656-b45d-0977651080ea" providerId="ADAL" clId="{CD609B17-0EEC-4881-B58E-32A5A922EC40}" dt="2026-05-13T21:15:59.929" v="1214" actId="113"/>
          <ac:spMkLst>
            <pc:docMk/>
            <pc:sldMk cId="1241640719" sldId="268"/>
            <ac:spMk id="6" creationId="{F5F727CE-A21C-BE56-7CEE-26356A91224B}"/>
          </ac:spMkLst>
        </pc:spChg>
        <pc:picChg chg="add mod">
          <ac:chgData name="Jolanta Żyśko" userId="4381f832-b5c7-4656-b45d-0977651080ea" providerId="ADAL" clId="{CD609B17-0EEC-4881-B58E-32A5A922EC40}" dt="2026-05-13T21:27:41.873" v="1299" actId="1076"/>
          <ac:picMkLst>
            <pc:docMk/>
            <pc:sldMk cId="1241640719" sldId="268"/>
            <ac:picMk id="5" creationId="{7BF3F722-189C-4CA4-2AC9-9131E4D93097}"/>
          </ac:picMkLst>
        </pc:picChg>
      </pc:sldChg>
      <pc:sldChg chg="addSp delSp modSp add mod">
        <pc:chgData name="Jolanta Żyśko" userId="4381f832-b5c7-4656-b45d-0977651080ea" providerId="ADAL" clId="{CD609B17-0EEC-4881-B58E-32A5A922EC40}" dt="2026-05-13T21:31:56.228" v="1320" actId="14100"/>
        <pc:sldMkLst>
          <pc:docMk/>
          <pc:sldMk cId="855278467" sldId="269"/>
        </pc:sldMkLst>
        <pc:spChg chg="mod">
          <ac:chgData name="Jolanta Żyśko" userId="4381f832-b5c7-4656-b45d-0977651080ea" providerId="ADAL" clId="{CD609B17-0EEC-4881-B58E-32A5A922EC40}" dt="2026-05-13T21:20:00.014" v="1237" actId="27636"/>
          <ac:spMkLst>
            <pc:docMk/>
            <pc:sldMk cId="855278467" sldId="269"/>
            <ac:spMk id="2" creationId="{ABFEB377-2C8A-F6F2-E6B1-C0A0B1FBC8FE}"/>
          </ac:spMkLst>
        </pc:spChg>
        <pc:spChg chg="mod">
          <ac:chgData name="Jolanta Żyśko" userId="4381f832-b5c7-4656-b45d-0977651080ea" providerId="ADAL" clId="{CD609B17-0EEC-4881-B58E-32A5A922EC40}" dt="2026-05-13T21:19:26.440" v="1234" actId="255"/>
          <ac:spMkLst>
            <pc:docMk/>
            <pc:sldMk cId="855278467" sldId="269"/>
            <ac:spMk id="6" creationId="{B5BDEB58-EDAD-94D6-6F6C-0E9BF8E5F87E}"/>
          </ac:spMkLst>
        </pc:spChg>
        <pc:picChg chg="add mod">
          <ac:chgData name="Jolanta Żyśko" userId="4381f832-b5c7-4656-b45d-0977651080ea" providerId="ADAL" clId="{CD609B17-0EEC-4881-B58E-32A5A922EC40}" dt="2026-05-13T21:31:56.228" v="1320" actId="14100"/>
          <ac:picMkLst>
            <pc:docMk/>
            <pc:sldMk cId="855278467" sldId="269"/>
            <ac:picMk id="5" creationId="{23DD3AF3-2AC9-3A69-581E-51916BFF19FA}"/>
          </ac:picMkLst>
        </pc:picChg>
      </pc:sldChg>
      <pc:sldChg chg="addSp delSp modSp add mod">
        <pc:chgData name="Jolanta Żyśko" userId="4381f832-b5c7-4656-b45d-0977651080ea" providerId="ADAL" clId="{CD609B17-0EEC-4881-B58E-32A5A922EC40}" dt="2026-05-13T21:33:06.699" v="1327" actId="1076"/>
        <pc:sldMkLst>
          <pc:docMk/>
          <pc:sldMk cId="1272751217" sldId="270"/>
        </pc:sldMkLst>
        <pc:spChg chg="mod">
          <ac:chgData name="Jolanta Żyśko" userId="4381f832-b5c7-4656-b45d-0977651080ea" providerId="ADAL" clId="{CD609B17-0EEC-4881-B58E-32A5A922EC40}" dt="2026-05-13T21:22:36.282" v="1258" actId="1076"/>
          <ac:spMkLst>
            <pc:docMk/>
            <pc:sldMk cId="1272751217" sldId="270"/>
            <ac:spMk id="2" creationId="{CB3C2568-9C5D-CC15-2A2C-3C3ACAA3D31C}"/>
          </ac:spMkLst>
        </pc:spChg>
        <pc:spChg chg="mod">
          <ac:chgData name="Jolanta Żyśko" userId="4381f832-b5c7-4656-b45d-0977651080ea" providerId="ADAL" clId="{CD609B17-0EEC-4881-B58E-32A5A922EC40}" dt="2026-05-13T21:23:14.219" v="1261" actId="255"/>
          <ac:spMkLst>
            <pc:docMk/>
            <pc:sldMk cId="1272751217" sldId="270"/>
            <ac:spMk id="6" creationId="{19A9178D-4D3C-E5C2-7420-E21D79F34A79}"/>
          </ac:spMkLst>
        </pc:spChg>
        <pc:picChg chg="add mod">
          <ac:chgData name="Jolanta Żyśko" userId="4381f832-b5c7-4656-b45d-0977651080ea" providerId="ADAL" clId="{CD609B17-0EEC-4881-B58E-32A5A922EC40}" dt="2026-05-13T21:33:06.699" v="1327" actId="1076"/>
          <ac:picMkLst>
            <pc:docMk/>
            <pc:sldMk cId="1272751217" sldId="270"/>
            <ac:picMk id="5" creationId="{FE77F625-7367-6FAB-526F-5D11B75F6900}"/>
          </ac:picMkLst>
        </pc:picChg>
      </pc:sldChg>
      <pc:sldChg chg="addSp delSp modSp add mod">
        <pc:chgData name="Jolanta Żyśko" userId="4381f832-b5c7-4656-b45d-0977651080ea" providerId="ADAL" clId="{CD609B17-0EEC-4881-B58E-32A5A922EC40}" dt="2026-05-13T21:38:58.326" v="1340" actId="113"/>
        <pc:sldMkLst>
          <pc:docMk/>
          <pc:sldMk cId="1973473984" sldId="271"/>
        </pc:sldMkLst>
        <pc:spChg chg="mod">
          <ac:chgData name="Jolanta Żyśko" userId="4381f832-b5c7-4656-b45d-0977651080ea" providerId="ADAL" clId="{CD609B17-0EEC-4881-B58E-32A5A922EC40}" dt="2026-05-13T21:38:43.180" v="1337" actId="1076"/>
          <ac:spMkLst>
            <pc:docMk/>
            <pc:sldMk cId="1973473984" sldId="271"/>
            <ac:spMk id="2" creationId="{F4356120-B73F-5D37-F822-C30BA9E637CD}"/>
          </ac:spMkLst>
        </pc:spChg>
        <pc:spChg chg="mod">
          <ac:chgData name="Jolanta Żyśko" userId="4381f832-b5c7-4656-b45d-0977651080ea" providerId="ADAL" clId="{CD609B17-0EEC-4881-B58E-32A5A922EC40}" dt="2026-05-13T21:38:58.326" v="1340" actId="113"/>
          <ac:spMkLst>
            <pc:docMk/>
            <pc:sldMk cId="1973473984" sldId="271"/>
            <ac:spMk id="6" creationId="{B2F94334-A367-BACC-3F89-520FF5DAF19D}"/>
          </ac:spMkLst>
        </pc:spChg>
        <pc:spChg chg="mod">
          <ac:chgData name="Jolanta Żyśko" userId="4381f832-b5c7-4656-b45d-0977651080ea" providerId="ADAL" clId="{CD609B17-0EEC-4881-B58E-32A5A922EC40}" dt="2026-05-13T21:38:09.716" v="1330"/>
          <ac:spMkLst>
            <pc:docMk/>
            <pc:sldMk cId="1973473984" sldId="271"/>
            <ac:spMk id="11" creationId="{8BF1D4C2-F75E-1BEB-1184-E4EE326181A6}"/>
          </ac:spMkLst>
        </pc:spChg>
        <pc:spChg chg="mod">
          <ac:chgData name="Jolanta Żyśko" userId="4381f832-b5c7-4656-b45d-0977651080ea" providerId="ADAL" clId="{CD609B17-0EEC-4881-B58E-32A5A922EC40}" dt="2026-05-13T21:38:09.716" v="1330"/>
          <ac:spMkLst>
            <pc:docMk/>
            <pc:sldMk cId="1973473984" sldId="271"/>
            <ac:spMk id="13" creationId="{942EBFE6-AFBE-120A-4927-157BA2C34ED0}"/>
          </ac:spMkLst>
        </pc:spChg>
        <pc:spChg chg="mod">
          <ac:chgData name="Jolanta Żyśko" userId="4381f832-b5c7-4656-b45d-0977651080ea" providerId="ADAL" clId="{CD609B17-0EEC-4881-B58E-32A5A922EC40}" dt="2026-05-13T21:38:09.716" v="1330"/>
          <ac:spMkLst>
            <pc:docMk/>
            <pc:sldMk cId="1973473984" sldId="271"/>
            <ac:spMk id="14" creationId="{0FE75D50-CFE8-7342-B373-D5F129CCBBA5}"/>
          </ac:spMkLst>
        </pc:spChg>
        <pc:spChg chg="mod">
          <ac:chgData name="Jolanta Żyśko" userId="4381f832-b5c7-4656-b45d-0977651080ea" providerId="ADAL" clId="{CD609B17-0EEC-4881-B58E-32A5A922EC40}" dt="2026-05-13T21:38:09.716" v="1330"/>
          <ac:spMkLst>
            <pc:docMk/>
            <pc:sldMk cId="1973473984" sldId="271"/>
            <ac:spMk id="15" creationId="{D5CB5884-394F-B444-5479-1B75AC5E15D7}"/>
          </ac:spMkLst>
        </pc:spChg>
        <pc:spChg chg="mod">
          <ac:chgData name="Jolanta Żyśko" userId="4381f832-b5c7-4656-b45d-0977651080ea" providerId="ADAL" clId="{CD609B17-0EEC-4881-B58E-32A5A922EC40}" dt="2026-05-13T21:38:09.716" v="1330"/>
          <ac:spMkLst>
            <pc:docMk/>
            <pc:sldMk cId="1973473984" sldId="271"/>
            <ac:spMk id="16" creationId="{2C604FC4-38C1-1A47-70C2-1CEFB1070654}"/>
          </ac:spMkLst>
        </pc:spChg>
        <pc:spChg chg="mod">
          <ac:chgData name="Jolanta Żyśko" userId="4381f832-b5c7-4656-b45d-0977651080ea" providerId="ADAL" clId="{CD609B17-0EEC-4881-B58E-32A5A922EC40}" dt="2026-05-13T21:38:09.716" v="1330"/>
          <ac:spMkLst>
            <pc:docMk/>
            <pc:sldMk cId="1973473984" sldId="271"/>
            <ac:spMk id="17" creationId="{4C4CA07A-24BF-E61B-F14F-F02077898ADE}"/>
          </ac:spMkLst>
        </pc:spChg>
        <pc:spChg chg="mod">
          <ac:chgData name="Jolanta Żyśko" userId="4381f832-b5c7-4656-b45d-0977651080ea" providerId="ADAL" clId="{CD609B17-0EEC-4881-B58E-32A5A922EC40}" dt="2026-05-13T21:38:09.716" v="1330"/>
          <ac:spMkLst>
            <pc:docMk/>
            <pc:sldMk cId="1973473984" sldId="271"/>
            <ac:spMk id="18" creationId="{50017313-D9D8-2665-B34E-42F36CEFAEA8}"/>
          </ac:spMkLst>
        </pc:spChg>
        <pc:spChg chg="mod">
          <ac:chgData name="Jolanta Żyśko" userId="4381f832-b5c7-4656-b45d-0977651080ea" providerId="ADAL" clId="{CD609B17-0EEC-4881-B58E-32A5A922EC40}" dt="2026-05-13T21:38:09.716" v="1330"/>
          <ac:spMkLst>
            <pc:docMk/>
            <pc:sldMk cId="1973473984" sldId="271"/>
            <ac:spMk id="19" creationId="{26B6EFE1-FACD-7E7B-CA09-87DB6AF3415B}"/>
          </ac:spMkLst>
        </pc:spChg>
        <pc:spChg chg="mod">
          <ac:chgData name="Jolanta Żyśko" userId="4381f832-b5c7-4656-b45d-0977651080ea" providerId="ADAL" clId="{CD609B17-0EEC-4881-B58E-32A5A922EC40}" dt="2026-05-13T21:38:09.716" v="1330"/>
          <ac:spMkLst>
            <pc:docMk/>
            <pc:sldMk cId="1973473984" sldId="271"/>
            <ac:spMk id="20" creationId="{6C8ADF63-7C7C-E193-4F77-C908744FCF1A}"/>
          </ac:spMkLst>
        </pc:spChg>
        <pc:spChg chg="mod">
          <ac:chgData name="Jolanta Żyśko" userId="4381f832-b5c7-4656-b45d-0977651080ea" providerId="ADAL" clId="{CD609B17-0EEC-4881-B58E-32A5A922EC40}" dt="2026-05-13T21:38:09.716" v="1330"/>
          <ac:spMkLst>
            <pc:docMk/>
            <pc:sldMk cId="1973473984" sldId="271"/>
            <ac:spMk id="21" creationId="{9D3CF11A-0A55-2B5F-7032-F0BE1EF7FC0A}"/>
          </ac:spMkLst>
        </pc:spChg>
        <pc:grpChg chg="mod">
          <ac:chgData name="Jolanta Żyśko" userId="4381f832-b5c7-4656-b45d-0977651080ea" providerId="ADAL" clId="{CD609B17-0EEC-4881-B58E-32A5A922EC40}" dt="2026-05-13T21:38:49.964" v="1338" actId="1076"/>
          <ac:grpSpMkLst>
            <pc:docMk/>
            <pc:sldMk cId="1973473984" sldId="271"/>
            <ac:grpSpMk id="5" creationId="{52399AC6-3E4E-6E78-C61B-1764B1D81827}"/>
          </ac:grpSpMkLst>
        </pc:grpChg>
      </pc:sldChg>
      <pc:sldChg chg="addSp delSp modSp add mod">
        <pc:chgData name="Jolanta Żyśko" userId="4381f832-b5c7-4656-b45d-0977651080ea" providerId="ADAL" clId="{CD609B17-0EEC-4881-B58E-32A5A922EC40}" dt="2026-05-18T09:51:49.474" v="1615" actId="1076"/>
        <pc:sldMkLst>
          <pc:docMk/>
          <pc:sldMk cId="1680488207" sldId="620"/>
        </pc:sldMkLst>
        <pc:spChg chg="del">
          <ac:chgData name="Jolanta Żyśko" userId="4381f832-b5c7-4656-b45d-0977651080ea" providerId="ADAL" clId="{CD609B17-0EEC-4881-B58E-32A5A922EC40}" dt="2026-05-18T09:16:13.757" v="1372" actId="478"/>
          <ac:spMkLst>
            <pc:docMk/>
            <pc:sldMk cId="1680488207" sldId="620"/>
            <ac:spMk id="3" creationId="{64DF0F13-B4D7-4B67-9882-71CF1CF92734}"/>
          </ac:spMkLst>
        </pc:spChg>
        <pc:spChg chg="add mod">
          <ac:chgData name="Jolanta Żyśko" userId="4381f832-b5c7-4656-b45d-0977651080ea" providerId="ADAL" clId="{CD609B17-0EEC-4881-B58E-32A5A922EC40}" dt="2026-05-18T09:51:49.474" v="1615" actId="1076"/>
          <ac:spMkLst>
            <pc:docMk/>
            <pc:sldMk cId="1680488207" sldId="620"/>
            <ac:spMk id="6" creationId="{FEB1518B-222B-763D-439D-384FF6BF446D}"/>
          </ac:spMkLst>
        </pc:spChg>
        <pc:spChg chg="mod">
          <ac:chgData name="Jolanta Żyśko" userId="4381f832-b5c7-4656-b45d-0977651080ea" providerId="ADAL" clId="{CD609B17-0EEC-4881-B58E-32A5A922EC40}" dt="2026-05-18T09:12:03.639" v="1370" actId="1076"/>
          <ac:spMkLst>
            <pc:docMk/>
            <pc:sldMk cId="1680488207" sldId="620"/>
            <ac:spMk id="10" creationId="{15AE63FA-8F82-47CE-B08F-8E8CC60E2E50}"/>
          </ac:spMkLst>
        </pc:spChg>
      </pc:sldChg>
      <pc:sldChg chg="modSp add mod">
        <pc:chgData name="Jolanta Żyśko" userId="4381f832-b5c7-4656-b45d-0977651080ea" providerId="ADAL" clId="{CD609B17-0EEC-4881-B58E-32A5A922EC40}" dt="2026-05-14T06:46:04.429" v="1360" actId="1076"/>
        <pc:sldMkLst>
          <pc:docMk/>
          <pc:sldMk cId="3107333328" sldId="3318"/>
        </pc:sldMkLst>
        <pc:spChg chg="mod">
          <ac:chgData name="Jolanta Żyśko" userId="4381f832-b5c7-4656-b45d-0977651080ea" providerId="ADAL" clId="{CD609B17-0EEC-4881-B58E-32A5A922EC40}" dt="2026-05-14T06:45:58.344" v="1358" actId="1076"/>
          <ac:spMkLst>
            <pc:docMk/>
            <pc:sldMk cId="3107333328" sldId="3318"/>
            <ac:spMk id="13" creationId="{668E5089-CEBA-E74C-B65E-3D4DEFB285E3}"/>
          </ac:spMkLst>
        </pc:spChg>
        <pc:spChg chg="mod">
          <ac:chgData name="Jolanta Żyśko" userId="4381f832-b5c7-4656-b45d-0977651080ea" providerId="ADAL" clId="{CD609B17-0EEC-4881-B58E-32A5A922EC40}" dt="2026-05-14T06:45:54.560" v="1357" actId="1076"/>
          <ac:spMkLst>
            <pc:docMk/>
            <pc:sldMk cId="3107333328" sldId="3318"/>
            <ac:spMk id="14" creationId="{DD0C309A-A453-534F-B067-EFCB28D72BF1}"/>
          </ac:spMkLst>
        </pc:spChg>
        <pc:spChg chg="mod">
          <ac:chgData name="Jolanta Żyśko" userId="4381f832-b5c7-4656-b45d-0977651080ea" providerId="ADAL" clId="{CD609B17-0EEC-4881-B58E-32A5A922EC40}" dt="2026-05-14T06:46:04.429" v="1360" actId="1076"/>
          <ac:spMkLst>
            <pc:docMk/>
            <pc:sldMk cId="3107333328" sldId="3318"/>
            <ac:spMk id="15" creationId="{78712D7A-35E4-7341-854F-54FB81132F2F}"/>
          </ac:spMkLst>
        </pc:spChg>
        <pc:spChg chg="mod">
          <ac:chgData name="Jolanta Żyśko" userId="4381f832-b5c7-4656-b45d-0977651080ea" providerId="ADAL" clId="{CD609B17-0EEC-4881-B58E-32A5A922EC40}" dt="2026-05-14T06:46:02.021" v="1359" actId="1076"/>
          <ac:spMkLst>
            <pc:docMk/>
            <pc:sldMk cId="3107333328" sldId="3318"/>
            <ac:spMk id="16" creationId="{5CB03A2A-F270-0743-9FF2-A7818BBDA8C9}"/>
          </ac:spMkLst>
        </pc:spChg>
        <pc:spChg chg="mod">
          <ac:chgData name="Jolanta Żyśko" userId="4381f832-b5c7-4656-b45d-0977651080ea" providerId="ADAL" clId="{CD609B17-0EEC-4881-B58E-32A5A922EC40}" dt="2026-05-14T06:45:48.550" v="1355" actId="1076"/>
          <ac:spMkLst>
            <pc:docMk/>
            <pc:sldMk cId="3107333328" sldId="3318"/>
            <ac:spMk id="17" creationId="{E2534791-5245-604F-A87F-AD583EFE7F8D}"/>
          </ac:spMkLst>
        </pc:spChg>
        <pc:spChg chg="mod">
          <ac:chgData name="Jolanta Żyśko" userId="4381f832-b5c7-4656-b45d-0977651080ea" providerId="ADAL" clId="{CD609B17-0EEC-4881-B58E-32A5A922EC40}" dt="2026-05-14T06:45:51.526" v="1356" actId="1076"/>
          <ac:spMkLst>
            <pc:docMk/>
            <pc:sldMk cId="3107333328" sldId="3318"/>
            <ac:spMk id="18" creationId="{EBF29AE7-1F9E-F84D-AB57-DE96315959E8}"/>
          </ac:spMkLst>
        </pc:spChg>
        <pc:spChg chg="mod">
          <ac:chgData name="Jolanta Żyśko" userId="4381f832-b5c7-4656-b45d-0977651080ea" providerId="ADAL" clId="{CD609B17-0EEC-4881-B58E-32A5A922EC40}" dt="2026-05-13T20:29:08.663" v="956" actId="20577"/>
          <ac:spMkLst>
            <pc:docMk/>
            <pc:sldMk cId="3107333328" sldId="3318"/>
            <ac:spMk id="23" creationId="{C0DBFD4A-2BF9-3A4D-8008-100832B00059}"/>
          </ac:spMkLst>
        </pc:spChg>
        <pc:spChg chg="mod">
          <ac:chgData name="Jolanta Żyśko" userId="4381f832-b5c7-4656-b45d-0977651080ea" providerId="ADAL" clId="{CD609B17-0EEC-4881-B58E-32A5A922EC40}" dt="2026-05-13T20:29:48.532" v="982" actId="255"/>
          <ac:spMkLst>
            <pc:docMk/>
            <pc:sldMk cId="3107333328" sldId="3318"/>
            <ac:spMk id="24" creationId="{5B7A32B6-1DD0-7246-B06C-434723846208}"/>
          </ac:spMkLst>
        </pc:spChg>
      </pc:sldChg>
      <pc:sldChg chg="addSp modSp mod">
        <pc:chgData name="Jolanta Żyśko" userId="4381f832-b5c7-4656-b45d-0977651080ea" providerId="ADAL" clId="{CD609B17-0EEC-4881-B58E-32A5A922EC40}" dt="2026-05-18T09:22:35.493" v="1450" actId="1076"/>
        <pc:sldMkLst>
          <pc:docMk/>
          <pc:sldMk cId="474536958" sldId="3342"/>
        </pc:sldMkLst>
        <pc:spChg chg="add mod">
          <ac:chgData name="Jolanta Żyśko" userId="4381f832-b5c7-4656-b45d-0977651080ea" providerId="ADAL" clId="{CD609B17-0EEC-4881-B58E-32A5A922EC40}" dt="2026-05-18T09:22:35.493" v="1450" actId="1076"/>
          <ac:spMkLst>
            <pc:docMk/>
            <pc:sldMk cId="474536958" sldId="3342"/>
            <ac:spMk id="6" creationId="{3FA93B7B-B2E0-66FB-7A0B-DD6CD58D15B9}"/>
          </ac:spMkLst>
        </pc:spChg>
      </pc:sldChg>
      <pc:sldChg chg="modSp mod">
        <pc:chgData name="Jolanta Żyśko" userId="4381f832-b5c7-4656-b45d-0977651080ea" providerId="ADAL" clId="{CD609B17-0EEC-4881-B58E-32A5A922EC40}" dt="2026-05-15T06:43:04.320" v="1362" actId="20577"/>
        <pc:sldMkLst>
          <pc:docMk/>
          <pc:sldMk cId="3360725222" sldId="3343"/>
        </pc:sldMkLst>
        <pc:spChg chg="mod">
          <ac:chgData name="Jolanta Żyśko" userId="4381f832-b5c7-4656-b45d-0977651080ea" providerId="ADAL" clId="{CD609B17-0EEC-4881-B58E-32A5A922EC40}" dt="2026-05-15T06:43:04.320" v="1362" actId="20577"/>
          <ac:spMkLst>
            <pc:docMk/>
            <pc:sldMk cId="3360725222" sldId="3343"/>
            <ac:spMk id="3" creationId="{B41C2E55-83D5-ED26-D723-19A1C4436423}"/>
          </ac:spMkLst>
        </pc:spChg>
      </pc:sldChg>
      <pc:sldChg chg="addSp modSp mod">
        <pc:chgData name="Jolanta Żyśko" userId="4381f832-b5c7-4656-b45d-0977651080ea" providerId="ADAL" clId="{CD609B17-0EEC-4881-B58E-32A5A922EC40}" dt="2026-05-18T10:10:05.457" v="1650" actId="1076"/>
        <pc:sldMkLst>
          <pc:docMk/>
          <pc:sldMk cId="4240505955" sldId="3344"/>
        </pc:sldMkLst>
        <pc:spChg chg="add mod">
          <ac:chgData name="Jolanta Żyśko" userId="4381f832-b5c7-4656-b45d-0977651080ea" providerId="ADAL" clId="{CD609B17-0EEC-4881-B58E-32A5A922EC40}" dt="2026-05-18T10:09:32.433" v="1649" actId="1076"/>
          <ac:spMkLst>
            <pc:docMk/>
            <pc:sldMk cId="4240505955" sldId="3344"/>
            <ac:spMk id="4" creationId="{8F46F9E5-B139-6C98-BA8E-B638E6A67B6F}"/>
          </ac:spMkLst>
        </pc:spChg>
        <pc:spChg chg="add mod">
          <ac:chgData name="Jolanta Żyśko" userId="4381f832-b5c7-4656-b45d-0977651080ea" providerId="ADAL" clId="{CD609B17-0EEC-4881-B58E-32A5A922EC40}" dt="2026-05-18T10:10:05.457" v="1650" actId="1076"/>
          <ac:spMkLst>
            <pc:docMk/>
            <pc:sldMk cId="4240505955" sldId="3344"/>
            <ac:spMk id="7" creationId="{58815C87-6792-AF88-D836-EF7FCB45C29C}"/>
          </ac:spMkLst>
        </pc:spChg>
        <pc:picChg chg="mod">
          <ac:chgData name="Jolanta Żyśko" userId="4381f832-b5c7-4656-b45d-0977651080ea" providerId="ADAL" clId="{CD609B17-0EEC-4881-B58E-32A5A922EC40}" dt="2026-05-13T20:34:37.962" v="1018" actId="1076"/>
          <ac:picMkLst>
            <pc:docMk/>
            <pc:sldMk cId="4240505955" sldId="3344"/>
            <ac:picMk id="9" creationId="{C8AF0C20-7893-9B9A-6B20-C8EDB3995157}"/>
          </ac:picMkLst>
        </pc:picChg>
      </pc:sldChg>
      <pc:sldChg chg="ord">
        <pc:chgData name="Jolanta Żyśko" userId="4381f832-b5c7-4656-b45d-0977651080ea" providerId="ADAL" clId="{CD609B17-0EEC-4881-B58E-32A5A922EC40}" dt="2026-05-13T21:48:02.548" v="1354"/>
        <pc:sldMkLst>
          <pc:docMk/>
          <pc:sldMk cId="3626816426" sldId="3347"/>
        </pc:sldMkLst>
      </pc:sldChg>
      <pc:sldChg chg="addSp delSp modSp mod">
        <pc:chgData name="Jolanta Żyśko" userId="4381f832-b5c7-4656-b45d-0977651080ea" providerId="ADAL" clId="{CD609B17-0EEC-4881-B58E-32A5A922EC40}" dt="2026-05-13T21:07:20.858" v="1106" actId="478"/>
        <pc:sldMkLst>
          <pc:docMk/>
          <pc:sldMk cId="318064971" sldId="3348"/>
        </pc:sldMkLst>
      </pc:sldChg>
      <pc:sldChg chg="addSp delSp modSp mod">
        <pc:chgData name="Jolanta Żyśko" userId="4381f832-b5c7-4656-b45d-0977651080ea" providerId="ADAL" clId="{CD609B17-0EEC-4881-B58E-32A5A922EC40}" dt="2026-05-18T09:22:41.952" v="1451" actId="1076"/>
        <pc:sldMkLst>
          <pc:docMk/>
          <pc:sldMk cId="3826646887" sldId="3349"/>
        </pc:sldMkLst>
        <pc:spChg chg="add del mod">
          <ac:chgData name="Jolanta Żyśko" userId="4381f832-b5c7-4656-b45d-0977651080ea" providerId="ADAL" clId="{CD609B17-0EEC-4881-B58E-32A5A922EC40}" dt="2026-05-18T09:04:51.476" v="1364" actId="478"/>
          <ac:spMkLst>
            <pc:docMk/>
            <pc:sldMk cId="3826646887" sldId="3349"/>
            <ac:spMk id="3" creationId="{D387B138-0180-7B41-BFC7-02AAF1758514}"/>
          </ac:spMkLst>
        </pc:spChg>
        <pc:spChg chg="add mod">
          <ac:chgData name="Jolanta Żyśko" userId="4381f832-b5c7-4656-b45d-0977651080ea" providerId="ADAL" clId="{CD609B17-0EEC-4881-B58E-32A5A922EC40}" dt="2026-05-18T09:22:41.952" v="1451" actId="1076"/>
          <ac:spMkLst>
            <pc:docMk/>
            <pc:sldMk cId="3826646887" sldId="3349"/>
            <ac:spMk id="5" creationId="{6D13B7F2-7C1E-173E-1344-D92378A9AE50}"/>
          </ac:spMkLst>
        </pc:spChg>
      </pc:sldChg>
      <pc:sldChg chg="addSp modSp mod">
        <pc:chgData name="Jolanta Żyśko" userId="4381f832-b5c7-4656-b45d-0977651080ea" providerId="ADAL" clId="{CD609B17-0EEC-4881-B58E-32A5A922EC40}" dt="2026-05-18T10:11:50.877" v="1672" actId="20577"/>
        <pc:sldMkLst>
          <pc:docMk/>
          <pc:sldMk cId="3158767862" sldId="3350"/>
        </pc:sldMkLst>
        <pc:spChg chg="add mod">
          <ac:chgData name="Jolanta Żyśko" userId="4381f832-b5c7-4656-b45d-0977651080ea" providerId="ADAL" clId="{CD609B17-0EEC-4881-B58E-32A5A922EC40}" dt="2026-05-18T10:11:50.877" v="1672" actId="20577"/>
          <ac:spMkLst>
            <pc:docMk/>
            <pc:sldMk cId="3158767862" sldId="3350"/>
            <ac:spMk id="5" creationId="{7AD62407-B06B-246A-DBC9-3DEE814F1BA3}"/>
          </ac:spMkLst>
        </pc:spChg>
      </pc:sldChg>
      <pc:sldChg chg="addSp delSp modSp mod">
        <pc:chgData name="Jolanta Żyśko" userId="4381f832-b5c7-4656-b45d-0977651080ea" providerId="ADAL" clId="{CD609B17-0EEC-4881-B58E-32A5A922EC40}" dt="2026-05-18T10:13:01.526" v="1684" actId="20577"/>
        <pc:sldMkLst>
          <pc:docMk/>
          <pc:sldMk cId="4193790319" sldId="3352"/>
        </pc:sldMkLst>
        <pc:spChg chg="mod">
          <ac:chgData name="Jolanta Żyśko" userId="4381f832-b5c7-4656-b45d-0977651080ea" providerId="ADAL" clId="{CD609B17-0EEC-4881-B58E-32A5A922EC40}" dt="2026-05-13T20:46:09.485" v="1057" actId="27636"/>
          <ac:spMkLst>
            <pc:docMk/>
            <pc:sldMk cId="4193790319" sldId="3352"/>
            <ac:spMk id="2" creationId="{BF926697-B39C-C064-FBC8-4AF1868840FF}"/>
          </ac:spMkLst>
        </pc:spChg>
        <pc:spChg chg="add del mod">
          <ac:chgData name="Jolanta Żyśko" userId="4381f832-b5c7-4656-b45d-0977651080ea" providerId="ADAL" clId="{CD609B17-0EEC-4881-B58E-32A5A922EC40}" dt="2026-05-18T09:16:24.084" v="1373" actId="478"/>
          <ac:spMkLst>
            <pc:docMk/>
            <pc:sldMk cId="4193790319" sldId="3352"/>
            <ac:spMk id="6" creationId="{F1C3D6CF-41A1-E2E7-A576-010CDEEE42B5}"/>
          </ac:spMkLst>
        </pc:spChg>
        <pc:spChg chg="add mod">
          <ac:chgData name="Jolanta Żyśko" userId="4381f832-b5c7-4656-b45d-0977651080ea" providerId="ADAL" clId="{CD609B17-0EEC-4881-B58E-32A5A922EC40}" dt="2026-05-18T10:13:01.526" v="1684" actId="20577"/>
          <ac:spMkLst>
            <pc:docMk/>
            <pc:sldMk cId="4193790319" sldId="3352"/>
            <ac:spMk id="8" creationId="{5053B9F3-206D-F642-D3C8-EBF23845E920}"/>
          </ac:spMkLst>
        </pc:spChg>
        <pc:picChg chg="add mod">
          <ac:chgData name="Jolanta Żyśko" userId="4381f832-b5c7-4656-b45d-0977651080ea" providerId="ADAL" clId="{CD609B17-0EEC-4881-B58E-32A5A922EC40}" dt="2026-05-13T20:46:04.768" v="1053" actId="1076"/>
          <ac:picMkLst>
            <pc:docMk/>
            <pc:sldMk cId="4193790319" sldId="3352"/>
            <ac:picMk id="4" creationId="{6FC5F891-41E7-207B-67EE-9BD77AD52B2D}"/>
          </ac:picMkLst>
        </pc:picChg>
      </pc:sldChg>
      <pc:sldChg chg="addSp delSp modSp mod ord">
        <pc:chgData name="Jolanta Żyśko" userId="4381f832-b5c7-4656-b45d-0977651080ea" providerId="ADAL" clId="{CD609B17-0EEC-4881-B58E-32A5A922EC40}" dt="2026-05-18T09:35:16.269" v="1525" actId="1076"/>
        <pc:sldMkLst>
          <pc:docMk/>
          <pc:sldMk cId="2917686700" sldId="3353"/>
        </pc:sldMkLst>
        <pc:spChg chg="mod">
          <ac:chgData name="Jolanta Żyśko" userId="4381f832-b5c7-4656-b45d-0977651080ea" providerId="ADAL" clId="{CD609B17-0EEC-4881-B58E-32A5A922EC40}" dt="2026-05-13T20:09:28.136" v="910" actId="14100"/>
          <ac:spMkLst>
            <pc:docMk/>
            <pc:sldMk cId="2917686700" sldId="3353"/>
            <ac:spMk id="2" creationId="{F0A080DE-3B6C-1E8C-EA1C-DF44862E6B54}"/>
          </ac:spMkLst>
        </pc:spChg>
        <pc:spChg chg="mod">
          <ac:chgData name="Jolanta Żyśko" userId="4381f832-b5c7-4656-b45d-0977651080ea" providerId="ADAL" clId="{CD609B17-0EEC-4881-B58E-32A5A922EC40}" dt="2026-05-13T13:07:58.050" v="662" actId="6549"/>
          <ac:spMkLst>
            <pc:docMk/>
            <pc:sldMk cId="2917686700" sldId="3353"/>
            <ac:spMk id="3" creationId="{10168E7A-67A6-C6ED-D801-3B67016FF0FF}"/>
          </ac:spMkLst>
        </pc:spChg>
        <pc:spChg chg="add mod">
          <ac:chgData name="Jolanta Żyśko" userId="4381f832-b5c7-4656-b45d-0977651080ea" providerId="ADAL" clId="{CD609B17-0EEC-4881-B58E-32A5A922EC40}" dt="2026-05-18T09:35:16.269" v="1525" actId="1076"/>
          <ac:spMkLst>
            <pc:docMk/>
            <pc:sldMk cId="2917686700" sldId="3353"/>
            <ac:spMk id="5" creationId="{A11912F0-AF67-1727-EC7B-C6B38829BCAA}"/>
          </ac:spMkLst>
        </pc:spChg>
        <pc:graphicFrameChg chg="add mod">
          <ac:chgData name="Jolanta Żyśko" userId="4381f832-b5c7-4656-b45d-0977651080ea" providerId="ADAL" clId="{CD609B17-0EEC-4881-B58E-32A5A922EC40}" dt="2026-05-13T13:08:41.084" v="670" actId="1076"/>
          <ac:graphicFrameMkLst>
            <pc:docMk/>
            <pc:sldMk cId="2917686700" sldId="3353"/>
            <ac:graphicFrameMk id="4" creationId="{0D84AACB-A583-B667-B2F4-A01A4CA44958}"/>
          </ac:graphicFrameMkLst>
        </pc:graphicFrameChg>
        <pc:picChg chg="add mod">
          <ac:chgData name="Jolanta Żyśko" userId="4381f832-b5c7-4656-b45d-0977651080ea" providerId="ADAL" clId="{CD609B17-0EEC-4881-B58E-32A5A922EC40}" dt="2026-05-13T13:09:33.556" v="679" actId="1076"/>
          <ac:picMkLst>
            <pc:docMk/>
            <pc:sldMk cId="2917686700" sldId="3353"/>
            <ac:picMk id="6" creationId="{449DFBCF-8C1D-9FBA-3BE8-A96475F93C61}"/>
          </ac:picMkLst>
        </pc:picChg>
      </pc:sldChg>
      <pc:sldChg chg="addSp modSp mod">
        <pc:chgData name="Jolanta Żyśko" userId="4381f832-b5c7-4656-b45d-0977651080ea" providerId="ADAL" clId="{CD609B17-0EEC-4881-B58E-32A5A922EC40}" dt="2026-05-18T10:13:37.733" v="1686" actId="1076"/>
        <pc:sldMkLst>
          <pc:docMk/>
          <pc:sldMk cId="875302919" sldId="3354"/>
        </pc:sldMkLst>
        <pc:spChg chg="add mod">
          <ac:chgData name="Jolanta Żyśko" userId="4381f832-b5c7-4656-b45d-0977651080ea" providerId="ADAL" clId="{CD609B17-0EEC-4881-B58E-32A5A922EC40}" dt="2026-05-18T10:13:37.733" v="1686" actId="1076"/>
          <ac:spMkLst>
            <pc:docMk/>
            <pc:sldMk cId="875302919" sldId="3354"/>
            <ac:spMk id="4" creationId="{912E93DA-267E-735F-828E-66ACFAE96C36}"/>
          </ac:spMkLst>
        </pc:spChg>
      </pc:sldChg>
      <pc:sldChg chg="addSp modSp mod">
        <pc:chgData name="Jolanta Żyśko" userId="4381f832-b5c7-4656-b45d-0977651080ea" providerId="ADAL" clId="{CD609B17-0EEC-4881-B58E-32A5A922EC40}" dt="2026-05-18T10:13:51.170" v="1688" actId="1076"/>
        <pc:sldMkLst>
          <pc:docMk/>
          <pc:sldMk cId="1890947418" sldId="3355"/>
        </pc:sldMkLst>
        <pc:spChg chg="mod">
          <ac:chgData name="Jolanta Żyśko" userId="4381f832-b5c7-4656-b45d-0977651080ea" providerId="ADAL" clId="{CD609B17-0EEC-4881-B58E-32A5A922EC40}" dt="2026-05-13T21:46:14.975" v="1349" actId="1076"/>
          <ac:spMkLst>
            <pc:docMk/>
            <pc:sldMk cId="1890947418" sldId="3355"/>
            <ac:spMk id="2" creationId="{9C36CDD2-D8B0-3B7B-E89D-26F0234B8ADE}"/>
          </ac:spMkLst>
        </pc:spChg>
        <pc:spChg chg="add mod">
          <ac:chgData name="Jolanta Żyśko" userId="4381f832-b5c7-4656-b45d-0977651080ea" providerId="ADAL" clId="{CD609B17-0EEC-4881-B58E-32A5A922EC40}" dt="2026-05-18T10:13:51.170" v="1688" actId="1076"/>
          <ac:spMkLst>
            <pc:docMk/>
            <pc:sldMk cId="1890947418" sldId="3355"/>
            <ac:spMk id="4" creationId="{572F71E5-EF6A-6013-062C-85624F0D9B3B}"/>
          </ac:spMkLst>
        </pc:spChg>
        <pc:picChg chg="mod">
          <ac:chgData name="Jolanta Żyśko" userId="4381f832-b5c7-4656-b45d-0977651080ea" providerId="ADAL" clId="{CD609B17-0EEC-4881-B58E-32A5A922EC40}" dt="2026-05-13T21:46:21.311" v="1350" actId="14100"/>
          <ac:picMkLst>
            <pc:docMk/>
            <pc:sldMk cId="1890947418" sldId="3355"/>
            <ac:picMk id="13" creationId="{FD153EB0-28BC-61C8-4557-78CA41D11F6B}"/>
          </ac:picMkLst>
        </pc:picChg>
      </pc:sldChg>
      <pc:sldChg chg="addSp delSp modSp mod ord">
        <pc:chgData name="Jolanta Żyśko" userId="4381f832-b5c7-4656-b45d-0977651080ea" providerId="ADAL" clId="{CD609B17-0EEC-4881-B58E-32A5A922EC40}" dt="2026-05-18T09:32:08.770" v="1479" actId="1076"/>
        <pc:sldMkLst>
          <pc:docMk/>
          <pc:sldMk cId="778257058" sldId="3356"/>
        </pc:sldMkLst>
        <pc:spChg chg="mod">
          <ac:chgData name="Jolanta Żyśko" userId="4381f832-b5c7-4656-b45d-0977651080ea" providerId="ADAL" clId="{CD609B17-0EEC-4881-B58E-32A5A922EC40}" dt="2026-05-13T20:54:19.769" v="1078" actId="6549"/>
          <ac:spMkLst>
            <pc:docMk/>
            <pc:sldMk cId="778257058" sldId="3356"/>
            <ac:spMk id="2" creationId="{F9072787-C156-4A2E-8066-A0436A55643C}"/>
          </ac:spMkLst>
        </pc:spChg>
        <pc:spChg chg="mod">
          <ac:chgData name="Jolanta Żyśko" userId="4381f832-b5c7-4656-b45d-0977651080ea" providerId="ADAL" clId="{CD609B17-0EEC-4881-B58E-32A5A922EC40}" dt="2026-05-18T09:06:04.799" v="1366" actId="20577"/>
          <ac:spMkLst>
            <pc:docMk/>
            <pc:sldMk cId="778257058" sldId="3356"/>
            <ac:spMk id="3" creationId="{E763B7BE-2864-3EF8-BB02-5A1D1B24F831}"/>
          </ac:spMkLst>
        </pc:spChg>
        <pc:spChg chg="add del mod">
          <ac:chgData name="Jolanta Żyśko" userId="4381f832-b5c7-4656-b45d-0977651080ea" providerId="ADAL" clId="{CD609B17-0EEC-4881-B58E-32A5A922EC40}" dt="2026-05-18T09:23:25.424" v="1456" actId="478"/>
          <ac:spMkLst>
            <pc:docMk/>
            <pc:sldMk cId="778257058" sldId="3356"/>
            <ac:spMk id="4" creationId="{6DCEF42C-1B93-F2EA-3D21-C2FE984DE36B}"/>
          </ac:spMkLst>
        </pc:spChg>
        <pc:spChg chg="add mod">
          <ac:chgData name="Jolanta Żyśko" userId="4381f832-b5c7-4656-b45d-0977651080ea" providerId="ADAL" clId="{CD609B17-0EEC-4881-B58E-32A5A922EC40}" dt="2026-05-18T09:32:08.770" v="1479" actId="1076"/>
          <ac:spMkLst>
            <pc:docMk/>
            <pc:sldMk cId="778257058" sldId="3356"/>
            <ac:spMk id="5" creationId="{EF18F339-503C-49B5-6290-EEBBF8F915DC}"/>
          </ac:spMkLst>
        </pc:spChg>
      </pc:sldChg>
      <pc:sldChg chg="addSp modSp mod ord">
        <pc:chgData name="Jolanta Żyśko" userId="4381f832-b5c7-4656-b45d-0977651080ea" providerId="ADAL" clId="{CD609B17-0EEC-4881-B58E-32A5A922EC40}" dt="2026-05-18T09:34:30.447" v="1496" actId="1076"/>
        <pc:sldMkLst>
          <pc:docMk/>
          <pc:sldMk cId="11100467" sldId="3357"/>
        </pc:sldMkLst>
        <pc:spChg chg="mod">
          <ac:chgData name="Jolanta Żyśko" userId="4381f832-b5c7-4656-b45d-0977651080ea" providerId="ADAL" clId="{CD609B17-0EEC-4881-B58E-32A5A922EC40}" dt="2026-05-13T20:55:05.957" v="1092" actId="20577"/>
          <ac:spMkLst>
            <pc:docMk/>
            <pc:sldMk cId="11100467" sldId="3357"/>
            <ac:spMk id="2" creationId="{B0613839-1FAB-F15F-A9E9-BFD75ACD26A1}"/>
          </ac:spMkLst>
        </pc:spChg>
        <pc:spChg chg="add mod">
          <ac:chgData name="Jolanta Żyśko" userId="4381f832-b5c7-4656-b45d-0977651080ea" providerId="ADAL" clId="{CD609B17-0EEC-4881-B58E-32A5A922EC40}" dt="2026-05-18T09:34:30.447" v="1496" actId="1076"/>
          <ac:spMkLst>
            <pc:docMk/>
            <pc:sldMk cId="11100467" sldId="3357"/>
            <ac:spMk id="6" creationId="{AE6AA672-5F45-0419-4E1C-04429675E482}"/>
          </ac:spMkLst>
        </pc:spChg>
      </pc:sldChg>
      <pc:sldChg chg="addSp modSp mod ord">
        <pc:chgData name="Jolanta Żyśko" userId="4381f832-b5c7-4656-b45d-0977651080ea" providerId="ADAL" clId="{CD609B17-0EEC-4881-B58E-32A5A922EC40}" dt="2026-05-18T10:14:39.247" v="1716" actId="1076"/>
        <pc:sldMkLst>
          <pc:docMk/>
          <pc:sldMk cId="2253467789" sldId="3358"/>
        </pc:sldMkLst>
        <pc:spChg chg="add mod">
          <ac:chgData name="Jolanta Żyśko" userId="4381f832-b5c7-4656-b45d-0977651080ea" providerId="ADAL" clId="{CD609B17-0EEC-4881-B58E-32A5A922EC40}" dt="2026-05-18T10:14:39.247" v="1716" actId="1076"/>
          <ac:spMkLst>
            <pc:docMk/>
            <pc:sldMk cId="2253467789" sldId="3358"/>
            <ac:spMk id="4" creationId="{7E17BEB5-172F-9755-6583-9194232C702E}"/>
          </ac:spMkLst>
        </pc:spChg>
      </pc:sldChg>
      <pc:sldChg chg="modSp mod">
        <pc:chgData name="Jolanta Żyśko" userId="4381f832-b5c7-4656-b45d-0977651080ea" providerId="ADAL" clId="{CD609B17-0EEC-4881-B58E-32A5A922EC40}" dt="2026-05-13T21:25:34.040" v="1288" actId="113"/>
        <pc:sldMkLst>
          <pc:docMk/>
          <pc:sldMk cId="2735723846" sldId="3359"/>
        </pc:sldMkLst>
        <pc:spChg chg="mod">
          <ac:chgData name="Jolanta Żyśko" userId="4381f832-b5c7-4656-b45d-0977651080ea" providerId="ADAL" clId="{CD609B17-0EEC-4881-B58E-32A5A922EC40}" dt="2026-05-13T21:25:34.040" v="1288" actId="113"/>
          <ac:spMkLst>
            <pc:docMk/>
            <pc:sldMk cId="2735723846" sldId="3359"/>
            <ac:spMk id="3" creationId="{3E23E7BB-12E9-C0D2-A051-DB92B2956CC7}"/>
          </ac:spMkLst>
        </pc:spChg>
      </pc:sldChg>
      <pc:sldChg chg="addSp delSp modSp add mod ord">
        <pc:chgData name="Jolanta Żyśko" userId="4381f832-b5c7-4656-b45d-0977651080ea" providerId="ADAL" clId="{CD609B17-0EEC-4881-B58E-32A5A922EC40}" dt="2026-05-18T09:49:15.403" v="1601" actId="1076"/>
        <pc:sldMkLst>
          <pc:docMk/>
          <pc:sldMk cId="1957672233" sldId="2147483644"/>
        </pc:sldMkLst>
        <pc:spChg chg="mod">
          <ac:chgData name="Jolanta Żyśko" userId="4381f832-b5c7-4656-b45d-0977651080ea" providerId="ADAL" clId="{CD609B17-0EEC-4881-B58E-32A5A922EC40}" dt="2026-05-13T12:06:11.537" v="632" actId="20577"/>
          <ac:spMkLst>
            <pc:docMk/>
            <pc:sldMk cId="1957672233" sldId="2147483644"/>
            <ac:spMk id="2" creationId="{BE760237-B55A-6603-EA18-2D2881E7C292}"/>
          </ac:spMkLst>
        </pc:spChg>
        <pc:spChg chg="add del mod">
          <ac:chgData name="Jolanta Żyśko" userId="4381f832-b5c7-4656-b45d-0977651080ea" providerId="ADAL" clId="{CD609B17-0EEC-4881-B58E-32A5A922EC40}" dt="2026-05-18T09:48:28.130" v="1584" actId="478"/>
          <ac:spMkLst>
            <pc:docMk/>
            <pc:sldMk cId="1957672233" sldId="2147483644"/>
            <ac:spMk id="3" creationId="{BA3037C1-B980-A8EC-853B-1E1DF8CAAE24}"/>
          </ac:spMkLst>
        </pc:spChg>
        <pc:spChg chg="add mod">
          <ac:chgData name="Jolanta Żyśko" userId="4381f832-b5c7-4656-b45d-0977651080ea" providerId="ADAL" clId="{CD609B17-0EEC-4881-B58E-32A5A922EC40}" dt="2026-05-18T09:49:15.403" v="1601" actId="1076"/>
          <ac:spMkLst>
            <pc:docMk/>
            <pc:sldMk cId="1957672233" sldId="2147483644"/>
            <ac:spMk id="19" creationId="{9940BF97-F8C4-9965-C986-181A8EC161A1}"/>
          </ac:spMkLst>
        </pc:spChg>
      </pc:sldChg>
      <pc:sldChg chg="add">
        <pc:chgData name="Jolanta Żyśko" userId="4381f832-b5c7-4656-b45d-0977651080ea" providerId="ADAL" clId="{CD609B17-0EEC-4881-B58E-32A5A922EC40}" dt="2026-05-13T13:06:51.418" v="636"/>
        <pc:sldMkLst>
          <pc:docMk/>
          <pc:sldMk cId="4016832230" sldId="2147483645"/>
        </pc:sldMkLst>
      </pc:sldChg>
      <pc:sldChg chg="addSp modSp add mod">
        <pc:chgData name="Jolanta Żyśko" userId="4381f832-b5c7-4656-b45d-0977651080ea" providerId="ADAL" clId="{CD609B17-0EEC-4881-B58E-32A5A922EC40}" dt="2026-05-18T09:52:17.178" v="1617" actId="1076"/>
        <pc:sldMkLst>
          <pc:docMk/>
          <pc:sldMk cId="3493250924" sldId="2147483646"/>
        </pc:sldMkLst>
        <pc:picChg chg="add mod">
          <ac:chgData name="Jolanta Żyśko" userId="4381f832-b5c7-4656-b45d-0977651080ea" providerId="ADAL" clId="{CD609B17-0EEC-4881-B58E-32A5A922EC40}" dt="2026-05-18T09:52:17.178" v="1617" actId="1076"/>
          <ac:picMkLst>
            <pc:docMk/>
            <pc:sldMk cId="3493250924" sldId="2147483646"/>
            <ac:picMk id="22" creationId="{37AB5E8B-5A08-E611-E240-0081AA2A8313}"/>
          </ac:picMkLst>
        </pc:picChg>
      </pc:sldChg>
      <pc:sldChg chg="addSp modSp add">
        <pc:chgData name="Jolanta Żyśko" userId="4381f832-b5c7-4656-b45d-0977651080ea" providerId="ADAL" clId="{CD609B17-0EEC-4881-B58E-32A5A922EC40}" dt="2026-05-18T10:03:31.990" v="1618"/>
        <pc:sldMkLst>
          <pc:docMk/>
          <pc:sldMk cId="3332933750" sldId="2147483647"/>
        </pc:sldMkLst>
        <pc:spChg chg="add mod">
          <ac:chgData name="Jolanta Żyśko" userId="4381f832-b5c7-4656-b45d-0977651080ea" providerId="ADAL" clId="{CD609B17-0EEC-4881-B58E-32A5A922EC40}" dt="2026-05-18T10:03:31.990" v="1618"/>
          <ac:spMkLst>
            <pc:docMk/>
            <pc:sldMk cId="3332933750" sldId="2147483647"/>
            <ac:spMk id="6" creationId="{F3685BB5-42D3-CCFA-E09E-D4964A7835AF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6256EF4-5CD0-4EC0-92F6-9F0274738FDA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9EE671A9-340A-4C93-B6D7-A29D1DDA74A6}">
      <dgm:prSet phldrT="[Tekst]"/>
      <dgm:spPr>
        <a:xfrm>
          <a:off x="8803" y="1927645"/>
          <a:ext cx="5124541" cy="2049816"/>
        </a:xfrm>
        <a:prstGeom prst="chevron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pl-PL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naliza strategiczna</a:t>
          </a:r>
        </a:p>
      </dgm:t>
    </dgm:pt>
    <dgm:pt modelId="{E9F2F7A4-356B-46F0-A8D1-FCEB660ACC90}" type="parTrans" cxnId="{2FDF6ABE-57FA-4F98-8139-5CB6EA0F789A}">
      <dgm:prSet/>
      <dgm:spPr/>
      <dgm:t>
        <a:bodyPr/>
        <a:lstStyle/>
        <a:p>
          <a:endParaRPr lang="pl-PL"/>
        </a:p>
      </dgm:t>
    </dgm:pt>
    <dgm:pt modelId="{87846F67-A2C1-4EDB-92D8-1A809B4849BD}" type="sibTrans" cxnId="{2FDF6ABE-57FA-4F98-8139-5CB6EA0F789A}">
      <dgm:prSet/>
      <dgm:spPr/>
      <dgm:t>
        <a:bodyPr/>
        <a:lstStyle/>
        <a:p>
          <a:endParaRPr lang="pl-PL"/>
        </a:p>
      </dgm:t>
    </dgm:pt>
    <dgm:pt modelId="{831F8EA3-A135-4FC2-BF73-06846FB9BDF1}">
      <dgm:prSet phldrT="[Tekst]"/>
      <dgm:spPr>
        <a:xfrm>
          <a:off x="4620890" y="1927645"/>
          <a:ext cx="5124541" cy="2049816"/>
        </a:xfrm>
        <a:prstGeom prst="chevron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pl-PL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Formułowanie strategii</a:t>
          </a:r>
        </a:p>
      </dgm:t>
    </dgm:pt>
    <dgm:pt modelId="{7B2C1BCC-7591-4424-A294-DAC86E9C8342}" type="parTrans" cxnId="{25D70278-5196-4A52-BCA9-CFE20EC8220D}">
      <dgm:prSet/>
      <dgm:spPr/>
      <dgm:t>
        <a:bodyPr/>
        <a:lstStyle/>
        <a:p>
          <a:endParaRPr lang="pl-PL"/>
        </a:p>
      </dgm:t>
    </dgm:pt>
    <dgm:pt modelId="{79BC9921-A9E3-494F-BD19-2DA5C5512114}" type="sibTrans" cxnId="{25D70278-5196-4A52-BCA9-CFE20EC8220D}">
      <dgm:prSet/>
      <dgm:spPr/>
      <dgm:t>
        <a:bodyPr/>
        <a:lstStyle/>
        <a:p>
          <a:endParaRPr lang="pl-PL"/>
        </a:p>
      </dgm:t>
    </dgm:pt>
    <dgm:pt modelId="{88C2FF49-C826-4D1C-984C-A305CBB4F5A6}">
      <dgm:prSet phldrT="[Tekst]"/>
      <dgm:spPr>
        <a:xfrm>
          <a:off x="9232977" y="1927645"/>
          <a:ext cx="5124541" cy="2049816"/>
        </a:xfrm>
        <a:prstGeom prst="chevron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pl-PL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Wdrażanie strategii</a:t>
          </a:r>
        </a:p>
      </dgm:t>
    </dgm:pt>
    <dgm:pt modelId="{A964AD75-61C1-4E09-B0C5-A153AEA339C5}" type="parTrans" cxnId="{9BC37311-6047-424F-AB97-9DA978EC3BF9}">
      <dgm:prSet/>
      <dgm:spPr/>
      <dgm:t>
        <a:bodyPr/>
        <a:lstStyle/>
        <a:p>
          <a:endParaRPr lang="pl-PL"/>
        </a:p>
      </dgm:t>
    </dgm:pt>
    <dgm:pt modelId="{2388EC14-F64B-4EFE-BA2A-E1FBF1FDFACA}" type="sibTrans" cxnId="{9BC37311-6047-424F-AB97-9DA978EC3BF9}">
      <dgm:prSet/>
      <dgm:spPr/>
      <dgm:t>
        <a:bodyPr/>
        <a:lstStyle/>
        <a:p>
          <a:endParaRPr lang="pl-PL"/>
        </a:p>
      </dgm:t>
    </dgm:pt>
    <dgm:pt modelId="{581B9748-79F6-4110-A9DD-1311B70B4AF4}">
      <dgm:prSet/>
      <dgm:spPr>
        <a:xfrm>
          <a:off x="13845064" y="1927645"/>
          <a:ext cx="5124541" cy="2049816"/>
        </a:xfrm>
        <a:prstGeom prst="chevron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pl-PL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Kontrola strategii</a:t>
          </a:r>
        </a:p>
      </dgm:t>
    </dgm:pt>
    <dgm:pt modelId="{8C96D838-BDAF-4B4A-BB54-255CF58D17DC}" type="parTrans" cxnId="{1A691D22-1095-4721-B8C2-881B802EF22C}">
      <dgm:prSet/>
      <dgm:spPr/>
      <dgm:t>
        <a:bodyPr/>
        <a:lstStyle/>
        <a:p>
          <a:endParaRPr lang="pl-PL"/>
        </a:p>
      </dgm:t>
    </dgm:pt>
    <dgm:pt modelId="{4A6DBE75-2935-4417-BA02-27BA9A1207D2}" type="sibTrans" cxnId="{1A691D22-1095-4721-B8C2-881B802EF22C}">
      <dgm:prSet/>
      <dgm:spPr/>
      <dgm:t>
        <a:bodyPr/>
        <a:lstStyle/>
        <a:p>
          <a:endParaRPr lang="pl-PL"/>
        </a:p>
      </dgm:t>
    </dgm:pt>
    <dgm:pt modelId="{2291E73D-E362-44E1-8D5C-063D0C9DEAA3}" type="pres">
      <dgm:prSet presAssocID="{76256EF4-5CD0-4EC0-92F6-9F0274738FDA}" presName="Name0" presStyleCnt="0">
        <dgm:presLayoutVars>
          <dgm:dir/>
          <dgm:animLvl val="lvl"/>
          <dgm:resizeHandles val="exact"/>
        </dgm:presLayoutVars>
      </dgm:prSet>
      <dgm:spPr/>
    </dgm:pt>
    <dgm:pt modelId="{832DBE33-6ED8-4943-AF3B-AE8759D81436}" type="pres">
      <dgm:prSet presAssocID="{9EE671A9-340A-4C93-B6D7-A29D1DDA74A6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DAF13FB9-F807-45AF-8862-D43000FFC496}" type="pres">
      <dgm:prSet presAssocID="{87846F67-A2C1-4EDB-92D8-1A809B4849BD}" presName="parTxOnlySpace" presStyleCnt="0"/>
      <dgm:spPr/>
    </dgm:pt>
    <dgm:pt modelId="{9FE61215-DB6C-4132-A3B8-C2A360DD570A}" type="pres">
      <dgm:prSet presAssocID="{831F8EA3-A135-4FC2-BF73-06846FB9BDF1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61EBF3BA-B665-4746-A883-32AA750578BF}" type="pres">
      <dgm:prSet presAssocID="{79BC9921-A9E3-494F-BD19-2DA5C5512114}" presName="parTxOnlySpace" presStyleCnt="0"/>
      <dgm:spPr/>
    </dgm:pt>
    <dgm:pt modelId="{42451400-2423-4389-A617-C12C99BB0E94}" type="pres">
      <dgm:prSet presAssocID="{88C2FF49-C826-4D1C-984C-A305CBB4F5A6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874574F-9EAE-4C69-AC25-B28DDFB90E22}" type="pres">
      <dgm:prSet presAssocID="{2388EC14-F64B-4EFE-BA2A-E1FBF1FDFACA}" presName="parTxOnlySpace" presStyleCnt="0"/>
      <dgm:spPr/>
    </dgm:pt>
    <dgm:pt modelId="{5803F673-66ED-4453-A97F-17D3DE311C1D}" type="pres">
      <dgm:prSet presAssocID="{581B9748-79F6-4110-A9DD-1311B70B4AF4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CCF26711-7FDE-4594-8DBD-2953FC915037}" type="presOf" srcId="{88C2FF49-C826-4D1C-984C-A305CBB4F5A6}" destId="{42451400-2423-4389-A617-C12C99BB0E94}" srcOrd="0" destOrd="0" presId="urn:microsoft.com/office/officeart/2005/8/layout/chevron1"/>
    <dgm:cxn modelId="{9BC37311-6047-424F-AB97-9DA978EC3BF9}" srcId="{76256EF4-5CD0-4EC0-92F6-9F0274738FDA}" destId="{88C2FF49-C826-4D1C-984C-A305CBB4F5A6}" srcOrd="2" destOrd="0" parTransId="{A964AD75-61C1-4E09-B0C5-A153AEA339C5}" sibTransId="{2388EC14-F64B-4EFE-BA2A-E1FBF1FDFACA}"/>
    <dgm:cxn modelId="{1A691D22-1095-4721-B8C2-881B802EF22C}" srcId="{76256EF4-5CD0-4EC0-92F6-9F0274738FDA}" destId="{581B9748-79F6-4110-A9DD-1311B70B4AF4}" srcOrd="3" destOrd="0" parTransId="{8C96D838-BDAF-4B4A-BB54-255CF58D17DC}" sibTransId="{4A6DBE75-2935-4417-BA02-27BA9A1207D2}"/>
    <dgm:cxn modelId="{7FDF0E28-6F44-4043-90C6-6DD1546D0428}" type="presOf" srcId="{581B9748-79F6-4110-A9DD-1311B70B4AF4}" destId="{5803F673-66ED-4453-A97F-17D3DE311C1D}" srcOrd="0" destOrd="0" presId="urn:microsoft.com/office/officeart/2005/8/layout/chevron1"/>
    <dgm:cxn modelId="{8C85C12A-8F7F-4845-B78D-73A0D7682012}" type="presOf" srcId="{9EE671A9-340A-4C93-B6D7-A29D1DDA74A6}" destId="{832DBE33-6ED8-4943-AF3B-AE8759D81436}" srcOrd="0" destOrd="0" presId="urn:microsoft.com/office/officeart/2005/8/layout/chevron1"/>
    <dgm:cxn modelId="{4CB6C277-FD5B-4836-A69D-4C5B553515EF}" type="presOf" srcId="{831F8EA3-A135-4FC2-BF73-06846FB9BDF1}" destId="{9FE61215-DB6C-4132-A3B8-C2A360DD570A}" srcOrd="0" destOrd="0" presId="urn:microsoft.com/office/officeart/2005/8/layout/chevron1"/>
    <dgm:cxn modelId="{25D70278-5196-4A52-BCA9-CFE20EC8220D}" srcId="{76256EF4-5CD0-4EC0-92F6-9F0274738FDA}" destId="{831F8EA3-A135-4FC2-BF73-06846FB9BDF1}" srcOrd="1" destOrd="0" parTransId="{7B2C1BCC-7591-4424-A294-DAC86E9C8342}" sibTransId="{79BC9921-A9E3-494F-BD19-2DA5C5512114}"/>
    <dgm:cxn modelId="{2FDF6ABE-57FA-4F98-8139-5CB6EA0F789A}" srcId="{76256EF4-5CD0-4EC0-92F6-9F0274738FDA}" destId="{9EE671A9-340A-4C93-B6D7-A29D1DDA74A6}" srcOrd="0" destOrd="0" parTransId="{E9F2F7A4-356B-46F0-A8D1-FCEB660ACC90}" sibTransId="{87846F67-A2C1-4EDB-92D8-1A809B4849BD}"/>
    <dgm:cxn modelId="{758C92EB-D0BE-4E63-B1D1-955E0EBBC953}" type="presOf" srcId="{76256EF4-5CD0-4EC0-92F6-9F0274738FDA}" destId="{2291E73D-E362-44E1-8D5C-063D0C9DEAA3}" srcOrd="0" destOrd="0" presId="urn:microsoft.com/office/officeart/2005/8/layout/chevron1"/>
    <dgm:cxn modelId="{099A86B0-B1D6-4A57-852B-2C44B8ECD029}" type="presParOf" srcId="{2291E73D-E362-44E1-8D5C-063D0C9DEAA3}" destId="{832DBE33-6ED8-4943-AF3B-AE8759D81436}" srcOrd="0" destOrd="0" presId="urn:microsoft.com/office/officeart/2005/8/layout/chevron1"/>
    <dgm:cxn modelId="{24ADFC00-ACBE-4A87-BEF3-0CD02415266C}" type="presParOf" srcId="{2291E73D-E362-44E1-8D5C-063D0C9DEAA3}" destId="{DAF13FB9-F807-45AF-8862-D43000FFC496}" srcOrd="1" destOrd="0" presId="urn:microsoft.com/office/officeart/2005/8/layout/chevron1"/>
    <dgm:cxn modelId="{ED6197D3-2DDE-4530-B422-AF229734E05B}" type="presParOf" srcId="{2291E73D-E362-44E1-8D5C-063D0C9DEAA3}" destId="{9FE61215-DB6C-4132-A3B8-C2A360DD570A}" srcOrd="2" destOrd="0" presId="urn:microsoft.com/office/officeart/2005/8/layout/chevron1"/>
    <dgm:cxn modelId="{5DDD9B5A-712B-4517-9715-43F0883F6132}" type="presParOf" srcId="{2291E73D-E362-44E1-8D5C-063D0C9DEAA3}" destId="{61EBF3BA-B665-4746-A883-32AA750578BF}" srcOrd="3" destOrd="0" presId="urn:microsoft.com/office/officeart/2005/8/layout/chevron1"/>
    <dgm:cxn modelId="{201F0C2D-3C87-4919-B741-D0219D6E0F60}" type="presParOf" srcId="{2291E73D-E362-44E1-8D5C-063D0C9DEAA3}" destId="{42451400-2423-4389-A617-C12C99BB0E94}" srcOrd="4" destOrd="0" presId="urn:microsoft.com/office/officeart/2005/8/layout/chevron1"/>
    <dgm:cxn modelId="{6D9038B5-CF90-4BF2-92CD-87BA65BD0D5F}" type="presParOf" srcId="{2291E73D-E362-44E1-8D5C-063D0C9DEAA3}" destId="{2874574F-9EAE-4C69-AC25-B28DDFB90E22}" srcOrd="5" destOrd="0" presId="urn:microsoft.com/office/officeart/2005/8/layout/chevron1"/>
    <dgm:cxn modelId="{EC16E295-0B0C-4F89-88F2-C87B14D3CBFA}" type="presParOf" srcId="{2291E73D-E362-44E1-8D5C-063D0C9DEAA3}" destId="{5803F673-66ED-4453-A97F-17D3DE311C1D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2DBE33-6ED8-4943-AF3B-AE8759D81436}">
      <dsp:nvSpPr>
        <dsp:cNvPr id="0" name=""/>
        <dsp:cNvSpPr/>
      </dsp:nvSpPr>
      <dsp:spPr>
        <a:xfrm>
          <a:off x="5465" y="466891"/>
          <a:ext cx="3181724" cy="1272689"/>
        </a:xfrm>
        <a:prstGeom prst="chevron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30671" rIns="30671" bIns="30671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3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naliza strategiczna</a:t>
          </a:r>
        </a:p>
      </dsp:txBody>
      <dsp:txXfrm>
        <a:off x="641810" y="466891"/>
        <a:ext cx="1909035" cy="1272689"/>
      </dsp:txXfrm>
    </dsp:sp>
    <dsp:sp modelId="{9FE61215-DB6C-4132-A3B8-C2A360DD570A}">
      <dsp:nvSpPr>
        <dsp:cNvPr id="0" name=""/>
        <dsp:cNvSpPr/>
      </dsp:nvSpPr>
      <dsp:spPr>
        <a:xfrm>
          <a:off x="2869017" y="466891"/>
          <a:ext cx="3181724" cy="1272689"/>
        </a:xfrm>
        <a:prstGeom prst="chevron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30671" rIns="30671" bIns="30671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3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Formułowanie strategii</a:t>
          </a:r>
        </a:p>
      </dsp:txBody>
      <dsp:txXfrm>
        <a:off x="3505362" y="466891"/>
        <a:ext cx="1909035" cy="1272689"/>
      </dsp:txXfrm>
    </dsp:sp>
    <dsp:sp modelId="{42451400-2423-4389-A617-C12C99BB0E94}">
      <dsp:nvSpPr>
        <dsp:cNvPr id="0" name=""/>
        <dsp:cNvSpPr/>
      </dsp:nvSpPr>
      <dsp:spPr>
        <a:xfrm>
          <a:off x="5732569" y="466891"/>
          <a:ext cx="3181724" cy="1272689"/>
        </a:xfrm>
        <a:prstGeom prst="chevron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30671" rIns="30671" bIns="30671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3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Wdrażanie strategii</a:t>
          </a:r>
        </a:p>
      </dsp:txBody>
      <dsp:txXfrm>
        <a:off x="6368914" y="466891"/>
        <a:ext cx="1909035" cy="1272689"/>
      </dsp:txXfrm>
    </dsp:sp>
    <dsp:sp modelId="{5803F673-66ED-4453-A97F-17D3DE311C1D}">
      <dsp:nvSpPr>
        <dsp:cNvPr id="0" name=""/>
        <dsp:cNvSpPr/>
      </dsp:nvSpPr>
      <dsp:spPr>
        <a:xfrm>
          <a:off x="8596121" y="466891"/>
          <a:ext cx="3181724" cy="1272689"/>
        </a:xfrm>
        <a:prstGeom prst="chevron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30671" rIns="30671" bIns="30671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3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Kontrola strategii</a:t>
          </a:r>
        </a:p>
      </dsp:txBody>
      <dsp:txXfrm>
        <a:off x="9232466" y="466891"/>
        <a:ext cx="1909035" cy="12726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B9625D-A1F5-40EA-8499-DC4C7764F46D}" type="datetimeFigureOut">
              <a:rPr lang="pl-PL" smtClean="0"/>
              <a:t>18.05.2026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A560D0-D9AE-44AE-B990-B46AEBE657F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02903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A560D0-D9AE-44AE-B990-B46AEBE657F5}" type="slidenum">
              <a:rPr lang="pl-PL" smtClean="0"/>
              <a:t>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069476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B9FD94-A9EC-D0D9-BF6F-7424791F00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7CDD298B-ED37-82A8-FA1B-9006146FCE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B010155E-AC07-94D9-724D-156D0CB5E9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EF287484-DF0D-7889-FABD-82FEB22F8F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560D0-D9AE-44AE-B990-B46AEBE657F5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98932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E0BFDE-E787-657F-0755-F63B4E1DC7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7D99344F-27D7-074B-957D-B09573A130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8B91090A-9E56-FEEF-85D4-A667A14507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343A41AE-CF84-AF6E-F63A-6AB3F934E1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560D0-D9AE-44AE-B990-B46AEBE657F5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9899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6712A3-E821-5240-CD6B-E6596690CD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4E81762B-FD20-539C-FDDF-E604D80F9F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DB1EE2B9-85F1-46DA-587D-2856255E02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B8361019-C767-1217-A93E-B88F14C0DE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560D0-D9AE-44AE-B990-B46AEBE657F5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06876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7C4B10-DC72-E25D-6B19-11C720AF13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7155AA8F-8FA4-A7D9-901F-1BFA0BDE72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6D9767E4-9491-06BA-A12E-8DFFDFF49A5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82471B4B-93C9-29B9-DB60-894FCE706C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560D0-D9AE-44AE-B990-B46AEBE657F5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681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2D34D2-2D48-2421-29D1-6E3145287C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4C33ECF3-825B-7800-F5FC-CBA89F56C3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0721811E-D2DB-3D7A-655A-B9A94C4D28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A5944FD1-C116-C4E4-DD0C-EA2DAE0372F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560D0-D9AE-44AE-B990-B46AEBE657F5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31730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9FF2D3-2EE4-9DF5-B9D1-5A519A9328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9DE63E0B-A757-F197-FF51-53BC3439F7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E0788AA6-4DC2-B5E4-A19D-8F452EDCBD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B4ED8BE1-FCF3-E08C-A20F-653127A563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560D0-D9AE-44AE-B990-B46AEBE657F5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53396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A560D0-D9AE-44AE-B990-B46AEBE657F5}" type="slidenum">
              <a:rPr lang="pl-PL" smtClean="0"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052088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6DC802-CC0A-D982-077A-A63069937A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6A578A4-F7AD-D2E4-739D-535728812A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632970F-0C34-0147-9142-A643B6EC8E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DD4DF2-BFC7-2FAC-3B4B-1E763C59E2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D3E09-8E89-495F-A858-B1A5E41AC3D8}" type="slidenum">
              <a:rPr kumimoji="0" lang="pl-PL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l-PL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4311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6BC41F-D5FA-554E-B21A-8CB6C96C198D}" type="slidenum">
              <a:rPr kumimoji="0" lang="pl-PL" sz="6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pl-PL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92972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A560D0-D9AE-44AE-B990-B46AEBE657F5}" type="slidenum">
              <a:rPr lang="pl-PL" smtClean="0"/>
              <a:t>2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570095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FD7B66-56FD-4318-6036-83E34688BD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C53978FE-56B9-1D99-BAF3-6393074427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5F0026FB-83B1-C1DD-32F7-E4BF24258B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45F84161-D7EE-1C17-160A-F42DED1AC2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560D0-D9AE-44AE-B990-B46AEBE657F5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83192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004FF2-2D29-9D10-837E-F8C46BEFC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4498F703-35C2-7D73-1A18-812CA0CBD7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BFEF8734-785D-28F6-E4A3-6CAB8290E8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36EA006B-1AC0-0A86-6E88-4FB96F3B1D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560D0-D9AE-44AE-B990-B46AEBE657F5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45571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BC376B-9D6C-7815-A6D4-37C07540F7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AEAEDA82-8F32-7894-1557-16085EAE92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372AEBFF-2B75-4E5D-D60F-FEC952A568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52380859-6EC0-55D9-DE52-B1058289EF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560D0-D9AE-44AE-B990-B46AEBE657F5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06726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5ACB01-E891-851E-7472-DBF8F944D1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C0DDB5FF-59DB-8537-E30B-396E545E4C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C98E879F-CCF3-4EC0-9BDF-0FE4FBCDD2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1E639911-44F2-C3DA-8D37-F43D33D0FA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560D0-D9AE-44AE-B990-B46AEBE657F5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8032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4.png"/><Relationship Id="rId5" Type="http://schemas.openxmlformats.org/officeDocument/2006/relationships/hyperlink" Target="http://www.sgtir.edu.pl/" TargetMode="External"/><Relationship Id="rId4" Type="http://schemas.openxmlformats.org/officeDocument/2006/relationships/hyperlink" Target="http://www.vistula.edu.pl/" TargetMode="Externa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vistulahospitality.edu.pl/" TargetMode="External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E1B1B55-338A-1FDF-FE4A-37DB5DA72F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D33FFA9F-911A-F13A-A2BD-EFA5EF5FC1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39B63E52-92B2-7810-862C-7D12C357FB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4DA5F6-B7AE-43C7-9FF2-8AE9DCAA8F0B}" type="datetimeFigureOut">
              <a:rPr lang="pl-PL" smtClean="0"/>
              <a:t>18.05.2026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83E5F176-2495-D9EC-C4EB-E5AF441094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0F2FE359-AB9C-4009-017E-021CED1F3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81AB-1FA4-4097-8317-62035282E2A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447330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C0505D4-8702-B39A-F58E-19E8B8E606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id="{3A44A512-44BB-1349-F5F4-4E169854FAD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4876FAB1-E7CC-848D-7E7C-E166DFC879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4DA5F6-B7AE-43C7-9FF2-8AE9DCAA8F0B}" type="datetimeFigureOut">
              <a:rPr lang="pl-PL" smtClean="0"/>
              <a:t>18.05.2026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B3744381-CC81-6A78-DBF4-39F5F3C709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D86D690E-F208-EC63-C62F-FA9151686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81AB-1FA4-4097-8317-62035282E2A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525046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>
            <a:extLst>
              <a:ext uri="{FF2B5EF4-FFF2-40B4-BE49-F238E27FC236}">
                <a16:creationId xmlns:a16="http://schemas.microsoft.com/office/drawing/2014/main" id="{120372E0-16ED-5755-020C-B4403935380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id="{DCB90A9E-5489-C7EB-CF53-D19F68404F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F8ABE107-6C0A-7C8F-773B-B2A5F08917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4DA5F6-B7AE-43C7-9FF2-8AE9DCAA8F0B}" type="datetimeFigureOut">
              <a:rPr lang="pl-PL" smtClean="0"/>
              <a:t>18.05.2026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FFA8D661-F189-B7FF-F8E1-7EDA86AD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7964F7D6-D0E4-D976-5DAD-8B29933A9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81AB-1FA4-4097-8317-62035282E2A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943772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4845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2BFB536-2E7B-A7EA-9711-C26886939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2734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BFB536-2E7B-A7EA-9711-C26886939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ject 7">
            <a:extLst>
              <a:ext uri="{FF2B5EF4-FFF2-40B4-BE49-F238E27FC236}">
                <a16:creationId xmlns:a16="http://schemas.microsoft.com/office/drawing/2014/main" id="{D430CFF0-C430-C6FF-99C9-B53AB301943E}"/>
              </a:ext>
            </a:extLst>
          </p:cNvPr>
          <p:cNvSpPr/>
          <p:nvPr userDrawn="1"/>
        </p:nvSpPr>
        <p:spPr>
          <a:xfrm>
            <a:off x="0" y="644818"/>
            <a:ext cx="12192000" cy="4779821"/>
          </a:xfrm>
          <a:custGeom>
            <a:avLst/>
            <a:gdLst/>
            <a:ahLst/>
            <a:cxnLst/>
            <a:rect l="l" t="t" r="r" b="b"/>
            <a:pathLst>
              <a:path w="2235200" h="876300">
                <a:moveTo>
                  <a:pt x="795868" y="139700"/>
                </a:moveTo>
                <a:lnTo>
                  <a:pt x="490730" y="139700"/>
                </a:lnTo>
                <a:lnTo>
                  <a:pt x="636164" y="143509"/>
                </a:lnTo>
                <a:lnTo>
                  <a:pt x="732331" y="151129"/>
                </a:lnTo>
                <a:lnTo>
                  <a:pt x="827738" y="161290"/>
                </a:lnTo>
                <a:lnTo>
                  <a:pt x="875121" y="167640"/>
                </a:lnTo>
                <a:lnTo>
                  <a:pt x="922273" y="176529"/>
                </a:lnTo>
                <a:lnTo>
                  <a:pt x="969179" y="184150"/>
                </a:lnTo>
                <a:lnTo>
                  <a:pt x="1062199" y="204470"/>
                </a:lnTo>
                <a:lnTo>
                  <a:pt x="1154070" y="227329"/>
                </a:lnTo>
                <a:lnTo>
                  <a:pt x="1289481" y="269240"/>
                </a:lnTo>
                <a:lnTo>
                  <a:pt x="1333924" y="284480"/>
                </a:lnTo>
                <a:lnTo>
                  <a:pt x="1377996" y="300990"/>
                </a:lnTo>
                <a:lnTo>
                  <a:pt x="1464974" y="336550"/>
                </a:lnTo>
                <a:lnTo>
                  <a:pt x="1507852" y="355600"/>
                </a:lnTo>
                <a:lnTo>
                  <a:pt x="1592317" y="396240"/>
                </a:lnTo>
                <a:lnTo>
                  <a:pt x="1633877" y="417830"/>
                </a:lnTo>
                <a:lnTo>
                  <a:pt x="1715579" y="463550"/>
                </a:lnTo>
                <a:lnTo>
                  <a:pt x="1795302" y="511809"/>
                </a:lnTo>
                <a:lnTo>
                  <a:pt x="1834386" y="537210"/>
                </a:lnTo>
                <a:lnTo>
                  <a:pt x="1872934" y="563880"/>
                </a:lnTo>
                <a:lnTo>
                  <a:pt x="1910931" y="590550"/>
                </a:lnTo>
                <a:lnTo>
                  <a:pt x="1948363" y="618490"/>
                </a:lnTo>
                <a:lnTo>
                  <a:pt x="1985218" y="646430"/>
                </a:lnTo>
                <a:lnTo>
                  <a:pt x="2021480" y="675640"/>
                </a:lnTo>
                <a:lnTo>
                  <a:pt x="2057137" y="706120"/>
                </a:lnTo>
                <a:lnTo>
                  <a:pt x="2092173" y="736600"/>
                </a:lnTo>
                <a:lnTo>
                  <a:pt x="2126577" y="768350"/>
                </a:lnTo>
                <a:lnTo>
                  <a:pt x="2160332" y="800100"/>
                </a:lnTo>
                <a:lnTo>
                  <a:pt x="2193426" y="833119"/>
                </a:lnTo>
                <a:lnTo>
                  <a:pt x="2225845" y="867410"/>
                </a:lnTo>
                <a:lnTo>
                  <a:pt x="2234907" y="876300"/>
                </a:lnTo>
                <a:lnTo>
                  <a:pt x="2234907" y="812800"/>
                </a:lnTo>
                <a:lnTo>
                  <a:pt x="2222079" y="798830"/>
                </a:lnTo>
                <a:lnTo>
                  <a:pt x="2188055" y="767080"/>
                </a:lnTo>
                <a:lnTo>
                  <a:pt x="2153380" y="735330"/>
                </a:lnTo>
                <a:lnTo>
                  <a:pt x="2118068" y="703580"/>
                </a:lnTo>
                <a:lnTo>
                  <a:pt x="2082134" y="673100"/>
                </a:lnTo>
                <a:lnTo>
                  <a:pt x="2045590" y="643890"/>
                </a:lnTo>
                <a:lnTo>
                  <a:pt x="2008452" y="614680"/>
                </a:lnTo>
                <a:lnTo>
                  <a:pt x="1970733" y="586740"/>
                </a:lnTo>
                <a:lnTo>
                  <a:pt x="1932447" y="558800"/>
                </a:lnTo>
                <a:lnTo>
                  <a:pt x="1893608" y="532130"/>
                </a:lnTo>
                <a:lnTo>
                  <a:pt x="1814328" y="481330"/>
                </a:lnTo>
                <a:lnTo>
                  <a:pt x="1773914" y="457200"/>
                </a:lnTo>
                <a:lnTo>
                  <a:pt x="1691611" y="411480"/>
                </a:lnTo>
                <a:lnTo>
                  <a:pt x="1607432" y="368300"/>
                </a:lnTo>
                <a:lnTo>
                  <a:pt x="1564674" y="347980"/>
                </a:lnTo>
                <a:lnTo>
                  <a:pt x="1477893" y="309880"/>
                </a:lnTo>
                <a:lnTo>
                  <a:pt x="1433896" y="292100"/>
                </a:lnTo>
                <a:lnTo>
                  <a:pt x="1389515" y="275590"/>
                </a:lnTo>
                <a:lnTo>
                  <a:pt x="1299655" y="245109"/>
                </a:lnTo>
                <a:lnTo>
                  <a:pt x="1208423" y="217170"/>
                </a:lnTo>
                <a:lnTo>
                  <a:pt x="1162327" y="204470"/>
                </a:lnTo>
                <a:lnTo>
                  <a:pt x="1115931" y="193040"/>
                </a:lnTo>
                <a:lnTo>
                  <a:pt x="1022293" y="172720"/>
                </a:lnTo>
                <a:lnTo>
                  <a:pt x="975078" y="163829"/>
                </a:lnTo>
                <a:lnTo>
                  <a:pt x="927619" y="156209"/>
                </a:lnTo>
                <a:lnTo>
                  <a:pt x="832021" y="143509"/>
                </a:lnTo>
                <a:lnTo>
                  <a:pt x="795868" y="139700"/>
                </a:lnTo>
                <a:close/>
              </a:path>
              <a:path w="2235200" h="876300">
                <a:moveTo>
                  <a:pt x="983386" y="83820"/>
                </a:moveTo>
                <a:lnTo>
                  <a:pt x="714742" y="83820"/>
                </a:lnTo>
                <a:lnTo>
                  <a:pt x="858678" y="91440"/>
                </a:lnTo>
                <a:lnTo>
                  <a:pt x="953891" y="101600"/>
                </a:lnTo>
                <a:lnTo>
                  <a:pt x="1048388" y="114300"/>
                </a:lnTo>
                <a:lnTo>
                  <a:pt x="1095335" y="121920"/>
                </a:lnTo>
                <a:lnTo>
                  <a:pt x="1142064" y="130809"/>
                </a:lnTo>
                <a:lnTo>
                  <a:pt x="1234816" y="151129"/>
                </a:lnTo>
                <a:lnTo>
                  <a:pt x="1326539" y="173990"/>
                </a:lnTo>
                <a:lnTo>
                  <a:pt x="1371983" y="186690"/>
                </a:lnTo>
                <a:lnTo>
                  <a:pt x="1417130" y="200659"/>
                </a:lnTo>
                <a:lnTo>
                  <a:pt x="1506486" y="231140"/>
                </a:lnTo>
                <a:lnTo>
                  <a:pt x="1594501" y="264159"/>
                </a:lnTo>
                <a:lnTo>
                  <a:pt x="1637974" y="281940"/>
                </a:lnTo>
                <a:lnTo>
                  <a:pt x="1723784" y="320040"/>
                </a:lnTo>
                <a:lnTo>
                  <a:pt x="1766096" y="340359"/>
                </a:lnTo>
                <a:lnTo>
                  <a:pt x="1849467" y="383540"/>
                </a:lnTo>
                <a:lnTo>
                  <a:pt x="1890501" y="406400"/>
                </a:lnTo>
                <a:lnTo>
                  <a:pt x="1931083" y="430530"/>
                </a:lnTo>
                <a:lnTo>
                  <a:pt x="2010839" y="478790"/>
                </a:lnTo>
                <a:lnTo>
                  <a:pt x="2049987" y="505459"/>
                </a:lnTo>
                <a:lnTo>
                  <a:pt x="2088632" y="530860"/>
                </a:lnTo>
                <a:lnTo>
                  <a:pt x="2126759" y="558800"/>
                </a:lnTo>
                <a:lnTo>
                  <a:pt x="2164357" y="586740"/>
                </a:lnTo>
                <a:lnTo>
                  <a:pt x="2234907" y="642620"/>
                </a:lnTo>
                <a:lnTo>
                  <a:pt x="2234907" y="588010"/>
                </a:lnTo>
                <a:lnTo>
                  <a:pt x="2189808" y="553720"/>
                </a:lnTo>
                <a:lnTo>
                  <a:pt x="2151348" y="525780"/>
                </a:lnTo>
                <a:lnTo>
                  <a:pt x="2072882" y="472440"/>
                </a:lnTo>
                <a:lnTo>
                  <a:pt x="2032902" y="447040"/>
                </a:lnTo>
                <a:lnTo>
                  <a:pt x="1951515" y="398780"/>
                </a:lnTo>
                <a:lnTo>
                  <a:pt x="1868312" y="353059"/>
                </a:lnTo>
                <a:lnTo>
                  <a:pt x="1826063" y="331470"/>
                </a:lnTo>
                <a:lnTo>
                  <a:pt x="1740332" y="290830"/>
                </a:lnTo>
                <a:lnTo>
                  <a:pt x="1696878" y="271780"/>
                </a:lnTo>
                <a:lnTo>
                  <a:pt x="1608856" y="236220"/>
                </a:lnTo>
                <a:lnTo>
                  <a:pt x="1564315" y="219709"/>
                </a:lnTo>
                <a:lnTo>
                  <a:pt x="1474238" y="189229"/>
                </a:lnTo>
                <a:lnTo>
                  <a:pt x="1428729" y="175259"/>
                </a:lnTo>
                <a:lnTo>
                  <a:pt x="1336833" y="149859"/>
                </a:lnTo>
                <a:lnTo>
                  <a:pt x="1243856" y="127000"/>
                </a:lnTo>
                <a:lnTo>
                  <a:pt x="1196994" y="116840"/>
                </a:lnTo>
                <a:lnTo>
                  <a:pt x="1149902" y="107950"/>
                </a:lnTo>
                <a:lnTo>
                  <a:pt x="1055077" y="92709"/>
                </a:lnTo>
                <a:lnTo>
                  <a:pt x="1007370" y="86359"/>
                </a:lnTo>
                <a:lnTo>
                  <a:pt x="983386" y="83820"/>
                </a:lnTo>
                <a:close/>
              </a:path>
              <a:path w="2235200" h="876300">
                <a:moveTo>
                  <a:pt x="1155754" y="19050"/>
                </a:moveTo>
                <a:lnTo>
                  <a:pt x="842151" y="19050"/>
                </a:lnTo>
                <a:lnTo>
                  <a:pt x="938284" y="21590"/>
                </a:lnTo>
                <a:lnTo>
                  <a:pt x="1081638" y="33019"/>
                </a:lnTo>
                <a:lnTo>
                  <a:pt x="1129148" y="39369"/>
                </a:lnTo>
                <a:lnTo>
                  <a:pt x="1176501" y="44450"/>
                </a:lnTo>
                <a:lnTo>
                  <a:pt x="1270686" y="59690"/>
                </a:lnTo>
                <a:lnTo>
                  <a:pt x="1317494" y="68579"/>
                </a:lnTo>
                <a:lnTo>
                  <a:pt x="1410478" y="88900"/>
                </a:lnTo>
                <a:lnTo>
                  <a:pt x="1456630" y="100329"/>
                </a:lnTo>
                <a:lnTo>
                  <a:pt x="1548194" y="125729"/>
                </a:lnTo>
                <a:lnTo>
                  <a:pt x="1638688" y="153670"/>
                </a:lnTo>
                <a:lnTo>
                  <a:pt x="1683504" y="168909"/>
                </a:lnTo>
                <a:lnTo>
                  <a:pt x="1772213" y="201929"/>
                </a:lnTo>
                <a:lnTo>
                  <a:pt x="1816080" y="219709"/>
                </a:lnTo>
                <a:lnTo>
                  <a:pt x="1902782" y="257809"/>
                </a:lnTo>
                <a:lnTo>
                  <a:pt x="1988025" y="298450"/>
                </a:lnTo>
                <a:lnTo>
                  <a:pt x="2030068" y="320040"/>
                </a:lnTo>
                <a:lnTo>
                  <a:pt x="2112939" y="365759"/>
                </a:lnTo>
                <a:lnTo>
                  <a:pt x="2194105" y="414020"/>
                </a:lnTo>
                <a:lnTo>
                  <a:pt x="2234019" y="439420"/>
                </a:lnTo>
                <a:lnTo>
                  <a:pt x="2234907" y="440690"/>
                </a:lnTo>
                <a:lnTo>
                  <a:pt x="2234907" y="392430"/>
                </a:lnTo>
                <a:lnTo>
                  <a:pt x="2177144" y="356870"/>
                </a:lnTo>
                <a:lnTo>
                  <a:pt x="2093503" y="311150"/>
                </a:lnTo>
                <a:lnTo>
                  <a:pt x="2008247" y="267970"/>
                </a:lnTo>
                <a:lnTo>
                  <a:pt x="1921475" y="227329"/>
                </a:lnTo>
                <a:lnTo>
                  <a:pt x="1877551" y="208279"/>
                </a:lnTo>
                <a:lnTo>
                  <a:pt x="1788690" y="172720"/>
                </a:lnTo>
                <a:lnTo>
                  <a:pt x="1743776" y="156209"/>
                </a:lnTo>
                <a:lnTo>
                  <a:pt x="1653046" y="125729"/>
                </a:lnTo>
                <a:lnTo>
                  <a:pt x="1607255" y="111759"/>
                </a:lnTo>
                <a:lnTo>
                  <a:pt x="1514879" y="86359"/>
                </a:lnTo>
                <a:lnTo>
                  <a:pt x="1421529" y="63500"/>
                </a:lnTo>
                <a:lnTo>
                  <a:pt x="1374519" y="53340"/>
                </a:lnTo>
                <a:lnTo>
                  <a:pt x="1327303" y="44450"/>
                </a:lnTo>
                <a:lnTo>
                  <a:pt x="1232300" y="29209"/>
                </a:lnTo>
                <a:lnTo>
                  <a:pt x="1155754" y="19050"/>
                </a:lnTo>
                <a:close/>
              </a:path>
              <a:path w="2235200" h="876300">
                <a:moveTo>
                  <a:pt x="589723" y="127000"/>
                </a:moveTo>
                <a:lnTo>
                  <a:pt x="491776" y="127000"/>
                </a:lnTo>
                <a:lnTo>
                  <a:pt x="442639" y="128270"/>
                </a:lnTo>
                <a:lnTo>
                  <a:pt x="393410" y="130809"/>
                </a:lnTo>
                <a:lnTo>
                  <a:pt x="294737" y="138429"/>
                </a:lnTo>
                <a:lnTo>
                  <a:pt x="195868" y="151129"/>
                </a:lnTo>
                <a:lnTo>
                  <a:pt x="96916" y="166370"/>
                </a:lnTo>
                <a:lnTo>
                  <a:pt x="0" y="186690"/>
                </a:lnTo>
                <a:lnTo>
                  <a:pt x="0" y="193040"/>
                </a:lnTo>
                <a:lnTo>
                  <a:pt x="196" y="193040"/>
                </a:lnTo>
                <a:lnTo>
                  <a:pt x="49398" y="182879"/>
                </a:lnTo>
                <a:lnTo>
                  <a:pt x="98604" y="173990"/>
                </a:lnTo>
                <a:lnTo>
                  <a:pt x="147800" y="166370"/>
                </a:lnTo>
                <a:lnTo>
                  <a:pt x="246107" y="153670"/>
                </a:lnTo>
                <a:lnTo>
                  <a:pt x="393146" y="142240"/>
                </a:lnTo>
                <a:lnTo>
                  <a:pt x="490730" y="139700"/>
                </a:lnTo>
                <a:lnTo>
                  <a:pt x="795868" y="139700"/>
                </a:lnTo>
                <a:lnTo>
                  <a:pt x="735613" y="133350"/>
                </a:lnTo>
                <a:lnTo>
                  <a:pt x="638505" y="128270"/>
                </a:lnTo>
                <a:lnTo>
                  <a:pt x="589723" y="127000"/>
                </a:lnTo>
                <a:close/>
              </a:path>
              <a:path w="2235200" h="876300">
                <a:moveTo>
                  <a:pt x="717841" y="67309"/>
                </a:moveTo>
                <a:lnTo>
                  <a:pt x="669160" y="67309"/>
                </a:lnTo>
                <a:lnTo>
                  <a:pt x="571552" y="69850"/>
                </a:lnTo>
                <a:lnTo>
                  <a:pt x="522651" y="73659"/>
                </a:lnTo>
                <a:lnTo>
                  <a:pt x="473702" y="76200"/>
                </a:lnTo>
                <a:lnTo>
                  <a:pt x="375716" y="86359"/>
                </a:lnTo>
                <a:lnTo>
                  <a:pt x="326704" y="93979"/>
                </a:lnTo>
                <a:lnTo>
                  <a:pt x="277697" y="100329"/>
                </a:lnTo>
                <a:lnTo>
                  <a:pt x="179752" y="118109"/>
                </a:lnTo>
                <a:lnTo>
                  <a:pt x="33200" y="152400"/>
                </a:lnTo>
                <a:lnTo>
                  <a:pt x="0" y="161290"/>
                </a:lnTo>
                <a:lnTo>
                  <a:pt x="0" y="168909"/>
                </a:lnTo>
                <a:lnTo>
                  <a:pt x="35126" y="158750"/>
                </a:lnTo>
                <a:lnTo>
                  <a:pt x="83652" y="147320"/>
                </a:lnTo>
                <a:lnTo>
                  <a:pt x="180856" y="127000"/>
                </a:lnTo>
                <a:lnTo>
                  <a:pt x="326844" y="104140"/>
                </a:lnTo>
                <a:lnTo>
                  <a:pt x="424140" y="93979"/>
                </a:lnTo>
                <a:lnTo>
                  <a:pt x="521291" y="86359"/>
                </a:lnTo>
                <a:lnTo>
                  <a:pt x="618193" y="83820"/>
                </a:lnTo>
                <a:lnTo>
                  <a:pt x="983386" y="83820"/>
                </a:lnTo>
                <a:lnTo>
                  <a:pt x="911435" y="76200"/>
                </a:lnTo>
                <a:lnTo>
                  <a:pt x="863232" y="73659"/>
                </a:lnTo>
                <a:lnTo>
                  <a:pt x="814890" y="69850"/>
                </a:lnTo>
                <a:lnTo>
                  <a:pt x="717841" y="67309"/>
                </a:lnTo>
                <a:close/>
              </a:path>
              <a:path w="2235200" h="876300">
                <a:moveTo>
                  <a:pt x="846486" y="0"/>
                </a:moveTo>
                <a:lnTo>
                  <a:pt x="700294" y="3809"/>
                </a:lnTo>
                <a:lnTo>
                  <a:pt x="602642" y="11430"/>
                </a:lnTo>
                <a:lnTo>
                  <a:pt x="504951" y="21590"/>
                </a:lnTo>
                <a:lnTo>
                  <a:pt x="456122" y="27940"/>
                </a:lnTo>
                <a:lnTo>
                  <a:pt x="407321" y="35559"/>
                </a:lnTo>
                <a:lnTo>
                  <a:pt x="309850" y="53340"/>
                </a:lnTo>
                <a:lnTo>
                  <a:pt x="261204" y="63500"/>
                </a:lnTo>
                <a:lnTo>
                  <a:pt x="212636" y="74929"/>
                </a:lnTo>
                <a:lnTo>
                  <a:pt x="115779" y="100329"/>
                </a:lnTo>
                <a:lnTo>
                  <a:pt x="67514" y="114300"/>
                </a:lnTo>
                <a:lnTo>
                  <a:pt x="19376" y="129540"/>
                </a:lnTo>
                <a:lnTo>
                  <a:pt x="0" y="135890"/>
                </a:lnTo>
                <a:lnTo>
                  <a:pt x="0" y="142240"/>
                </a:lnTo>
                <a:lnTo>
                  <a:pt x="117161" y="107950"/>
                </a:lnTo>
                <a:lnTo>
                  <a:pt x="261698" y="73659"/>
                </a:lnTo>
                <a:lnTo>
                  <a:pt x="358387" y="55880"/>
                </a:lnTo>
                <a:lnTo>
                  <a:pt x="406795" y="48259"/>
                </a:lnTo>
                <a:lnTo>
                  <a:pt x="503675" y="35559"/>
                </a:lnTo>
                <a:lnTo>
                  <a:pt x="552122" y="30480"/>
                </a:lnTo>
                <a:lnTo>
                  <a:pt x="648973" y="22859"/>
                </a:lnTo>
                <a:lnTo>
                  <a:pt x="697351" y="20319"/>
                </a:lnTo>
                <a:lnTo>
                  <a:pt x="745682" y="19050"/>
                </a:lnTo>
                <a:lnTo>
                  <a:pt x="1155754" y="19050"/>
                </a:lnTo>
                <a:lnTo>
                  <a:pt x="1136618" y="16509"/>
                </a:lnTo>
                <a:lnTo>
                  <a:pt x="1088553" y="11430"/>
                </a:lnTo>
                <a:lnTo>
                  <a:pt x="1040356" y="7619"/>
                </a:lnTo>
                <a:lnTo>
                  <a:pt x="943613" y="2540"/>
                </a:lnTo>
                <a:lnTo>
                  <a:pt x="846486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E9C1F22-F4C6-BC69-B62A-9D895CD54E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6000" y="4419600"/>
            <a:ext cx="5759450" cy="615553"/>
          </a:xfrm>
        </p:spPr>
        <p:txBody>
          <a:bodyPr/>
          <a:lstStyle>
            <a:lvl1pPr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86895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2BFB536-2E7B-A7EA-9711-C26886939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4220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BFB536-2E7B-A7EA-9711-C26886939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E276A42-5874-D83C-48DE-DAAE42B9C1B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pl-PL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D195157F-39A0-23A3-96B4-5F518A686DB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000" y="3292769"/>
            <a:ext cx="5759450" cy="1584031"/>
          </a:xfrm>
        </p:spPr>
        <p:txBody>
          <a:bodyPr anchor="b"/>
          <a:lstStyle>
            <a:lvl1pPr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22003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2BFB536-2E7B-A7EA-9711-C26886939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7264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BFB536-2E7B-A7EA-9711-C26886939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12463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D243F5D-8CFA-36A4-356A-D22D5EFF30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7812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243F5D-8CFA-36A4-356A-D22D5EFF30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07345F5-D716-C9A2-9B55-DBCF09A5E6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550" y="450402"/>
            <a:ext cx="11520488" cy="443198"/>
          </a:xfrm>
        </p:spPr>
        <p:txBody>
          <a:bodyPr/>
          <a:lstStyle>
            <a:lvl1pPr>
              <a:lnSpc>
                <a:spcPct val="90000"/>
              </a:lnSpc>
              <a:defRPr sz="32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Holder 6">
            <a:extLst>
              <a:ext uri="{FF2B5EF4-FFF2-40B4-BE49-F238E27FC236}">
                <a16:creationId xmlns:a16="http://schemas.microsoft.com/office/drawing/2014/main" id="{2C4C24B6-3329-F781-DFD6-9F498BBDF28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9697038" y="6477000"/>
            <a:ext cx="2160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B6F15528-21DE-4FAA-801E-634DDDAF4B2B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09865569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44362" y="208758"/>
            <a:ext cx="1975075" cy="223266"/>
          </a:xfrm>
          <a:prstGeom prst="rect">
            <a:avLst/>
          </a:prstGeom>
        </p:spPr>
        <p:txBody>
          <a:bodyPr lIns="0" tIns="0" rIns="0" bIns="0"/>
          <a:lstStyle>
            <a:lvl1pPr>
              <a:defRPr sz="1451" b="1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4383" y="2241482"/>
            <a:ext cx="9797040" cy="195438"/>
          </a:xfrm>
        </p:spPr>
        <p:txBody>
          <a:bodyPr lIns="0" tIns="0" rIns="0" bIns="0"/>
          <a:lstStyle>
            <a:lvl1pPr>
              <a:defRPr sz="1270" b="0" i="0">
                <a:solidFill>
                  <a:srgbClr val="231F20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8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244123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44362" y="208758"/>
            <a:ext cx="1975075" cy="223266"/>
          </a:xfrm>
          <a:prstGeom prst="rect">
            <a:avLst/>
          </a:prstGeom>
        </p:spPr>
        <p:txBody>
          <a:bodyPr lIns="0" tIns="0" rIns="0" bIns="0"/>
          <a:lstStyle>
            <a:lvl1pPr>
              <a:defRPr sz="1451" b="1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1" y="1577340"/>
            <a:ext cx="53035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1" y="1577340"/>
            <a:ext cx="53035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8/202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883204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12"/>
            <a:ext cx="12190552" cy="6855696"/>
          </a:xfrm>
          <a:custGeom>
            <a:avLst/>
            <a:gdLst/>
            <a:ahLst/>
            <a:cxnLst/>
            <a:rect l="l" t="t" r="r" b="b"/>
            <a:pathLst>
              <a:path w="10692130" h="7560309">
                <a:moveTo>
                  <a:pt x="10692003" y="0"/>
                </a:moveTo>
                <a:lnTo>
                  <a:pt x="0" y="0"/>
                </a:lnTo>
                <a:lnTo>
                  <a:pt x="0" y="7559992"/>
                </a:lnTo>
                <a:lnTo>
                  <a:pt x="10692003" y="7559992"/>
                </a:lnTo>
                <a:lnTo>
                  <a:pt x="10692003" y="0"/>
                </a:lnTo>
                <a:close/>
              </a:path>
            </a:pathLst>
          </a:custGeom>
          <a:solidFill>
            <a:srgbClr val="D5172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44362" y="208758"/>
            <a:ext cx="1975075" cy="223266"/>
          </a:xfrm>
          <a:prstGeom prst="rect">
            <a:avLst/>
          </a:prstGeom>
        </p:spPr>
        <p:txBody>
          <a:bodyPr lIns="0" tIns="0" rIns="0" bIns="0"/>
          <a:lstStyle>
            <a:lvl1pPr>
              <a:defRPr sz="1451" b="1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8/2026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52114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4042E7D5-878B-ED31-2063-F64203306C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401CCB0F-391E-DDBB-0A3C-1F4F28FCD9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B7264AEA-6BB7-F991-D8DF-78A99A8A98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4DA5F6-B7AE-43C7-9FF2-8AE9DCAA8F0B}" type="datetimeFigureOut">
              <a:rPr lang="pl-PL" smtClean="0"/>
              <a:t>18.05.2026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708CEDF7-83E2-FE11-14EB-E597E544F4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A81FE463-1A7E-85AE-A2F0-F11B53AB3A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81AB-1FA4-4097-8317-62035282E2A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97389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CA5A215-04F2-14BB-30D4-FADFA5B8DF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7031945"/>
              </p:ext>
            </p:extLst>
          </p:nvPr>
        </p:nvGraphicFramePr>
        <p:xfrm>
          <a:off x="144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A5A215-04F2-14BB-30D4-FADFA5B8DF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4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8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288819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5352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ED2C078-C717-424B-B9FE-6F011D02A9C9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 b="0" i="0">
                <a:latin typeface="Lato Light" panose="020F0502020204030203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1F6D121-094D-694C-ADF6-7B92DE81EA24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 b="0" i="0">
                <a:latin typeface="Lato Light" panose="020F0502020204030203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7C2895-D76A-AC4F-83DC-9A910ADB274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 b="0" i="0">
                <a:latin typeface="Lato Light" panose="020F0502020204030203" pitchFamily="34" charset="0"/>
              </a:defRPr>
            </a:lvl1pPr>
          </a:lstStyle>
          <a:p>
            <a:fld id="{5BD5DBDD-B399-7246-BD72-1C2F585031C6}" type="slidenum">
              <a:rPr lang="en-US" altLang="en-US" smtClean="0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314656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L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ymbol zastępczy tekstu 16"/>
          <p:cNvSpPr>
            <a:spLocks noGrp="1"/>
          </p:cNvSpPr>
          <p:nvPr>
            <p:ph type="body" sz="quarter" idx="10" hasCustomPrompt="1"/>
          </p:nvPr>
        </p:nvSpPr>
        <p:spPr>
          <a:xfrm>
            <a:off x="836613" y="1210383"/>
            <a:ext cx="3318527" cy="2247167"/>
          </a:xfrm>
          <a:prstGeom prst="rect">
            <a:avLst/>
          </a:prstGeom>
        </p:spPr>
        <p:txBody>
          <a:bodyPr/>
          <a:lstStyle>
            <a:lvl1pPr>
              <a:defRPr sz="3275" b="1" i="0" baseline="0">
                <a:latin typeface="Roboto Condensed" charset="0"/>
                <a:ea typeface="Roboto Condensed" charset="0"/>
                <a:cs typeface="Roboto Condensed" charset="0"/>
              </a:defRPr>
            </a:lvl1pPr>
            <a:lvl2pPr>
              <a:defRPr sz="2183" b="1" i="0">
                <a:latin typeface="Roboto Condensed" charset="0"/>
                <a:ea typeface="Roboto Condensed" charset="0"/>
                <a:cs typeface="Roboto Condensed" charset="0"/>
              </a:defRPr>
            </a:lvl2pPr>
            <a:lvl3pPr>
              <a:defRPr sz="2183" b="1" i="0">
                <a:latin typeface="Roboto Condensed" charset="0"/>
                <a:ea typeface="Roboto Condensed" charset="0"/>
                <a:cs typeface="Roboto Condensed" charset="0"/>
              </a:defRPr>
            </a:lvl3pPr>
            <a:lvl4pPr>
              <a:defRPr sz="2183" b="1" i="0">
                <a:latin typeface="Roboto Condensed" charset="0"/>
                <a:ea typeface="Roboto Condensed" charset="0"/>
                <a:cs typeface="Roboto Condensed" charset="0"/>
              </a:defRPr>
            </a:lvl4pPr>
            <a:lvl5pPr>
              <a:defRPr sz="2183" b="1" i="0">
                <a:latin typeface="Roboto Condensed" charset="0"/>
                <a:ea typeface="Roboto Condensed" charset="0"/>
                <a:cs typeface="Roboto Condensed" charset="0"/>
              </a:defRPr>
            </a:lvl5pPr>
          </a:lstStyle>
          <a:p>
            <a:pPr lvl="0"/>
            <a:r>
              <a:rPr lang="pl-PL" dirty="0"/>
              <a:t>WPISZ TYTUŁ - KLIKNIJ</a:t>
            </a:r>
          </a:p>
        </p:txBody>
      </p:sp>
    </p:spTree>
    <p:extLst>
      <p:ext uri="{BB962C8B-B14F-4D97-AF65-F5344CB8AC3E}">
        <p14:creationId xmlns:p14="http://schemas.microsoft.com/office/powerpoint/2010/main" val="17195879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ymbol zastępczy tekstu 16"/>
          <p:cNvSpPr>
            <a:spLocks noGrp="1"/>
          </p:cNvSpPr>
          <p:nvPr>
            <p:ph type="body" sz="quarter" idx="10" hasCustomPrompt="1"/>
          </p:nvPr>
        </p:nvSpPr>
        <p:spPr>
          <a:xfrm>
            <a:off x="836613" y="1210383"/>
            <a:ext cx="4427591" cy="827888"/>
          </a:xfrm>
          <a:prstGeom prst="rect">
            <a:avLst/>
          </a:prstGeom>
        </p:spPr>
        <p:txBody>
          <a:bodyPr/>
          <a:lstStyle>
            <a:lvl1pPr>
              <a:defRPr sz="2183" b="1" i="0">
                <a:latin typeface="Roboto Condensed" charset="0"/>
                <a:ea typeface="Roboto Condensed" charset="0"/>
                <a:cs typeface="Roboto Condensed" charset="0"/>
              </a:defRPr>
            </a:lvl1pPr>
            <a:lvl2pPr>
              <a:defRPr sz="2183" b="1" i="0">
                <a:latin typeface="Roboto Condensed" charset="0"/>
                <a:ea typeface="Roboto Condensed" charset="0"/>
                <a:cs typeface="Roboto Condensed" charset="0"/>
              </a:defRPr>
            </a:lvl2pPr>
            <a:lvl3pPr>
              <a:defRPr sz="2183" b="1" i="0">
                <a:latin typeface="Roboto Condensed" charset="0"/>
                <a:ea typeface="Roboto Condensed" charset="0"/>
                <a:cs typeface="Roboto Condensed" charset="0"/>
              </a:defRPr>
            </a:lvl3pPr>
            <a:lvl4pPr>
              <a:defRPr sz="2183" b="1" i="0">
                <a:latin typeface="Roboto Condensed" charset="0"/>
                <a:ea typeface="Roboto Condensed" charset="0"/>
                <a:cs typeface="Roboto Condensed" charset="0"/>
              </a:defRPr>
            </a:lvl4pPr>
            <a:lvl5pPr>
              <a:defRPr sz="2183" b="1" i="0">
                <a:latin typeface="Roboto Condensed" charset="0"/>
                <a:ea typeface="Roboto Condensed" charset="0"/>
                <a:cs typeface="Roboto Condensed" charset="0"/>
              </a:defRPr>
            </a:lvl5pPr>
          </a:lstStyle>
          <a:p>
            <a:pPr lvl="0"/>
            <a:r>
              <a:rPr lang="pl-PL" dirty="0"/>
              <a:t>KLIKNIJ, WPISZ TYTUŁ </a:t>
            </a:r>
            <a:r>
              <a:rPr lang="mr-IN" dirty="0"/>
              <a:t>–</a:t>
            </a:r>
            <a:r>
              <a:rPr lang="pl-PL" dirty="0"/>
              <a:t> UKŁAD I</a:t>
            </a:r>
          </a:p>
        </p:txBody>
      </p:sp>
      <p:sp>
        <p:nvSpPr>
          <p:cNvPr id="19" name="Symbol zastępczy tekstu 18"/>
          <p:cNvSpPr>
            <a:spLocks noGrp="1"/>
          </p:cNvSpPr>
          <p:nvPr>
            <p:ph type="body" sz="quarter" idx="11" hasCustomPrompt="1"/>
          </p:nvPr>
        </p:nvSpPr>
        <p:spPr>
          <a:xfrm>
            <a:off x="836613" y="2037956"/>
            <a:ext cx="4427591" cy="1402597"/>
          </a:xfrm>
          <a:prstGeom prst="rect">
            <a:avLst/>
          </a:prstGeom>
        </p:spPr>
        <p:txBody>
          <a:bodyPr/>
          <a:lstStyle>
            <a:lvl1pPr>
              <a:defRPr sz="1092" b="1" i="0" baseline="0">
                <a:latin typeface="Roboto Condensed" charset="0"/>
                <a:ea typeface="Roboto Condensed" charset="0"/>
                <a:cs typeface="Roboto Condensed" charset="0"/>
              </a:defRPr>
            </a:lvl1pPr>
            <a:lvl2pPr>
              <a:defRPr sz="1092" b="1" i="0">
                <a:latin typeface="Roboto Condensed" charset="0"/>
                <a:ea typeface="Roboto Condensed" charset="0"/>
                <a:cs typeface="Roboto Condensed" charset="0"/>
              </a:defRPr>
            </a:lvl2pPr>
            <a:lvl3pPr>
              <a:defRPr sz="1092" b="1" i="0">
                <a:latin typeface="Roboto Condensed" charset="0"/>
                <a:ea typeface="Roboto Condensed" charset="0"/>
                <a:cs typeface="Roboto Condensed" charset="0"/>
              </a:defRPr>
            </a:lvl3pPr>
            <a:lvl4pPr>
              <a:defRPr sz="1092" b="1" i="0">
                <a:latin typeface="Roboto Condensed" charset="0"/>
                <a:ea typeface="Roboto Condensed" charset="0"/>
                <a:cs typeface="Roboto Condensed" charset="0"/>
              </a:defRPr>
            </a:lvl4pPr>
            <a:lvl5pPr>
              <a:defRPr sz="1092" b="1" i="0">
                <a:latin typeface="Roboto Condensed" charset="0"/>
                <a:ea typeface="Roboto Condensed" charset="0"/>
                <a:cs typeface="Roboto Condensed" charset="0"/>
              </a:defRPr>
            </a:lvl5pPr>
          </a:lstStyle>
          <a:p>
            <a:pPr lvl="0"/>
            <a:r>
              <a:rPr lang="pl-PL" dirty="0"/>
              <a:t>Dodaj tekst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6443135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ymbol zastępczy tekstu 11"/>
          <p:cNvSpPr>
            <a:spLocks noGrp="1"/>
          </p:cNvSpPr>
          <p:nvPr>
            <p:ph type="body" sz="quarter" idx="10" hasCustomPrompt="1"/>
          </p:nvPr>
        </p:nvSpPr>
        <p:spPr>
          <a:xfrm>
            <a:off x="836612" y="1193209"/>
            <a:ext cx="3943771" cy="919342"/>
          </a:xfrm>
          <a:prstGeom prst="rect">
            <a:avLst/>
          </a:prstGeom>
        </p:spPr>
        <p:txBody>
          <a:bodyPr/>
          <a:lstStyle>
            <a:lvl1pPr>
              <a:defRPr sz="2183" b="1" i="0" baseline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1pPr>
            <a:lvl2pPr>
              <a:defRPr sz="2183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2pPr>
            <a:lvl3pPr>
              <a:defRPr sz="2183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3pPr>
            <a:lvl4pPr>
              <a:defRPr sz="2183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4pPr>
            <a:lvl5pPr>
              <a:defRPr sz="2183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5pPr>
          </a:lstStyle>
          <a:p>
            <a:pPr lvl="0"/>
            <a:r>
              <a:rPr lang="pl-PL" dirty="0"/>
              <a:t>KLIKNIJ, I WPISZ TYTUŁ </a:t>
            </a:r>
            <a:r>
              <a:rPr lang="mr-IN" dirty="0"/>
              <a:t>–</a:t>
            </a:r>
            <a:r>
              <a:rPr lang="pl-PL" dirty="0"/>
              <a:t> UKŁAD II</a:t>
            </a:r>
          </a:p>
        </p:txBody>
      </p:sp>
      <p:sp>
        <p:nvSpPr>
          <p:cNvPr id="14" name="Symbol zastępczy tekstu 18"/>
          <p:cNvSpPr>
            <a:spLocks noGrp="1"/>
          </p:cNvSpPr>
          <p:nvPr>
            <p:ph type="body" sz="quarter" idx="11" hasCustomPrompt="1"/>
          </p:nvPr>
        </p:nvSpPr>
        <p:spPr>
          <a:xfrm>
            <a:off x="836613" y="2112552"/>
            <a:ext cx="4427591" cy="1402597"/>
          </a:xfrm>
          <a:prstGeom prst="rect">
            <a:avLst/>
          </a:prstGeom>
        </p:spPr>
        <p:txBody>
          <a:bodyPr/>
          <a:lstStyle>
            <a:lvl1pPr>
              <a:defRPr sz="1092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1pPr>
            <a:lvl2pPr>
              <a:defRPr sz="1092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2pPr>
            <a:lvl3pPr>
              <a:defRPr sz="1092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3pPr>
            <a:lvl4pPr>
              <a:defRPr sz="1092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4pPr>
            <a:lvl5pPr>
              <a:defRPr sz="1092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5pPr>
          </a:lstStyle>
          <a:p>
            <a:pPr lvl="0"/>
            <a:r>
              <a:rPr lang="pl-PL" dirty="0"/>
              <a:t>Dodaj tekst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7565070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tekstu 11"/>
          <p:cNvSpPr>
            <a:spLocks noGrp="1"/>
          </p:cNvSpPr>
          <p:nvPr>
            <p:ph type="body" sz="quarter" idx="10" hasCustomPrompt="1"/>
          </p:nvPr>
        </p:nvSpPr>
        <p:spPr>
          <a:xfrm>
            <a:off x="836612" y="2421740"/>
            <a:ext cx="3943771" cy="919158"/>
          </a:xfrm>
          <a:prstGeom prst="rect">
            <a:avLst/>
          </a:prstGeom>
        </p:spPr>
        <p:txBody>
          <a:bodyPr/>
          <a:lstStyle>
            <a:lvl1pPr>
              <a:defRPr sz="2183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1pPr>
            <a:lvl2pPr>
              <a:defRPr sz="2183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2pPr>
            <a:lvl3pPr>
              <a:defRPr sz="2183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3pPr>
            <a:lvl4pPr>
              <a:defRPr sz="2183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4pPr>
            <a:lvl5pPr>
              <a:defRPr sz="2183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5pPr>
          </a:lstStyle>
          <a:p>
            <a:pPr lvl="0"/>
            <a:r>
              <a:rPr lang="pl-PL" dirty="0"/>
              <a:t>KLIKNIJ, I WPISZ TYTUŁ </a:t>
            </a:r>
            <a:r>
              <a:rPr lang="mr-IN" dirty="0"/>
              <a:t>–</a:t>
            </a:r>
            <a:r>
              <a:rPr lang="pl-PL" dirty="0"/>
              <a:t> UKLAD III</a:t>
            </a:r>
          </a:p>
        </p:txBody>
      </p:sp>
      <p:sp>
        <p:nvSpPr>
          <p:cNvPr id="15" name="Symbol zastępczy tekstu 18"/>
          <p:cNvSpPr>
            <a:spLocks noGrp="1"/>
          </p:cNvSpPr>
          <p:nvPr>
            <p:ph type="body" sz="quarter" idx="11" hasCustomPrompt="1"/>
          </p:nvPr>
        </p:nvSpPr>
        <p:spPr>
          <a:xfrm>
            <a:off x="836613" y="3341083"/>
            <a:ext cx="4427591" cy="1402597"/>
          </a:xfrm>
          <a:prstGeom prst="rect">
            <a:avLst/>
          </a:prstGeom>
        </p:spPr>
        <p:txBody>
          <a:bodyPr/>
          <a:lstStyle>
            <a:lvl1pPr>
              <a:defRPr sz="1092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1pPr>
            <a:lvl2pPr>
              <a:defRPr sz="1092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2pPr>
            <a:lvl3pPr>
              <a:defRPr sz="1092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3pPr>
            <a:lvl4pPr>
              <a:defRPr sz="1092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4pPr>
            <a:lvl5pPr>
              <a:defRPr sz="1092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5pPr>
          </a:lstStyle>
          <a:p>
            <a:pPr lvl="0"/>
            <a:r>
              <a:rPr lang="pl-PL" dirty="0"/>
              <a:t>Dodaj tekst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8169060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ymbol zastępczy tekstu 16"/>
          <p:cNvSpPr>
            <a:spLocks noGrp="1"/>
          </p:cNvSpPr>
          <p:nvPr>
            <p:ph type="body" sz="quarter" idx="10" hasCustomPrompt="1"/>
          </p:nvPr>
        </p:nvSpPr>
        <p:spPr>
          <a:xfrm>
            <a:off x="836613" y="1210383"/>
            <a:ext cx="3642004" cy="827888"/>
          </a:xfrm>
          <a:prstGeom prst="rect">
            <a:avLst/>
          </a:prstGeom>
        </p:spPr>
        <p:txBody>
          <a:bodyPr/>
          <a:lstStyle>
            <a:lvl1pPr>
              <a:defRPr sz="2183" b="1" i="0" baseline="0">
                <a:latin typeface="Roboto Condensed" charset="0"/>
                <a:ea typeface="Roboto Condensed" charset="0"/>
                <a:cs typeface="Roboto Condensed" charset="0"/>
              </a:defRPr>
            </a:lvl1pPr>
            <a:lvl2pPr>
              <a:defRPr sz="2183" b="1" i="0">
                <a:latin typeface="Roboto Condensed" charset="0"/>
                <a:ea typeface="Roboto Condensed" charset="0"/>
                <a:cs typeface="Roboto Condensed" charset="0"/>
              </a:defRPr>
            </a:lvl2pPr>
            <a:lvl3pPr>
              <a:defRPr sz="2183" b="1" i="0">
                <a:latin typeface="Roboto Condensed" charset="0"/>
                <a:ea typeface="Roboto Condensed" charset="0"/>
                <a:cs typeface="Roboto Condensed" charset="0"/>
              </a:defRPr>
            </a:lvl3pPr>
            <a:lvl4pPr>
              <a:defRPr sz="2183" b="1" i="0">
                <a:latin typeface="Roboto Condensed" charset="0"/>
                <a:ea typeface="Roboto Condensed" charset="0"/>
                <a:cs typeface="Roboto Condensed" charset="0"/>
              </a:defRPr>
            </a:lvl4pPr>
            <a:lvl5pPr>
              <a:defRPr sz="2183" b="1" i="0">
                <a:latin typeface="Roboto Condensed" charset="0"/>
                <a:ea typeface="Roboto Condensed" charset="0"/>
                <a:cs typeface="Roboto Condensed" charset="0"/>
              </a:defRPr>
            </a:lvl5pPr>
          </a:lstStyle>
          <a:p>
            <a:pPr lvl="0"/>
            <a:r>
              <a:rPr lang="pl-PL" dirty="0"/>
              <a:t>KLIKNIJ, I WPISZ TYTUŁ - UKLAD IV</a:t>
            </a:r>
          </a:p>
        </p:txBody>
      </p:sp>
      <p:sp>
        <p:nvSpPr>
          <p:cNvPr id="11" name="Symbol zastępczy tekstu 18"/>
          <p:cNvSpPr>
            <a:spLocks noGrp="1"/>
          </p:cNvSpPr>
          <p:nvPr>
            <p:ph type="body" sz="quarter" idx="11" hasCustomPrompt="1"/>
          </p:nvPr>
        </p:nvSpPr>
        <p:spPr>
          <a:xfrm>
            <a:off x="836613" y="2037956"/>
            <a:ext cx="3642004" cy="1402597"/>
          </a:xfrm>
          <a:prstGeom prst="rect">
            <a:avLst/>
          </a:prstGeom>
        </p:spPr>
        <p:txBody>
          <a:bodyPr/>
          <a:lstStyle>
            <a:lvl1pPr>
              <a:defRPr sz="1092" b="1" i="0">
                <a:latin typeface="Roboto Condensed" charset="0"/>
                <a:ea typeface="Roboto Condensed" charset="0"/>
                <a:cs typeface="Roboto Condensed" charset="0"/>
              </a:defRPr>
            </a:lvl1pPr>
            <a:lvl2pPr>
              <a:defRPr sz="1092" b="1" i="0">
                <a:latin typeface="Roboto Condensed" charset="0"/>
                <a:ea typeface="Roboto Condensed" charset="0"/>
                <a:cs typeface="Roboto Condensed" charset="0"/>
              </a:defRPr>
            </a:lvl2pPr>
            <a:lvl3pPr>
              <a:defRPr sz="1092" b="1" i="0">
                <a:latin typeface="Roboto Condensed" charset="0"/>
                <a:ea typeface="Roboto Condensed" charset="0"/>
                <a:cs typeface="Roboto Condensed" charset="0"/>
              </a:defRPr>
            </a:lvl3pPr>
            <a:lvl4pPr>
              <a:defRPr sz="1092" b="1" i="0">
                <a:latin typeface="Roboto Condensed" charset="0"/>
                <a:ea typeface="Roboto Condensed" charset="0"/>
                <a:cs typeface="Roboto Condensed" charset="0"/>
              </a:defRPr>
            </a:lvl4pPr>
            <a:lvl5pPr>
              <a:defRPr sz="1092" b="1" i="0">
                <a:latin typeface="Roboto Condensed" charset="0"/>
                <a:ea typeface="Roboto Condensed" charset="0"/>
                <a:cs typeface="Roboto Condensed" charset="0"/>
              </a:defRPr>
            </a:lvl5pPr>
          </a:lstStyle>
          <a:p>
            <a:pPr lvl="0"/>
            <a:r>
              <a:rPr lang="pl-PL" dirty="0"/>
              <a:t>Dodaj tekst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4587013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ymbol zastępczy tekstu 11"/>
          <p:cNvSpPr>
            <a:spLocks noGrp="1"/>
          </p:cNvSpPr>
          <p:nvPr>
            <p:ph type="body" sz="quarter" idx="10" hasCustomPrompt="1"/>
          </p:nvPr>
        </p:nvSpPr>
        <p:spPr>
          <a:xfrm>
            <a:off x="6927799" y="1210382"/>
            <a:ext cx="3943771" cy="919342"/>
          </a:xfrm>
          <a:prstGeom prst="rect">
            <a:avLst/>
          </a:prstGeom>
        </p:spPr>
        <p:txBody>
          <a:bodyPr/>
          <a:lstStyle>
            <a:lvl1pPr>
              <a:defRPr sz="2183" b="1" i="0" baseline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1pPr>
            <a:lvl2pPr>
              <a:defRPr sz="2183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2pPr>
            <a:lvl3pPr>
              <a:defRPr sz="2183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3pPr>
            <a:lvl4pPr>
              <a:defRPr sz="2183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4pPr>
            <a:lvl5pPr>
              <a:defRPr sz="2183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5pPr>
          </a:lstStyle>
          <a:p>
            <a:pPr lvl="0"/>
            <a:r>
              <a:rPr lang="pl-PL" dirty="0"/>
              <a:t>KLIKNIJ, I WPISZ TYTUŁ </a:t>
            </a:r>
            <a:r>
              <a:rPr lang="mr-IN" dirty="0"/>
              <a:t>–</a:t>
            </a:r>
            <a:r>
              <a:rPr lang="pl-PL" dirty="0"/>
              <a:t> UKŁAD V</a:t>
            </a:r>
          </a:p>
        </p:txBody>
      </p:sp>
      <p:sp>
        <p:nvSpPr>
          <p:cNvPr id="14" name="Symbol zastępczy tekstu 18"/>
          <p:cNvSpPr>
            <a:spLocks noGrp="1"/>
          </p:cNvSpPr>
          <p:nvPr>
            <p:ph type="body" sz="quarter" idx="11" hasCustomPrompt="1"/>
          </p:nvPr>
        </p:nvSpPr>
        <p:spPr>
          <a:xfrm>
            <a:off x="6927799" y="2129726"/>
            <a:ext cx="4427591" cy="1402597"/>
          </a:xfrm>
          <a:prstGeom prst="rect">
            <a:avLst/>
          </a:prstGeom>
        </p:spPr>
        <p:txBody>
          <a:bodyPr/>
          <a:lstStyle>
            <a:lvl1pPr>
              <a:defRPr sz="1092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1pPr>
            <a:lvl2pPr>
              <a:defRPr sz="1092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2pPr>
            <a:lvl3pPr>
              <a:defRPr sz="1092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3pPr>
            <a:lvl4pPr>
              <a:defRPr sz="1092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4pPr>
            <a:lvl5pPr>
              <a:defRPr sz="1092" b="1" i="0">
                <a:solidFill>
                  <a:schemeClr val="bg1"/>
                </a:solidFill>
                <a:latin typeface="Roboto Condensed" charset="0"/>
                <a:ea typeface="Roboto Condensed" charset="0"/>
                <a:cs typeface="Roboto Condensed" charset="0"/>
              </a:defRPr>
            </a:lvl5pPr>
          </a:lstStyle>
          <a:p>
            <a:pPr lvl="0"/>
            <a:r>
              <a:rPr lang="pl-PL" dirty="0"/>
              <a:t>Dodaj tekst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41925612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Holder 2"/>
          <p:cNvSpPr>
            <a:spLocks noGrp="1"/>
          </p:cNvSpPr>
          <p:nvPr>
            <p:ph type="title"/>
          </p:nvPr>
        </p:nvSpPr>
        <p:spPr>
          <a:xfrm>
            <a:off x="754298" y="678738"/>
            <a:ext cx="5018225" cy="439388"/>
          </a:xfrm>
          <a:prstGeom prst="rect">
            <a:avLst/>
          </a:prstGeom>
        </p:spPr>
        <p:txBody>
          <a:bodyPr lIns="0" tIns="0" rIns="0" bIns="0"/>
          <a:lstStyle>
            <a:lvl1pPr>
              <a:defRPr sz="2155" b="1" i="0">
                <a:solidFill>
                  <a:schemeClr val="tx1"/>
                </a:solidFill>
                <a:latin typeface="Roboto Condensed" charset="0"/>
                <a:ea typeface="Roboto Condensed" charset="0"/>
                <a:cs typeface="Roboto Condensed" charset="0"/>
              </a:defRPr>
            </a:lvl1pPr>
          </a:lstStyle>
          <a:p>
            <a:endParaRPr/>
          </a:p>
        </p:txBody>
      </p:sp>
      <p:sp>
        <p:nvSpPr>
          <p:cNvPr id="17" name="Symbol zastępczy tekstu 7"/>
          <p:cNvSpPr>
            <a:spLocks noGrp="1"/>
          </p:cNvSpPr>
          <p:nvPr>
            <p:ph type="body" sz="quarter" idx="10"/>
          </p:nvPr>
        </p:nvSpPr>
        <p:spPr>
          <a:xfrm>
            <a:off x="753818" y="1620101"/>
            <a:ext cx="5018705" cy="853860"/>
          </a:xfrm>
          <a:prstGeom prst="rect">
            <a:avLst/>
          </a:prstGeom>
        </p:spPr>
        <p:txBody>
          <a:bodyPr/>
          <a:lstStyle>
            <a:lvl1pPr>
              <a:defRPr sz="1064" b="1" i="0">
                <a:latin typeface="Roboto Condensed" charset="0"/>
                <a:ea typeface="Roboto Condensed" charset="0"/>
                <a:cs typeface="Roboto Condensed" charset="0"/>
              </a:defRPr>
            </a:lvl1pPr>
            <a:lvl2pPr>
              <a:defRPr b="0" i="0">
                <a:latin typeface="Roboto Condensed" charset="0"/>
                <a:ea typeface="Roboto Condensed" charset="0"/>
                <a:cs typeface="Roboto Condensed" charset="0"/>
              </a:defRPr>
            </a:lvl2pPr>
            <a:lvl3pPr>
              <a:defRPr b="0" i="0">
                <a:latin typeface="Roboto Condensed" charset="0"/>
                <a:ea typeface="Roboto Condensed" charset="0"/>
                <a:cs typeface="Roboto Condensed" charset="0"/>
              </a:defRPr>
            </a:lvl3pPr>
            <a:lvl4pPr>
              <a:defRPr b="0" i="0">
                <a:latin typeface="Roboto Condensed" charset="0"/>
                <a:ea typeface="Roboto Condensed" charset="0"/>
                <a:cs typeface="Roboto Condensed" charset="0"/>
              </a:defRPr>
            </a:lvl4pPr>
            <a:lvl5pPr>
              <a:defRPr b="0" i="0">
                <a:latin typeface="Roboto Condensed" charset="0"/>
                <a:ea typeface="Roboto Condensed" charset="0"/>
                <a:cs typeface="Roboto Condensed" charset="0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20" name="Symbol zastępczy tekstu 18"/>
          <p:cNvSpPr>
            <a:spLocks noGrp="1"/>
          </p:cNvSpPr>
          <p:nvPr>
            <p:ph type="body" sz="quarter" idx="12"/>
          </p:nvPr>
        </p:nvSpPr>
        <p:spPr>
          <a:xfrm>
            <a:off x="6418516" y="1633992"/>
            <a:ext cx="5018705" cy="1306452"/>
          </a:xfrm>
          <a:prstGeom prst="rect">
            <a:avLst/>
          </a:prstGeom>
        </p:spPr>
        <p:txBody>
          <a:bodyPr/>
          <a:lstStyle>
            <a:lvl1pPr>
              <a:defRPr sz="1528" b="0" i="0">
                <a:latin typeface="Roboto Condensed" charset="0"/>
                <a:ea typeface="Roboto Condensed" charset="0"/>
                <a:cs typeface="Roboto Condensed" charset="0"/>
              </a:defRPr>
            </a:lvl1pPr>
            <a:lvl2pPr>
              <a:defRPr sz="1528" b="0" i="0">
                <a:latin typeface="Roboto Condensed" charset="0"/>
                <a:ea typeface="Roboto Condensed" charset="0"/>
                <a:cs typeface="Roboto Condensed" charset="0"/>
              </a:defRPr>
            </a:lvl2pPr>
            <a:lvl3pPr>
              <a:defRPr sz="1528" b="0" i="0">
                <a:latin typeface="Roboto Condensed" charset="0"/>
                <a:ea typeface="Roboto Condensed" charset="0"/>
                <a:cs typeface="Roboto Condensed" charset="0"/>
              </a:defRPr>
            </a:lvl3pPr>
            <a:lvl4pPr>
              <a:defRPr sz="1528" b="0" i="0">
                <a:latin typeface="Roboto Condensed" charset="0"/>
                <a:ea typeface="Roboto Condensed" charset="0"/>
                <a:cs typeface="Roboto Condensed" charset="0"/>
              </a:defRPr>
            </a:lvl4pPr>
            <a:lvl5pPr>
              <a:defRPr sz="1528" b="0" i="0">
                <a:latin typeface="Roboto Condensed" charset="0"/>
                <a:ea typeface="Roboto Condensed" charset="0"/>
                <a:cs typeface="Roboto Condensed" charset="0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22" name="object 10"/>
          <p:cNvSpPr/>
          <p:nvPr userDrawn="1"/>
        </p:nvSpPr>
        <p:spPr>
          <a:xfrm>
            <a:off x="1" y="6293880"/>
            <a:ext cx="11061756" cy="563959"/>
          </a:xfrm>
          <a:custGeom>
            <a:avLst/>
            <a:gdLst/>
            <a:ahLst/>
            <a:cxnLst/>
            <a:rect l="l" t="t" r="r" b="b"/>
            <a:pathLst>
              <a:path w="18240375" h="1843404">
                <a:moveTo>
                  <a:pt x="0" y="1842875"/>
                </a:moveTo>
                <a:lnTo>
                  <a:pt x="18240282" y="1842875"/>
                </a:lnTo>
                <a:lnTo>
                  <a:pt x="18240282" y="0"/>
                </a:lnTo>
                <a:lnTo>
                  <a:pt x="0" y="0"/>
                </a:lnTo>
                <a:lnTo>
                  <a:pt x="0" y="1842875"/>
                </a:lnTo>
                <a:close/>
              </a:path>
            </a:pathLst>
          </a:custGeom>
          <a:solidFill>
            <a:srgbClr val="F4F4F4">
              <a:alpha val="84609"/>
            </a:srgbClr>
          </a:solidFill>
        </p:spPr>
        <p:txBody>
          <a:bodyPr wrap="square" lIns="0" tIns="0" rIns="0" bIns="0" rtlCol="0"/>
          <a:lstStyle/>
          <a:p>
            <a:endParaRPr sz="764" dirty="0"/>
          </a:p>
        </p:txBody>
      </p:sp>
      <p:sp>
        <p:nvSpPr>
          <p:cNvPr id="25" name="object 13"/>
          <p:cNvSpPr/>
          <p:nvPr userDrawn="1"/>
        </p:nvSpPr>
        <p:spPr>
          <a:xfrm>
            <a:off x="11061699" y="6293880"/>
            <a:ext cx="1130629" cy="563968"/>
          </a:xfrm>
          <a:custGeom>
            <a:avLst/>
            <a:gdLst/>
            <a:ahLst/>
            <a:cxnLst/>
            <a:rect l="l" t="t" r="r" b="b"/>
            <a:pathLst>
              <a:path w="1864359" h="1864359">
                <a:moveTo>
                  <a:pt x="0" y="0"/>
                </a:moveTo>
                <a:lnTo>
                  <a:pt x="1863817" y="0"/>
                </a:lnTo>
                <a:lnTo>
                  <a:pt x="1863817" y="1863817"/>
                </a:lnTo>
                <a:lnTo>
                  <a:pt x="0" y="1863817"/>
                </a:lnTo>
                <a:lnTo>
                  <a:pt x="0" y="0"/>
                </a:lnTo>
                <a:close/>
              </a:path>
            </a:pathLst>
          </a:custGeom>
          <a:solidFill>
            <a:srgbClr val="00A44A"/>
          </a:solidFill>
        </p:spPr>
        <p:txBody>
          <a:bodyPr wrap="square" lIns="0" tIns="0" rIns="0" bIns="0" rtlCol="0"/>
          <a:lstStyle/>
          <a:p>
            <a:endParaRPr sz="764" dirty="0"/>
          </a:p>
        </p:txBody>
      </p:sp>
      <p:sp>
        <p:nvSpPr>
          <p:cNvPr id="26" name="object 14"/>
          <p:cNvSpPr txBox="1"/>
          <p:nvPr userDrawn="1"/>
        </p:nvSpPr>
        <p:spPr>
          <a:xfrm>
            <a:off x="11358539" y="6440684"/>
            <a:ext cx="536951" cy="242128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54"/>
              </a:spcBef>
            </a:pPr>
            <a:fld id="{DC201D2C-EC4B-D84C-B923-C07FC19B6A48}" type="slidenum">
              <a:rPr lang="pl-PL" sz="1528" b="1" smtClean="0">
                <a:solidFill>
                  <a:srgbClr val="FFFFFF"/>
                </a:solidFill>
                <a:latin typeface="Roboto Condensed"/>
                <a:cs typeface="Roboto Condensed"/>
              </a:rPr>
              <a:pPr algn="ctr">
                <a:lnSpc>
                  <a:spcPct val="100000"/>
                </a:lnSpc>
                <a:spcBef>
                  <a:spcPts val="54"/>
                </a:spcBef>
              </a:pPr>
              <a:t>‹#›</a:t>
            </a:fld>
            <a:endParaRPr sz="1528" dirty="0">
              <a:latin typeface="Roboto Condensed"/>
              <a:cs typeface="Roboto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27474304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8B0BB26-4FC8-0793-6596-3A0B911F8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D5822D13-6D26-EE76-08F6-70E2BF627F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4DF58C08-7DF1-4EC7-8C79-233817C0F5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4DA5F6-B7AE-43C7-9FF2-8AE9DCAA8F0B}" type="datetimeFigureOut">
              <a:rPr lang="pl-PL" smtClean="0"/>
              <a:t>18.05.2026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CE47470A-AD77-C86D-8C55-F936173AE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27BA9404-5958-2F5D-2A06-8C6CD12875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81AB-1FA4-4097-8317-62035282E2A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528988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ekstem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10"/>
          <p:cNvSpPr/>
          <p:nvPr userDrawn="1"/>
        </p:nvSpPr>
        <p:spPr>
          <a:xfrm>
            <a:off x="1" y="5739998"/>
            <a:ext cx="11061756" cy="1117842"/>
          </a:xfrm>
          <a:custGeom>
            <a:avLst/>
            <a:gdLst/>
            <a:ahLst/>
            <a:cxnLst/>
            <a:rect l="l" t="t" r="r" b="b"/>
            <a:pathLst>
              <a:path w="18240375" h="1843404">
                <a:moveTo>
                  <a:pt x="0" y="1842875"/>
                </a:moveTo>
                <a:lnTo>
                  <a:pt x="18240282" y="1842875"/>
                </a:lnTo>
                <a:lnTo>
                  <a:pt x="18240282" y="0"/>
                </a:lnTo>
                <a:lnTo>
                  <a:pt x="0" y="0"/>
                </a:lnTo>
                <a:lnTo>
                  <a:pt x="0" y="1842875"/>
                </a:lnTo>
                <a:close/>
              </a:path>
            </a:pathLst>
          </a:custGeom>
          <a:solidFill>
            <a:srgbClr val="F4F4F4">
              <a:alpha val="84609"/>
            </a:srgbClr>
          </a:solidFill>
        </p:spPr>
        <p:txBody>
          <a:bodyPr wrap="square" lIns="0" tIns="0" rIns="0" bIns="0" rtlCol="0"/>
          <a:lstStyle/>
          <a:p>
            <a:endParaRPr sz="764" dirty="0"/>
          </a:p>
        </p:txBody>
      </p:sp>
      <p:sp>
        <p:nvSpPr>
          <p:cNvPr id="12" name="object 13"/>
          <p:cNvSpPr/>
          <p:nvPr userDrawn="1"/>
        </p:nvSpPr>
        <p:spPr>
          <a:xfrm>
            <a:off x="11061699" y="5727298"/>
            <a:ext cx="1130629" cy="1130550"/>
          </a:xfrm>
          <a:custGeom>
            <a:avLst/>
            <a:gdLst/>
            <a:ahLst/>
            <a:cxnLst/>
            <a:rect l="l" t="t" r="r" b="b"/>
            <a:pathLst>
              <a:path w="1864359" h="1864359">
                <a:moveTo>
                  <a:pt x="0" y="0"/>
                </a:moveTo>
                <a:lnTo>
                  <a:pt x="1863817" y="0"/>
                </a:lnTo>
                <a:lnTo>
                  <a:pt x="1863817" y="1863817"/>
                </a:lnTo>
                <a:lnTo>
                  <a:pt x="0" y="1863817"/>
                </a:lnTo>
                <a:lnTo>
                  <a:pt x="0" y="0"/>
                </a:lnTo>
                <a:close/>
              </a:path>
            </a:pathLst>
          </a:custGeom>
          <a:solidFill>
            <a:srgbClr val="00A44A"/>
          </a:solidFill>
        </p:spPr>
        <p:txBody>
          <a:bodyPr wrap="square" lIns="0" tIns="0" rIns="0" bIns="0" rtlCol="0"/>
          <a:lstStyle/>
          <a:p>
            <a:endParaRPr sz="764" dirty="0"/>
          </a:p>
        </p:txBody>
      </p:sp>
      <p:sp>
        <p:nvSpPr>
          <p:cNvPr id="13" name="object 14"/>
          <p:cNvSpPr txBox="1"/>
          <p:nvPr userDrawn="1"/>
        </p:nvSpPr>
        <p:spPr>
          <a:xfrm>
            <a:off x="11358539" y="6145017"/>
            <a:ext cx="536951" cy="242128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54"/>
              </a:spcBef>
            </a:pPr>
            <a:fld id="{DC201D2C-EC4B-D84C-B923-C07FC19B6A48}" type="slidenum">
              <a:rPr lang="pl-PL" sz="1528" b="1" smtClean="0">
                <a:solidFill>
                  <a:srgbClr val="FFFFFF"/>
                </a:solidFill>
                <a:latin typeface="Roboto Condensed"/>
                <a:cs typeface="Roboto Condensed"/>
              </a:rPr>
              <a:pPr algn="ctr">
                <a:lnSpc>
                  <a:spcPct val="100000"/>
                </a:lnSpc>
                <a:spcBef>
                  <a:spcPts val="54"/>
                </a:spcBef>
              </a:pPr>
              <a:t>‹#›</a:t>
            </a:fld>
            <a:endParaRPr sz="1528" dirty="0">
              <a:latin typeface="Roboto Condensed"/>
              <a:cs typeface="Roboto Condensed"/>
            </a:endParaRPr>
          </a:p>
        </p:txBody>
      </p:sp>
      <p:sp>
        <p:nvSpPr>
          <p:cNvPr id="15" name="object 16"/>
          <p:cNvSpPr/>
          <p:nvPr userDrawn="1"/>
        </p:nvSpPr>
        <p:spPr>
          <a:xfrm>
            <a:off x="8435975" y="6165418"/>
            <a:ext cx="0" cy="317678"/>
          </a:xfrm>
          <a:custGeom>
            <a:avLst/>
            <a:gdLst/>
            <a:ahLst/>
            <a:cxnLst/>
            <a:rect l="l" t="t" r="r" b="b"/>
            <a:pathLst>
              <a:path h="523875">
                <a:moveTo>
                  <a:pt x="0" y="0"/>
                </a:moveTo>
                <a:lnTo>
                  <a:pt x="0" y="523544"/>
                </a:lnTo>
              </a:path>
            </a:pathLst>
          </a:custGeom>
          <a:ln w="10470">
            <a:solidFill>
              <a:srgbClr val="139EB8"/>
            </a:solidFill>
          </a:ln>
        </p:spPr>
        <p:txBody>
          <a:bodyPr wrap="square" lIns="0" tIns="0" rIns="0" bIns="0" rtlCol="0"/>
          <a:lstStyle/>
          <a:p>
            <a:endParaRPr sz="764" dirty="0"/>
          </a:p>
        </p:txBody>
      </p:sp>
      <p:sp>
        <p:nvSpPr>
          <p:cNvPr id="16" name="Holder 2"/>
          <p:cNvSpPr>
            <a:spLocks noGrp="1"/>
          </p:cNvSpPr>
          <p:nvPr userDrawn="1">
            <p:ph type="title"/>
          </p:nvPr>
        </p:nvSpPr>
        <p:spPr>
          <a:xfrm>
            <a:off x="754297" y="678737"/>
            <a:ext cx="10682923" cy="368606"/>
          </a:xfrm>
          <a:prstGeom prst="rect">
            <a:avLst/>
          </a:prstGeom>
        </p:spPr>
        <p:txBody>
          <a:bodyPr lIns="0" tIns="0" rIns="0" bIns="0"/>
          <a:lstStyle>
            <a:lvl1pPr>
              <a:defRPr sz="2155" b="1" i="0">
                <a:solidFill>
                  <a:schemeClr val="tx1"/>
                </a:solidFill>
                <a:latin typeface="Roboto Condensed" charset="0"/>
                <a:ea typeface="Roboto Condensed" charset="0"/>
                <a:cs typeface="Roboto Condensed" charset="0"/>
              </a:defRPr>
            </a:lvl1pPr>
          </a:lstStyle>
          <a:p>
            <a:endParaRPr/>
          </a:p>
        </p:txBody>
      </p:sp>
      <p:sp>
        <p:nvSpPr>
          <p:cNvPr id="17" name="Symbol zastępczy tekstu 7"/>
          <p:cNvSpPr>
            <a:spLocks noGrp="1"/>
          </p:cNvSpPr>
          <p:nvPr userDrawn="1">
            <p:ph type="body" sz="quarter" idx="10"/>
          </p:nvPr>
        </p:nvSpPr>
        <p:spPr>
          <a:xfrm>
            <a:off x="753818" y="1118125"/>
            <a:ext cx="10683404" cy="853860"/>
          </a:xfrm>
          <a:prstGeom prst="rect">
            <a:avLst/>
          </a:prstGeom>
        </p:spPr>
        <p:txBody>
          <a:bodyPr/>
          <a:lstStyle>
            <a:lvl1pPr>
              <a:defRPr sz="1064" b="1" i="0">
                <a:latin typeface="Roboto Condensed" charset="0"/>
                <a:ea typeface="Roboto Condensed" charset="0"/>
                <a:cs typeface="Roboto Condensed" charset="0"/>
              </a:defRPr>
            </a:lvl1pPr>
            <a:lvl2pPr>
              <a:defRPr b="0" i="0">
                <a:latin typeface="Roboto Condensed" charset="0"/>
                <a:ea typeface="Roboto Condensed" charset="0"/>
                <a:cs typeface="Roboto Condensed" charset="0"/>
              </a:defRPr>
            </a:lvl2pPr>
            <a:lvl3pPr>
              <a:defRPr b="0" i="0">
                <a:latin typeface="Roboto Condensed" charset="0"/>
                <a:ea typeface="Roboto Condensed" charset="0"/>
                <a:cs typeface="Roboto Condensed" charset="0"/>
              </a:defRPr>
            </a:lvl3pPr>
            <a:lvl4pPr>
              <a:defRPr b="0" i="0">
                <a:latin typeface="Roboto Condensed" charset="0"/>
                <a:ea typeface="Roboto Condensed" charset="0"/>
                <a:cs typeface="Roboto Condensed" charset="0"/>
              </a:defRPr>
            </a:lvl4pPr>
            <a:lvl5pPr>
              <a:defRPr b="0" i="0">
                <a:latin typeface="Roboto Condensed" charset="0"/>
                <a:ea typeface="Roboto Condensed" charset="0"/>
                <a:cs typeface="Roboto Condensed" charset="0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19" name="Symbol zastępczy tekstu 18"/>
          <p:cNvSpPr>
            <a:spLocks noGrp="1"/>
          </p:cNvSpPr>
          <p:nvPr userDrawn="1">
            <p:ph type="body" sz="quarter" idx="11"/>
          </p:nvPr>
        </p:nvSpPr>
        <p:spPr>
          <a:xfrm>
            <a:off x="753818" y="2042767"/>
            <a:ext cx="5018705" cy="1306452"/>
          </a:xfrm>
          <a:prstGeom prst="rect">
            <a:avLst/>
          </a:prstGeom>
        </p:spPr>
        <p:txBody>
          <a:bodyPr/>
          <a:lstStyle>
            <a:lvl1pPr>
              <a:defRPr sz="1528" b="0" i="0">
                <a:latin typeface="Roboto Condensed" charset="0"/>
                <a:ea typeface="Roboto Condensed" charset="0"/>
                <a:cs typeface="Roboto Condensed" charset="0"/>
              </a:defRPr>
            </a:lvl1pPr>
            <a:lvl2pPr>
              <a:defRPr sz="1528" b="0" i="0">
                <a:latin typeface="Roboto Condensed" charset="0"/>
                <a:ea typeface="Roboto Condensed" charset="0"/>
                <a:cs typeface="Roboto Condensed" charset="0"/>
              </a:defRPr>
            </a:lvl2pPr>
            <a:lvl3pPr>
              <a:defRPr sz="1528" b="0" i="0">
                <a:latin typeface="Roboto Condensed" charset="0"/>
                <a:ea typeface="Roboto Condensed" charset="0"/>
                <a:cs typeface="Roboto Condensed" charset="0"/>
              </a:defRPr>
            </a:lvl3pPr>
            <a:lvl4pPr>
              <a:defRPr sz="1528" b="0" i="0">
                <a:latin typeface="Roboto Condensed" charset="0"/>
                <a:ea typeface="Roboto Condensed" charset="0"/>
                <a:cs typeface="Roboto Condensed" charset="0"/>
              </a:defRPr>
            </a:lvl4pPr>
            <a:lvl5pPr>
              <a:defRPr sz="1528" b="0" i="0">
                <a:latin typeface="Roboto Condensed" charset="0"/>
                <a:ea typeface="Roboto Condensed" charset="0"/>
                <a:cs typeface="Roboto Condensed" charset="0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21" name="Symbol zastępczy tekstu 18"/>
          <p:cNvSpPr>
            <a:spLocks noGrp="1"/>
          </p:cNvSpPr>
          <p:nvPr userDrawn="1">
            <p:ph type="body" sz="quarter" idx="12"/>
          </p:nvPr>
        </p:nvSpPr>
        <p:spPr>
          <a:xfrm>
            <a:off x="6418516" y="2042767"/>
            <a:ext cx="5018705" cy="1306452"/>
          </a:xfrm>
          <a:prstGeom prst="rect">
            <a:avLst/>
          </a:prstGeom>
        </p:spPr>
        <p:txBody>
          <a:bodyPr/>
          <a:lstStyle>
            <a:lvl1pPr>
              <a:defRPr sz="1528" b="0" i="0">
                <a:latin typeface="Roboto Condensed" charset="0"/>
                <a:ea typeface="Roboto Condensed" charset="0"/>
                <a:cs typeface="Roboto Condensed" charset="0"/>
              </a:defRPr>
            </a:lvl1pPr>
            <a:lvl2pPr>
              <a:defRPr sz="1528" b="0" i="0">
                <a:latin typeface="Roboto Condensed" charset="0"/>
                <a:ea typeface="Roboto Condensed" charset="0"/>
                <a:cs typeface="Roboto Condensed" charset="0"/>
              </a:defRPr>
            </a:lvl2pPr>
            <a:lvl3pPr>
              <a:defRPr sz="1528" b="0" i="0">
                <a:latin typeface="Roboto Condensed" charset="0"/>
                <a:ea typeface="Roboto Condensed" charset="0"/>
                <a:cs typeface="Roboto Condensed" charset="0"/>
              </a:defRPr>
            </a:lvl3pPr>
            <a:lvl4pPr>
              <a:defRPr sz="1528" b="0" i="0">
                <a:latin typeface="Roboto Condensed" charset="0"/>
                <a:ea typeface="Roboto Condensed" charset="0"/>
                <a:cs typeface="Roboto Condensed" charset="0"/>
              </a:defRPr>
            </a:lvl4pPr>
            <a:lvl5pPr>
              <a:defRPr sz="1528" b="0" i="0">
                <a:latin typeface="Roboto Condensed" charset="0"/>
                <a:ea typeface="Roboto Condensed" charset="0"/>
                <a:cs typeface="Roboto Condensed" charset="0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8628305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jd z wykrese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2"/>
          <p:cNvSpPr>
            <a:spLocks noGrp="1"/>
          </p:cNvSpPr>
          <p:nvPr>
            <p:ph type="title"/>
          </p:nvPr>
        </p:nvSpPr>
        <p:spPr>
          <a:xfrm>
            <a:off x="754298" y="678738"/>
            <a:ext cx="5018225" cy="439388"/>
          </a:xfrm>
          <a:prstGeom prst="rect">
            <a:avLst/>
          </a:prstGeom>
        </p:spPr>
        <p:txBody>
          <a:bodyPr lIns="0" tIns="0" rIns="0" bIns="0"/>
          <a:lstStyle>
            <a:lvl1pPr>
              <a:defRPr sz="2155" b="1" i="0">
                <a:solidFill>
                  <a:schemeClr val="tx1"/>
                </a:solidFill>
                <a:latin typeface="Roboto Condensed" charset="0"/>
                <a:ea typeface="Roboto Condensed" charset="0"/>
                <a:cs typeface="Roboto Condensed" charset="0"/>
              </a:defRPr>
            </a:lvl1pPr>
          </a:lstStyle>
          <a:p>
            <a:endParaRPr/>
          </a:p>
        </p:txBody>
      </p:sp>
      <p:sp>
        <p:nvSpPr>
          <p:cNvPr id="11" name="object 9"/>
          <p:cNvSpPr/>
          <p:nvPr userDrawn="1"/>
        </p:nvSpPr>
        <p:spPr>
          <a:xfrm>
            <a:off x="590549" y="751756"/>
            <a:ext cx="101664" cy="222568"/>
          </a:xfrm>
          <a:custGeom>
            <a:avLst/>
            <a:gdLst/>
            <a:ahLst/>
            <a:cxnLst/>
            <a:rect l="l" t="t" r="r" b="b"/>
            <a:pathLst>
              <a:path w="167640" h="367030">
                <a:moveTo>
                  <a:pt x="0" y="0"/>
                </a:moveTo>
                <a:lnTo>
                  <a:pt x="0" y="366480"/>
                </a:lnTo>
                <a:lnTo>
                  <a:pt x="167534" y="366480"/>
                </a:lnTo>
                <a:lnTo>
                  <a:pt x="167534" y="0"/>
                </a:lnTo>
                <a:lnTo>
                  <a:pt x="0" y="0"/>
                </a:lnTo>
                <a:close/>
              </a:path>
            </a:pathLst>
          </a:custGeom>
          <a:solidFill>
            <a:srgbClr val="139EB8"/>
          </a:solidFill>
        </p:spPr>
        <p:txBody>
          <a:bodyPr wrap="square" lIns="0" tIns="0" rIns="0" bIns="0" rtlCol="0"/>
          <a:lstStyle/>
          <a:p>
            <a:endParaRPr sz="764" dirty="0"/>
          </a:p>
        </p:txBody>
      </p:sp>
      <p:sp>
        <p:nvSpPr>
          <p:cNvPr id="13" name="object 10"/>
          <p:cNvSpPr/>
          <p:nvPr userDrawn="1"/>
        </p:nvSpPr>
        <p:spPr>
          <a:xfrm>
            <a:off x="1" y="5739998"/>
            <a:ext cx="11061756" cy="1117842"/>
          </a:xfrm>
          <a:custGeom>
            <a:avLst/>
            <a:gdLst/>
            <a:ahLst/>
            <a:cxnLst/>
            <a:rect l="l" t="t" r="r" b="b"/>
            <a:pathLst>
              <a:path w="18240375" h="1843404">
                <a:moveTo>
                  <a:pt x="0" y="1842875"/>
                </a:moveTo>
                <a:lnTo>
                  <a:pt x="18240282" y="1842875"/>
                </a:lnTo>
                <a:lnTo>
                  <a:pt x="18240282" y="0"/>
                </a:lnTo>
                <a:lnTo>
                  <a:pt x="0" y="0"/>
                </a:lnTo>
                <a:lnTo>
                  <a:pt x="0" y="1842875"/>
                </a:lnTo>
                <a:close/>
              </a:path>
            </a:pathLst>
          </a:custGeom>
          <a:solidFill>
            <a:srgbClr val="F4F4F4">
              <a:alpha val="84609"/>
            </a:srgbClr>
          </a:solidFill>
        </p:spPr>
        <p:txBody>
          <a:bodyPr wrap="square" lIns="0" tIns="0" rIns="0" bIns="0" rtlCol="0"/>
          <a:lstStyle/>
          <a:p>
            <a:endParaRPr sz="764" dirty="0"/>
          </a:p>
        </p:txBody>
      </p:sp>
      <p:sp>
        <p:nvSpPr>
          <p:cNvPr id="17" name="object 13"/>
          <p:cNvSpPr/>
          <p:nvPr userDrawn="1"/>
        </p:nvSpPr>
        <p:spPr>
          <a:xfrm>
            <a:off x="11061699" y="5727298"/>
            <a:ext cx="1130629" cy="1130550"/>
          </a:xfrm>
          <a:custGeom>
            <a:avLst/>
            <a:gdLst/>
            <a:ahLst/>
            <a:cxnLst/>
            <a:rect l="l" t="t" r="r" b="b"/>
            <a:pathLst>
              <a:path w="1864359" h="1864359">
                <a:moveTo>
                  <a:pt x="0" y="0"/>
                </a:moveTo>
                <a:lnTo>
                  <a:pt x="1863817" y="0"/>
                </a:lnTo>
                <a:lnTo>
                  <a:pt x="1863817" y="1863817"/>
                </a:lnTo>
                <a:lnTo>
                  <a:pt x="0" y="1863817"/>
                </a:lnTo>
                <a:lnTo>
                  <a:pt x="0" y="0"/>
                </a:lnTo>
                <a:close/>
              </a:path>
            </a:pathLst>
          </a:custGeom>
          <a:solidFill>
            <a:srgbClr val="00A44A"/>
          </a:solidFill>
        </p:spPr>
        <p:txBody>
          <a:bodyPr wrap="square" lIns="0" tIns="0" rIns="0" bIns="0" rtlCol="0"/>
          <a:lstStyle/>
          <a:p>
            <a:endParaRPr sz="764" dirty="0"/>
          </a:p>
        </p:txBody>
      </p:sp>
      <p:sp>
        <p:nvSpPr>
          <p:cNvPr id="18" name="object 14"/>
          <p:cNvSpPr txBox="1"/>
          <p:nvPr userDrawn="1"/>
        </p:nvSpPr>
        <p:spPr>
          <a:xfrm>
            <a:off x="11358539" y="6145017"/>
            <a:ext cx="536951" cy="242128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54"/>
              </a:spcBef>
            </a:pPr>
            <a:fld id="{DC201D2C-EC4B-D84C-B923-C07FC19B6A48}" type="slidenum">
              <a:rPr lang="pl-PL" sz="1528" b="1" smtClean="0">
                <a:solidFill>
                  <a:srgbClr val="FFFFFF"/>
                </a:solidFill>
                <a:latin typeface="Roboto Condensed"/>
                <a:cs typeface="Roboto Condensed"/>
              </a:rPr>
              <a:pPr algn="ctr">
                <a:lnSpc>
                  <a:spcPct val="100000"/>
                </a:lnSpc>
                <a:spcBef>
                  <a:spcPts val="54"/>
                </a:spcBef>
              </a:pPr>
              <a:t>‹#›</a:t>
            </a:fld>
            <a:endParaRPr sz="1528" dirty="0">
              <a:latin typeface="Roboto Condensed"/>
              <a:cs typeface="Roboto Condensed"/>
            </a:endParaRPr>
          </a:p>
        </p:txBody>
      </p:sp>
      <p:sp>
        <p:nvSpPr>
          <p:cNvPr id="20" name="object 16"/>
          <p:cNvSpPr/>
          <p:nvPr userDrawn="1"/>
        </p:nvSpPr>
        <p:spPr>
          <a:xfrm>
            <a:off x="8435975" y="6165418"/>
            <a:ext cx="0" cy="317678"/>
          </a:xfrm>
          <a:custGeom>
            <a:avLst/>
            <a:gdLst/>
            <a:ahLst/>
            <a:cxnLst/>
            <a:rect l="l" t="t" r="r" b="b"/>
            <a:pathLst>
              <a:path h="523875">
                <a:moveTo>
                  <a:pt x="0" y="0"/>
                </a:moveTo>
                <a:lnTo>
                  <a:pt x="0" y="523544"/>
                </a:lnTo>
              </a:path>
            </a:pathLst>
          </a:custGeom>
          <a:ln w="10470">
            <a:solidFill>
              <a:srgbClr val="139EB8"/>
            </a:solidFill>
          </a:ln>
        </p:spPr>
        <p:txBody>
          <a:bodyPr wrap="square" lIns="0" tIns="0" rIns="0" bIns="0" rtlCol="0"/>
          <a:lstStyle/>
          <a:p>
            <a:endParaRPr sz="764" dirty="0"/>
          </a:p>
        </p:txBody>
      </p:sp>
      <p:sp>
        <p:nvSpPr>
          <p:cNvPr id="21" name="Symbol zastępczy tekstu 18"/>
          <p:cNvSpPr>
            <a:spLocks noGrp="1"/>
          </p:cNvSpPr>
          <p:nvPr>
            <p:ph type="body" sz="quarter" idx="12"/>
          </p:nvPr>
        </p:nvSpPr>
        <p:spPr>
          <a:xfrm>
            <a:off x="753818" y="1633992"/>
            <a:ext cx="5018705" cy="1306452"/>
          </a:xfrm>
          <a:prstGeom prst="rect">
            <a:avLst/>
          </a:prstGeom>
        </p:spPr>
        <p:txBody>
          <a:bodyPr/>
          <a:lstStyle>
            <a:lvl1pPr>
              <a:defRPr sz="1528" b="0" i="0">
                <a:latin typeface="Roboto Condensed" charset="0"/>
                <a:ea typeface="Roboto Condensed" charset="0"/>
                <a:cs typeface="Roboto Condensed" charset="0"/>
              </a:defRPr>
            </a:lvl1pPr>
            <a:lvl2pPr>
              <a:defRPr sz="1528" b="0" i="0">
                <a:latin typeface="Roboto Condensed" charset="0"/>
                <a:ea typeface="Roboto Condensed" charset="0"/>
                <a:cs typeface="Roboto Condensed" charset="0"/>
              </a:defRPr>
            </a:lvl2pPr>
            <a:lvl3pPr>
              <a:defRPr sz="1528" b="0" i="0">
                <a:latin typeface="Roboto Condensed" charset="0"/>
                <a:ea typeface="Roboto Condensed" charset="0"/>
                <a:cs typeface="Roboto Condensed" charset="0"/>
              </a:defRPr>
            </a:lvl3pPr>
            <a:lvl4pPr>
              <a:defRPr sz="1528" b="0" i="0">
                <a:latin typeface="Roboto Condensed" charset="0"/>
                <a:ea typeface="Roboto Condensed" charset="0"/>
                <a:cs typeface="Roboto Condensed" charset="0"/>
              </a:defRPr>
            </a:lvl4pPr>
            <a:lvl5pPr>
              <a:defRPr sz="1528" b="0" i="0">
                <a:latin typeface="Roboto Condensed" charset="0"/>
                <a:ea typeface="Roboto Condensed" charset="0"/>
                <a:cs typeface="Roboto Condensed" charset="0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22" name="Symbol zastępczy wykresu 21"/>
          <p:cNvSpPr>
            <a:spLocks noGrp="1"/>
          </p:cNvSpPr>
          <p:nvPr>
            <p:ph type="chart" sz="quarter" idx="13"/>
          </p:nvPr>
        </p:nvSpPr>
        <p:spPr>
          <a:xfrm>
            <a:off x="6049789" y="678677"/>
            <a:ext cx="5845691" cy="4783464"/>
          </a:xfrm>
          <a:prstGeom prst="rect">
            <a:avLst/>
          </a:prstGeom>
        </p:spPr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634642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DZIĘKOW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 userDrawn="1"/>
        </p:nvSpPr>
        <p:spPr>
          <a:xfrm>
            <a:off x="5080000" y="1"/>
            <a:ext cx="7112000" cy="342875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764" dirty="0"/>
          </a:p>
        </p:txBody>
      </p:sp>
      <p:sp>
        <p:nvSpPr>
          <p:cNvPr id="4" name="object 4"/>
          <p:cNvSpPr/>
          <p:nvPr userDrawn="1"/>
        </p:nvSpPr>
        <p:spPr>
          <a:xfrm>
            <a:off x="5080000" y="3428761"/>
            <a:ext cx="7112000" cy="3428759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764" dirty="0"/>
          </a:p>
        </p:txBody>
      </p:sp>
      <p:sp>
        <p:nvSpPr>
          <p:cNvPr id="5" name="object 5"/>
          <p:cNvSpPr txBox="1"/>
          <p:nvPr userDrawn="1"/>
        </p:nvSpPr>
        <p:spPr>
          <a:xfrm>
            <a:off x="9271808" y="3894439"/>
            <a:ext cx="2757953" cy="1061857"/>
          </a:xfrm>
          <a:prstGeom prst="rect">
            <a:avLst/>
          </a:prstGeom>
        </p:spPr>
        <p:txBody>
          <a:bodyPr vert="horz" wrap="square" lIns="0" tIns="8664" rIns="0" bIns="0" rtlCol="0">
            <a:spAutoFit/>
          </a:bodyPr>
          <a:lstStyle/>
          <a:p>
            <a:pPr marL="6931">
              <a:lnSpc>
                <a:spcPct val="100000"/>
              </a:lnSpc>
              <a:spcBef>
                <a:spcPts val="68"/>
              </a:spcBef>
            </a:pPr>
            <a:r>
              <a:rPr lang="pl-PL" sz="1528" b="1" dirty="0" err="1">
                <a:solidFill>
                  <a:schemeClr val="bg1"/>
                </a:solidFill>
              </a:rPr>
              <a:t>Recruitment</a:t>
            </a:r>
            <a:endParaRPr sz="1528" b="1" dirty="0">
              <a:solidFill>
                <a:schemeClr val="bg1"/>
              </a:solidFill>
              <a:latin typeface="Times New Roman"/>
              <a:cs typeface="Times New Roman"/>
            </a:endParaRPr>
          </a:p>
          <a:p>
            <a:pPr marL="6931">
              <a:lnSpc>
                <a:spcPts val="1268"/>
              </a:lnSpc>
              <a:spcBef>
                <a:spcPts val="786"/>
              </a:spcBef>
            </a:pPr>
            <a:r>
              <a:rPr lang="pl-PL" sz="1528" b="0" dirty="0">
                <a:solidFill>
                  <a:schemeClr val="bg1"/>
                </a:solidFill>
              </a:rPr>
              <a:t>T: +4822 45 72 400 </a:t>
            </a:r>
          </a:p>
          <a:p>
            <a:pPr marL="6931">
              <a:lnSpc>
                <a:spcPts val="1268"/>
              </a:lnSpc>
              <a:spcBef>
                <a:spcPts val="786"/>
              </a:spcBef>
            </a:pPr>
            <a:r>
              <a:rPr lang="pl-PL" sz="1528" b="0" dirty="0">
                <a:solidFill>
                  <a:schemeClr val="bg1"/>
                </a:solidFill>
              </a:rPr>
              <a:t>E: rekrutacja@vistula.edu.pl</a:t>
            </a:r>
          </a:p>
          <a:p>
            <a:pPr marL="6931">
              <a:lnSpc>
                <a:spcPts val="1268"/>
              </a:lnSpc>
              <a:spcBef>
                <a:spcPts val="786"/>
              </a:spcBef>
            </a:pPr>
            <a:endParaRPr lang="pl-PL" sz="1528" b="1" dirty="0">
              <a:solidFill>
                <a:schemeClr val="bg1"/>
              </a:solidFill>
            </a:endParaRPr>
          </a:p>
        </p:txBody>
      </p:sp>
      <p:sp>
        <p:nvSpPr>
          <p:cNvPr id="8" name="object 8"/>
          <p:cNvSpPr txBox="1"/>
          <p:nvPr userDrawn="1"/>
        </p:nvSpPr>
        <p:spPr>
          <a:xfrm>
            <a:off x="5385183" y="3887945"/>
            <a:ext cx="2970168" cy="718662"/>
          </a:xfrm>
          <a:prstGeom prst="rect">
            <a:avLst/>
          </a:prstGeom>
        </p:spPr>
        <p:txBody>
          <a:bodyPr vert="horz" wrap="square" lIns="0" tIns="15942" rIns="0" bIns="0" rtlCol="0">
            <a:spAutoFit/>
          </a:bodyPr>
          <a:lstStyle/>
          <a:p>
            <a:pPr marL="6931" marR="2772">
              <a:lnSpc>
                <a:spcPts val="1261"/>
              </a:lnSpc>
              <a:spcBef>
                <a:spcPts val="125"/>
              </a:spcBef>
            </a:pPr>
            <a:r>
              <a:rPr lang="en-US" sz="1528" b="1" spc="2" dirty="0">
                <a:solidFill>
                  <a:srgbClr val="FFFFFF"/>
                </a:solidFill>
                <a:latin typeface="+mn-lt"/>
                <a:cs typeface="Roboto Condensed"/>
              </a:rPr>
              <a:t>VISTULA UNIVERSITY </a:t>
            </a:r>
          </a:p>
          <a:p>
            <a:pPr marL="6931" marR="2772">
              <a:lnSpc>
                <a:spcPts val="1261"/>
              </a:lnSpc>
              <a:spcBef>
                <a:spcPts val="125"/>
              </a:spcBef>
            </a:pPr>
            <a:endParaRPr lang="pl-PL" sz="1528" b="1" spc="2" dirty="0">
              <a:solidFill>
                <a:srgbClr val="FFFFFF"/>
              </a:solidFill>
              <a:latin typeface="+mn-lt"/>
              <a:cs typeface="Roboto Condensed"/>
            </a:endParaRPr>
          </a:p>
          <a:p>
            <a:pPr marL="6931" marR="2772">
              <a:lnSpc>
                <a:spcPts val="1261"/>
              </a:lnSpc>
              <a:spcBef>
                <a:spcPts val="125"/>
              </a:spcBef>
            </a:pPr>
            <a:r>
              <a:rPr lang="en-US" sz="1528" b="1" spc="2" dirty="0">
                <a:solidFill>
                  <a:srgbClr val="FFFFFF"/>
                </a:solidFill>
                <a:latin typeface="+mn-lt"/>
                <a:cs typeface="Roboto Condensed"/>
              </a:rPr>
              <a:t>WARSAW SCHOOL OF TURISM AND HOSPITALITY MANAGMENT</a:t>
            </a:r>
            <a:endParaRPr sz="1528" dirty="0">
              <a:latin typeface="+mn-lt"/>
              <a:cs typeface="Roboto Condensed"/>
            </a:endParaRPr>
          </a:p>
        </p:txBody>
      </p:sp>
      <p:sp>
        <p:nvSpPr>
          <p:cNvPr id="9" name="object 9"/>
          <p:cNvSpPr txBox="1"/>
          <p:nvPr userDrawn="1"/>
        </p:nvSpPr>
        <p:spPr>
          <a:xfrm>
            <a:off x="5385183" y="4898490"/>
            <a:ext cx="2970168" cy="420464"/>
          </a:xfrm>
          <a:prstGeom prst="rect">
            <a:avLst/>
          </a:prstGeom>
        </p:spPr>
        <p:txBody>
          <a:bodyPr vert="horz" wrap="square" lIns="0" tIns="8664" rIns="0" bIns="0" rtlCol="0">
            <a:spAutoFit/>
          </a:bodyPr>
          <a:lstStyle/>
          <a:p>
            <a:pPr marL="6931">
              <a:spcBef>
                <a:spcPts val="68"/>
              </a:spcBef>
            </a:pPr>
            <a:r>
              <a:rPr lang="pl-PL" sz="1528" spc="0" dirty="0">
                <a:solidFill>
                  <a:srgbClr val="FFFFFF"/>
                </a:solidFill>
                <a:latin typeface="+mn-lt"/>
                <a:cs typeface="Roboto Condensed"/>
              </a:rPr>
              <a:t>3 </a:t>
            </a:r>
            <a:r>
              <a:rPr sz="1528" spc="0" dirty="0">
                <a:solidFill>
                  <a:srgbClr val="FFFFFF"/>
                </a:solidFill>
                <a:latin typeface="+mn-lt"/>
                <a:cs typeface="Roboto Condensed"/>
              </a:rPr>
              <a:t>St</a:t>
            </a:r>
            <a:r>
              <a:rPr lang="pl-PL" sz="1528" spc="2" dirty="0">
                <a:solidFill>
                  <a:srgbClr val="FFFFFF"/>
                </a:solidFill>
                <a:latin typeface="+mn-lt"/>
                <a:cs typeface="Roboto Condensed"/>
              </a:rPr>
              <a:t>okłosy </a:t>
            </a:r>
            <a:r>
              <a:rPr lang="pl-PL" sz="1528" spc="0" dirty="0" err="1">
                <a:solidFill>
                  <a:srgbClr val="FFFFFF"/>
                </a:solidFill>
                <a:latin typeface="+mn-lt"/>
                <a:cs typeface="Roboto Condensed"/>
              </a:rPr>
              <a:t>Str</a:t>
            </a:r>
            <a:r>
              <a:rPr lang="pl-PL" sz="1528" spc="0" dirty="0">
                <a:solidFill>
                  <a:srgbClr val="FFFFFF"/>
                </a:solidFill>
                <a:latin typeface="+mn-lt"/>
                <a:cs typeface="Roboto Condensed"/>
              </a:rPr>
              <a:t>, </a:t>
            </a:r>
            <a:r>
              <a:rPr lang="pl-PL" sz="1528" spc="2" dirty="0">
                <a:solidFill>
                  <a:srgbClr val="FFFFFF"/>
                </a:solidFill>
                <a:latin typeface="+mn-lt"/>
                <a:cs typeface="Roboto Condensed"/>
              </a:rPr>
              <a:t>02-787 </a:t>
            </a:r>
            <a:r>
              <a:rPr lang="pl-PL" sz="1528" spc="2" dirty="0" err="1">
                <a:solidFill>
                  <a:srgbClr val="FFFFFF"/>
                </a:solidFill>
                <a:latin typeface="+mn-lt"/>
                <a:cs typeface="Roboto Condensed"/>
              </a:rPr>
              <a:t>Warsaw</a:t>
            </a:r>
            <a:endParaRPr lang="pl-PL" sz="1528" spc="2" dirty="0">
              <a:solidFill>
                <a:srgbClr val="FFFFFF"/>
              </a:solidFill>
              <a:latin typeface="+mn-lt"/>
              <a:cs typeface="Roboto Condensed"/>
            </a:endParaRPr>
          </a:p>
          <a:p>
            <a:pPr marL="6931">
              <a:lnSpc>
                <a:spcPct val="100000"/>
              </a:lnSpc>
              <a:spcBef>
                <a:spcPts val="68"/>
              </a:spcBef>
            </a:pPr>
            <a:endParaRPr sz="1064" dirty="0">
              <a:latin typeface="+mn-lt"/>
              <a:cs typeface="Roboto Condensed"/>
            </a:endParaRPr>
          </a:p>
        </p:txBody>
      </p:sp>
      <p:sp>
        <p:nvSpPr>
          <p:cNvPr id="14" name="object 15"/>
          <p:cNvSpPr/>
          <p:nvPr userDrawn="1"/>
        </p:nvSpPr>
        <p:spPr>
          <a:xfrm>
            <a:off x="590549" y="706318"/>
            <a:ext cx="152496" cy="958811"/>
          </a:xfrm>
          <a:custGeom>
            <a:avLst/>
            <a:gdLst/>
            <a:ahLst/>
            <a:cxnLst/>
            <a:rect l="l" t="t" r="r" b="b"/>
            <a:pathLst>
              <a:path w="251459" h="1581150">
                <a:moveTo>
                  <a:pt x="0" y="0"/>
                </a:moveTo>
                <a:lnTo>
                  <a:pt x="0" y="1581103"/>
                </a:lnTo>
                <a:lnTo>
                  <a:pt x="251301" y="1581103"/>
                </a:lnTo>
                <a:lnTo>
                  <a:pt x="251301" y="0"/>
                </a:lnTo>
                <a:lnTo>
                  <a:pt x="0" y="0"/>
                </a:lnTo>
                <a:close/>
              </a:path>
            </a:pathLst>
          </a:custGeom>
          <a:solidFill>
            <a:srgbClr val="139EB8"/>
          </a:solidFill>
        </p:spPr>
        <p:txBody>
          <a:bodyPr wrap="square" lIns="0" tIns="0" rIns="0" bIns="0" rtlCol="0"/>
          <a:lstStyle/>
          <a:p>
            <a:endParaRPr sz="764" dirty="0"/>
          </a:p>
        </p:txBody>
      </p:sp>
      <p:sp>
        <p:nvSpPr>
          <p:cNvPr id="15" name="object 16"/>
          <p:cNvSpPr txBox="1"/>
          <p:nvPr userDrawn="1"/>
        </p:nvSpPr>
        <p:spPr>
          <a:xfrm>
            <a:off x="5719999" y="6284706"/>
            <a:ext cx="1150268" cy="172511"/>
          </a:xfrm>
          <a:prstGeom prst="rect">
            <a:avLst/>
          </a:prstGeom>
        </p:spPr>
        <p:txBody>
          <a:bodyPr vert="horz" wrap="square" lIns="0" tIns="8664" rIns="0" bIns="0" rtlCol="0">
            <a:spAutoFit/>
          </a:bodyPr>
          <a:lstStyle/>
          <a:p>
            <a:pPr marL="6931">
              <a:lnSpc>
                <a:spcPct val="100000"/>
              </a:lnSpc>
              <a:spcBef>
                <a:spcPts val="68"/>
              </a:spcBef>
            </a:pPr>
            <a:r>
              <a:rPr sz="1064" dirty="0">
                <a:solidFill>
                  <a:schemeClr val="bg1"/>
                </a:solidFill>
                <a:latin typeface="Roboto Condensed"/>
                <a:cs typeface="Roboto Condensed"/>
                <a:hlinkClick r:id="rId4"/>
              </a:rPr>
              <a:t>www.vistula.edu.pl</a:t>
            </a:r>
            <a:endParaRPr sz="1064" dirty="0">
              <a:solidFill>
                <a:schemeClr val="bg1"/>
              </a:solidFill>
              <a:latin typeface="Roboto Condensed"/>
              <a:cs typeface="Roboto Condensed"/>
            </a:endParaRPr>
          </a:p>
        </p:txBody>
      </p:sp>
      <p:sp>
        <p:nvSpPr>
          <p:cNvPr id="16" name="object 17"/>
          <p:cNvSpPr txBox="1"/>
          <p:nvPr userDrawn="1"/>
        </p:nvSpPr>
        <p:spPr>
          <a:xfrm>
            <a:off x="7224948" y="6284706"/>
            <a:ext cx="1015872" cy="172511"/>
          </a:xfrm>
          <a:prstGeom prst="rect">
            <a:avLst/>
          </a:prstGeom>
        </p:spPr>
        <p:txBody>
          <a:bodyPr vert="horz" wrap="square" lIns="0" tIns="8664" rIns="0" bIns="0" rtlCol="0">
            <a:spAutoFit/>
          </a:bodyPr>
          <a:lstStyle/>
          <a:p>
            <a:pPr marL="6931">
              <a:lnSpc>
                <a:spcPct val="100000"/>
              </a:lnSpc>
              <a:spcBef>
                <a:spcPts val="68"/>
              </a:spcBef>
            </a:pPr>
            <a:r>
              <a:rPr sz="1064" spc="-6" dirty="0">
                <a:solidFill>
                  <a:schemeClr val="bg1"/>
                </a:solidFill>
                <a:latin typeface="Roboto Condensed"/>
                <a:cs typeface="Roboto Condensed"/>
                <a:hlinkClick r:id="rId5"/>
              </a:rPr>
              <a:t>www.sgtir.edu.pl</a:t>
            </a:r>
            <a:endParaRPr sz="1064" dirty="0">
              <a:solidFill>
                <a:schemeClr val="bg1"/>
              </a:solidFill>
              <a:latin typeface="Roboto Condensed"/>
              <a:cs typeface="Roboto Condensed"/>
            </a:endParaRPr>
          </a:p>
        </p:txBody>
      </p:sp>
      <p:sp>
        <p:nvSpPr>
          <p:cNvPr id="17" name="Symbol zastępczy tekstu 16"/>
          <p:cNvSpPr>
            <a:spLocks noGrp="1"/>
          </p:cNvSpPr>
          <p:nvPr>
            <p:ph type="body" sz="quarter" idx="10" hasCustomPrompt="1"/>
          </p:nvPr>
        </p:nvSpPr>
        <p:spPr>
          <a:xfrm>
            <a:off x="836613" y="706318"/>
            <a:ext cx="3318527" cy="2247167"/>
          </a:xfrm>
          <a:prstGeom prst="rect">
            <a:avLst/>
          </a:prstGeom>
        </p:spPr>
        <p:txBody>
          <a:bodyPr/>
          <a:lstStyle>
            <a:lvl1pPr>
              <a:defRPr sz="3275" b="1" i="0" baseline="0">
                <a:latin typeface="Roboto Condensed" charset="0"/>
                <a:ea typeface="Roboto Condensed" charset="0"/>
                <a:cs typeface="Roboto Condensed" charset="0"/>
              </a:defRPr>
            </a:lvl1pPr>
            <a:lvl2pPr>
              <a:defRPr sz="2183" b="1" i="0">
                <a:latin typeface="Roboto Condensed" charset="0"/>
                <a:ea typeface="Roboto Condensed" charset="0"/>
                <a:cs typeface="Roboto Condensed" charset="0"/>
              </a:defRPr>
            </a:lvl2pPr>
            <a:lvl3pPr>
              <a:defRPr sz="2183" b="1" i="0">
                <a:latin typeface="Roboto Condensed" charset="0"/>
                <a:ea typeface="Roboto Condensed" charset="0"/>
                <a:cs typeface="Roboto Condensed" charset="0"/>
              </a:defRPr>
            </a:lvl3pPr>
            <a:lvl4pPr>
              <a:defRPr sz="2183" b="1" i="0">
                <a:latin typeface="Roboto Condensed" charset="0"/>
                <a:ea typeface="Roboto Condensed" charset="0"/>
                <a:cs typeface="Roboto Condensed" charset="0"/>
              </a:defRPr>
            </a:lvl4pPr>
            <a:lvl5pPr>
              <a:defRPr sz="2183" b="1" i="0">
                <a:latin typeface="Roboto Condensed" charset="0"/>
                <a:ea typeface="Roboto Condensed" charset="0"/>
                <a:cs typeface="Roboto Condensed" charset="0"/>
              </a:defRPr>
            </a:lvl5pPr>
          </a:lstStyle>
          <a:p>
            <a:pPr lvl="0"/>
            <a:r>
              <a:rPr lang="pl-PL" dirty="0"/>
              <a:t>WPISZ PODZIĘKOWANIE</a:t>
            </a:r>
          </a:p>
        </p:txBody>
      </p:sp>
      <p:sp>
        <p:nvSpPr>
          <p:cNvPr id="18" name="object 10"/>
          <p:cNvSpPr/>
          <p:nvPr userDrawn="1"/>
        </p:nvSpPr>
        <p:spPr>
          <a:xfrm>
            <a:off x="10171" y="5740159"/>
            <a:ext cx="5069829" cy="1117842"/>
          </a:xfrm>
          <a:custGeom>
            <a:avLst/>
            <a:gdLst/>
            <a:ahLst/>
            <a:cxnLst/>
            <a:rect l="l" t="t" r="r" b="b"/>
            <a:pathLst>
              <a:path w="18240375" h="1843404">
                <a:moveTo>
                  <a:pt x="0" y="1842875"/>
                </a:moveTo>
                <a:lnTo>
                  <a:pt x="18240282" y="1842875"/>
                </a:lnTo>
                <a:lnTo>
                  <a:pt x="18240282" y="0"/>
                </a:lnTo>
                <a:lnTo>
                  <a:pt x="0" y="0"/>
                </a:lnTo>
                <a:lnTo>
                  <a:pt x="0" y="1842875"/>
                </a:lnTo>
                <a:close/>
              </a:path>
            </a:pathLst>
          </a:custGeom>
          <a:solidFill>
            <a:srgbClr val="F4F4F4">
              <a:alpha val="84609"/>
            </a:srgbClr>
          </a:solidFill>
        </p:spPr>
        <p:txBody>
          <a:bodyPr wrap="square" lIns="0" tIns="0" rIns="0" bIns="0" rtlCol="0"/>
          <a:lstStyle/>
          <a:p>
            <a:endParaRPr sz="764" dirty="0"/>
          </a:p>
        </p:txBody>
      </p:sp>
      <p:sp>
        <p:nvSpPr>
          <p:cNvPr id="23" name="object 8"/>
          <p:cNvSpPr txBox="1"/>
          <p:nvPr userDrawn="1"/>
        </p:nvSpPr>
        <p:spPr>
          <a:xfrm>
            <a:off x="5649136" y="6022303"/>
            <a:ext cx="6114025" cy="200251"/>
          </a:xfrm>
          <a:prstGeom prst="rect">
            <a:avLst/>
          </a:prstGeom>
        </p:spPr>
        <p:txBody>
          <a:bodyPr vert="horz" wrap="square" lIns="0" tIns="15942" rIns="0" bIns="0" rtlCol="0">
            <a:spAutoFit/>
          </a:bodyPr>
          <a:lstStyle/>
          <a:p>
            <a:pPr marL="6931" marR="2772" algn="ctr">
              <a:lnSpc>
                <a:spcPts val="1261"/>
              </a:lnSpc>
              <a:spcBef>
                <a:spcPts val="125"/>
              </a:spcBef>
            </a:pPr>
            <a:r>
              <a:rPr lang="pl-PL" sz="1746" b="1" spc="2" dirty="0">
                <a:solidFill>
                  <a:schemeClr val="bg1"/>
                </a:solidFill>
                <a:latin typeface="+mn-lt"/>
                <a:cs typeface="Roboto Condensed"/>
              </a:rPr>
              <a:t>www.vistula.edu.pl | www.sgtir.edu.pl</a:t>
            </a:r>
            <a:endParaRPr sz="1746" dirty="0">
              <a:solidFill>
                <a:schemeClr val="bg1"/>
              </a:solidFill>
              <a:latin typeface="+mn-lt"/>
              <a:cs typeface="Roboto Condensed"/>
            </a:endParaRPr>
          </a:p>
        </p:txBody>
      </p:sp>
      <p:pic>
        <p:nvPicPr>
          <p:cNvPr id="13" name="Obraz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8157" y="909924"/>
            <a:ext cx="1655687" cy="1855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431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ajd końcó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Obraz 3">
            <a:extLst>
              <a:ext uri="{FF2B5EF4-FFF2-40B4-BE49-F238E27FC236}">
                <a16:creationId xmlns:a16="http://schemas.microsoft.com/office/drawing/2014/main" id="{D3DE096B-B1EF-0440-91FC-5295769288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47729" y="-78138"/>
            <a:ext cx="6268484" cy="700746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BFF0CEC-BF15-3843-A40D-AB660BF044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0F1C46-E6D4-4268-AC57-C60B20D223E3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4" name="Prostokąt 6">
            <a:extLst>
              <a:ext uri="{FF2B5EF4-FFF2-40B4-BE49-F238E27FC236}">
                <a16:creationId xmlns:a16="http://schemas.microsoft.com/office/drawing/2014/main" id="{79383447-21AC-3946-A95C-FB9DA701416F}"/>
              </a:ext>
            </a:extLst>
          </p:cNvPr>
          <p:cNvSpPr/>
          <p:nvPr userDrawn="1"/>
        </p:nvSpPr>
        <p:spPr>
          <a:xfrm>
            <a:off x="344197" y="2164351"/>
            <a:ext cx="138404" cy="754145"/>
          </a:xfrm>
          <a:prstGeom prst="rect">
            <a:avLst/>
          </a:prstGeom>
          <a:solidFill>
            <a:srgbClr val="00A4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20"/>
          </a:p>
        </p:txBody>
      </p:sp>
      <p:sp>
        <p:nvSpPr>
          <p:cNvPr id="7" name="Prostokąt 5">
            <a:extLst>
              <a:ext uri="{FF2B5EF4-FFF2-40B4-BE49-F238E27FC236}">
                <a16:creationId xmlns:a16="http://schemas.microsoft.com/office/drawing/2014/main" id="{2F58BAA1-1B66-5A44-85CB-A713D4010B06}"/>
              </a:ext>
            </a:extLst>
          </p:cNvPr>
          <p:cNvSpPr/>
          <p:nvPr userDrawn="1"/>
        </p:nvSpPr>
        <p:spPr>
          <a:xfrm>
            <a:off x="6147729" y="-78138"/>
            <a:ext cx="6268484" cy="7007462"/>
          </a:xfrm>
          <a:prstGeom prst="rect">
            <a:avLst/>
          </a:prstGeom>
          <a:solidFill>
            <a:srgbClr val="00A44A">
              <a:alpha val="8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2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F0E3A28-E8DD-B348-9EBE-70FA79CA111B}"/>
              </a:ext>
            </a:extLst>
          </p:cNvPr>
          <p:cNvSpPr txBox="1"/>
          <p:nvPr userDrawn="1"/>
        </p:nvSpPr>
        <p:spPr>
          <a:xfrm>
            <a:off x="6433451" y="5568702"/>
            <a:ext cx="2554354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620" b="1" dirty="0">
                <a:solidFill>
                  <a:schemeClr val="bg2"/>
                </a:solidFill>
                <a:latin typeface="Roboto Condensed"/>
                <a:ea typeface="Roboto" panose="02000000000000000000" pitchFamily="2" charset="0"/>
                <a:cs typeface="Roboto" panose="02000000000000000000" pitchFamily="2" charset="0"/>
              </a:rPr>
              <a:t>Vistula School of </a:t>
            </a:r>
            <a:r>
              <a:rPr lang="pl-PL" sz="1620" b="1" dirty="0" err="1">
                <a:solidFill>
                  <a:schemeClr val="bg2"/>
                </a:solidFill>
                <a:latin typeface="Roboto Condensed"/>
                <a:ea typeface="Roboto" panose="02000000000000000000" pitchFamily="2" charset="0"/>
                <a:cs typeface="Roboto" panose="02000000000000000000" pitchFamily="2" charset="0"/>
              </a:rPr>
              <a:t>Hospitality</a:t>
            </a:r>
            <a:endParaRPr lang="en-US" sz="1800" dirty="0">
              <a:solidFill>
                <a:schemeClr val="bg2"/>
              </a:solidFill>
              <a:latin typeface="Roboto Condensed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pl-PL" sz="1440" dirty="0">
                <a:solidFill>
                  <a:schemeClr val="bg2"/>
                </a:solidFill>
                <a:latin typeface="Roboto Condensed"/>
                <a:ea typeface="Roboto" panose="02000000000000000000" pitchFamily="2" charset="0"/>
                <a:cs typeface="Roboto" panose="02000000000000000000" pitchFamily="2" charset="0"/>
              </a:rPr>
              <a:t>3 Stokłosy St.</a:t>
            </a:r>
          </a:p>
          <a:p>
            <a:r>
              <a:rPr lang="pl-PL" sz="1440" dirty="0">
                <a:solidFill>
                  <a:schemeClr val="bg2"/>
                </a:solidFill>
                <a:latin typeface="Roboto Condensed"/>
                <a:ea typeface="Roboto" panose="02000000000000000000" pitchFamily="2" charset="0"/>
                <a:cs typeface="Roboto" panose="02000000000000000000" pitchFamily="2" charset="0"/>
              </a:rPr>
              <a:t>02-787 </a:t>
            </a:r>
            <a:r>
              <a:rPr lang="pl-PL" sz="1440" dirty="0" err="1">
                <a:solidFill>
                  <a:schemeClr val="bg2"/>
                </a:solidFill>
                <a:latin typeface="Roboto Condensed"/>
                <a:ea typeface="Roboto" panose="02000000000000000000" pitchFamily="2" charset="0"/>
                <a:cs typeface="Roboto" panose="02000000000000000000" pitchFamily="2" charset="0"/>
              </a:rPr>
              <a:t>Warsaw</a:t>
            </a:r>
            <a:r>
              <a:rPr lang="pl-PL" sz="1440" dirty="0">
                <a:solidFill>
                  <a:schemeClr val="bg2"/>
                </a:solidFill>
                <a:latin typeface="Roboto Condensed"/>
                <a:ea typeface="Roboto" panose="02000000000000000000" pitchFamily="2" charset="0"/>
                <a:cs typeface="Roboto" panose="02000000000000000000" pitchFamily="2" charset="0"/>
              </a:rPr>
              <a:t>, Polan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4C61517-6A15-5948-A64E-B1E6DAB12C7C}"/>
              </a:ext>
            </a:extLst>
          </p:cNvPr>
          <p:cNvSpPr/>
          <p:nvPr userDrawn="1"/>
        </p:nvSpPr>
        <p:spPr>
          <a:xfrm>
            <a:off x="0" y="5692878"/>
            <a:ext cx="5368413" cy="116512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20"/>
          </a:p>
        </p:txBody>
      </p:sp>
      <p:sp>
        <p:nvSpPr>
          <p:cNvPr id="5" name="TextBox 13">
            <a:extLst>
              <a:ext uri="{FF2B5EF4-FFF2-40B4-BE49-F238E27FC236}">
                <a16:creationId xmlns:a16="http://schemas.microsoft.com/office/drawing/2014/main" id="{9623C952-74FF-3346-9CB8-3929CEEF7E62}"/>
              </a:ext>
            </a:extLst>
          </p:cNvPr>
          <p:cNvSpPr txBox="1"/>
          <p:nvPr userDrawn="1"/>
        </p:nvSpPr>
        <p:spPr>
          <a:xfrm>
            <a:off x="482842" y="5445592"/>
            <a:ext cx="5085316" cy="8956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160" b="1" u="none" dirty="0" err="1">
                <a:latin typeface="Roboto Condensed Light" panose="02000000000000000000" pitchFamily="2" charset="0"/>
                <a:ea typeface="Roboto Condensed Light" panose="02000000000000000000" pitchFamily="2" charset="0"/>
                <a:cs typeface="Roboto Condensed Light" panose="02000000000000000000" pitchFamily="2" charset="0"/>
              </a:rPr>
              <a:t>More</a:t>
            </a:r>
            <a:r>
              <a:rPr lang="pl-PL" sz="2160" b="1" u="none" dirty="0">
                <a:latin typeface="Roboto Condensed Light" panose="02000000000000000000" pitchFamily="2" charset="0"/>
                <a:ea typeface="Roboto Condensed Light" panose="02000000000000000000" pitchFamily="2" charset="0"/>
                <a:cs typeface="Roboto Condensed Light" panose="02000000000000000000" pitchFamily="2" charset="0"/>
              </a:rPr>
              <a:t> on: </a:t>
            </a:r>
          </a:p>
          <a:p>
            <a:endParaRPr lang="pl-PL" sz="1440" b="1" u="none" dirty="0">
              <a:latin typeface="Roboto Condensed Light" panose="02000000000000000000" pitchFamily="2" charset="0"/>
              <a:ea typeface="Roboto Condensed Light" panose="02000000000000000000" pitchFamily="2" charset="0"/>
              <a:cs typeface="Roboto Condensed Light" panose="02000000000000000000" pitchFamily="2" charset="0"/>
            </a:endParaRPr>
          </a:p>
          <a:p>
            <a:r>
              <a:rPr lang="pl-PL" sz="1620" b="1" u="none" dirty="0">
                <a:latin typeface="Roboto Condensed Light" panose="02000000000000000000" pitchFamily="2" charset="0"/>
                <a:ea typeface="Roboto Condensed Light" panose="02000000000000000000" pitchFamily="2" charset="0"/>
                <a:cs typeface="Roboto Condensed Light" panose="02000000000000000000" pitchFamily="2" charset="0"/>
                <a:hlinkClick r:id="rId3"/>
              </a:rPr>
              <a:t>www.vistulahospitality.edu.pl</a:t>
            </a:r>
            <a:endParaRPr lang="pl-PL" sz="1620" b="1" u="none" dirty="0">
              <a:latin typeface="Roboto Condensed Light" panose="02000000000000000000" pitchFamily="2" charset="0"/>
              <a:ea typeface="Roboto Condensed Light" panose="02000000000000000000" pitchFamily="2" charset="0"/>
              <a:cs typeface="Roboto Condensed Light" panose="02000000000000000000" pitchFamily="2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0FF45F-76C5-9D40-9A45-A81BD9EE83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2600" y="2152574"/>
            <a:ext cx="4886325" cy="2441650"/>
          </a:xfrm>
        </p:spPr>
        <p:txBody>
          <a:bodyPr>
            <a:normAutofit/>
          </a:bodyPr>
          <a:lstStyle>
            <a:lvl1pPr marL="0" indent="0">
              <a:buNone/>
              <a:defRPr sz="1620" b="1"/>
            </a:lvl1pPr>
          </a:lstStyle>
          <a:p>
            <a:pPr lvl="0"/>
            <a:r>
              <a:rPr lang="en-US" dirty="0"/>
              <a:t>Contacts of the author</a:t>
            </a:r>
          </a:p>
          <a:p>
            <a:pPr lvl="0"/>
            <a:r>
              <a:rPr lang="en-US"/>
              <a:t>First name </a:t>
            </a:r>
            <a:r>
              <a:rPr lang="en-US" dirty="0"/>
              <a:t>Last name</a:t>
            </a:r>
          </a:p>
          <a:p>
            <a:pPr lvl="0"/>
            <a:r>
              <a:rPr lang="en-US" dirty="0" err="1"/>
              <a:t>email@vistula.edu.pl</a:t>
            </a:r>
            <a:endParaRPr lang="en-US" dirty="0"/>
          </a:p>
          <a:p>
            <a:pPr lvl="0"/>
            <a:r>
              <a:rPr lang="en-US" dirty="0"/>
              <a:t>+48 123 456 789</a:t>
            </a:r>
            <a:endParaRPr lang="pl-PL" dirty="0"/>
          </a:p>
        </p:txBody>
      </p:sp>
      <p:pic>
        <p:nvPicPr>
          <p:cNvPr id="8" name="Picture 7" descr="A picture containing drawing, room&#10;&#10;Description automatically generated">
            <a:extLst>
              <a:ext uri="{FF2B5EF4-FFF2-40B4-BE49-F238E27FC236}">
                <a16:creationId xmlns:a16="http://schemas.microsoft.com/office/drawing/2014/main" id="{DACA4E0E-BF76-DD41-AC77-709F3C5175B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2353" y="4371030"/>
            <a:ext cx="1005671" cy="113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2909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44280E5-591E-E79A-CC51-721B994244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7B364242-5C73-E5D3-BA5B-D0C4CE4E41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0BCEB974-EE3F-4F2E-6C3E-74D6A5C7F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135B20BA-7633-ADC8-F473-A83B50FD5B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4DA5F6-B7AE-43C7-9FF2-8AE9DCAA8F0B}" type="datetimeFigureOut">
              <a:rPr lang="pl-PL" smtClean="0"/>
              <a:t>18.05.2026</a:t>
            </a:fld>
            <a:endParaRPr lang="pl-PL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81C6724D-07F7-6B6F-C836-EC16F2CD23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C50CB85B-E702-5498-03FA-1802B4AE38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81AB-1FA4-4097-8317-62035282E2A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975655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3D41B20-F764-5028-1526-5727B361C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BD04590F-FC14-6B20-D7CD-1F3A7560C4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508320A2-3DFA-2CBD-E7F2-4A793EBDE7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566884A1-486A-C566-6543-A7B2BECA93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51C85027-B271-D84E-1FCE-658BBC0EED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Symbol zastępczy daty 6">
            <a:extLst>
              <a:ext uri="{FF2B5EF4-FFF2-40B4-BE49-F238E27FC236}">
                <a16:creationId xmlns:a16="http://schemas.microsoft.com/office/drawing/2014/main" id="{04E18396-8019-EE3A-BC4A-8C1C062A0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4DA5F6-B7AE-43C7-9FF2-8AE9DCAA8F0B}" type="datetimeFigureOut">
              <a:rPr lang="pl-PL" smtClean="0"/>
              <a:t>18.05.2026</a:t>
            </a:fld>
            <a:endParaRPr lang="pl-PL"/>
          </a:p>
        </p:txBody>
      </p:sp>
      <p:sp>
        <p:nvSpPr>
          <p:cNvPr id="8" name="Symbol zastępczy stopki 7">
            <a:extLst>
              <a:ext uri="{FF2B5EF4-FFF2-40B4-BE49-F238E27FC236}">
                <a16:creationId xmlns:a16="http://schemas.microsoft.com/office/drawing/2014/main" id="{B5570601-3CEE-F7B2-4316-46994A1905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ymbol zastępczy numeru slajdu 8">
            <a:extLst>
              <a:ext uri="{FF2B5EF4-FFF2-40B4-BE49-F238E27FC236}">
                <a16:creationId xmlns:a16="http://schemas.microsoft.com/office/drawing/2014/main" id="{217B7866-0706-2A1F-5F99-1E07DCB75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81AB-1FA4-4097-8317-62035282E2A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847892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48AC66DE-0AE3-8FE3-1133-120DAA2B6E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F6094E15-2D23-495C-4B29-D5F7199E76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4DA5F6-B7AE-43C7-9FF2-8AE9DCAA8F0B}" type="datetimeFigureOut">
              <a:rPr lang="pl-PL" smtClean="0"/>
              <a:t>18.05.2026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3A16EA33-AA05-9AD0-7479-6AB40636A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1D9C8997-EBB9-7E43-AEE8-F46109AF15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81AB-1FA4-4097-8317-62035282E2A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058095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>
            <a:extLst>
              <a:ext uri="{FF2B5EF4-FFF2-40B4-BE49-F238E27FC236}">
                <a16:creationId xmlns:a16="http://schemas.microsoft.com/office/drawing/2014/main" id="{E998BC1D-9DB3-CB07-5ACA-638D869BAF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4DA5F6-B7AE-43C7-9FF2-8AE9DCAA8F0B}" type="datetimeFigureOut">
              <a:rPr lang="pl-PL" smtClean="0"/>
              <a:t>18.05.2026</a:t>
            </a:fld>
            <a:endParaRPr lang="pl-PL"/>
          </a:p>
        </p:txBody>
      </p:sp>
      <p:sp>
        <p:nvSpPr>
          <p:cNvPr id="3" name="Symbol zastępczy stopki 2">
            <a:extLst>
              <a:ext uri="{FF2B5EF4-FFF2-40B4-BE49-F238E27FC236}">
                <a16:creationId xmlns:a16="http://schemas.microsoft.com/office/drawing/2014/main" id="{0698BBE1-8689-667C-CFD2-B8EEF7307F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D4D6F49E-94B0-0CE1-1664-A01447D9A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81AB-1FA4-4097-8317-62035282E2A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6877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5046576-D2F1-707E-AD2F-AD4F298336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376CF686-B360-D10B-959B-6A475BD538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278A29B6-C8CD-B631-7FF5-403DCCE7E6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06A8D03D-471F-0CC8-CC74-042023F14F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4DA5F6-B7AE-43C7-9FF2-8AE9DCAA8F0B}" type="datetimeFigureOut">
              <a:rPr lang="pl-PL" smtClean="0"/>
              <a:t>18.05.2026</a:t>
            </a:fld>
            <a:endParaRPr lang="pl-PL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3CA8600C-4F7B-A31F-C9B8-5C42368407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2ED12E0A-B670-1C76-9C33-48AFE5FEE7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81AB-1FA4-4097-8317-62035282E2A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754542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E9FE48B-0C87-3873-4D25-6232A544E8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id="{E52CEA45-6ADC-7FD5-5F80-67EC831D6A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A248FC8C-DCBF-9293-DA11-165BBB8EE5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16A9E86D-88C5-21B4-66E8-6A0EC3AE18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4DA5F6-B7AE-43C7-9FF2-8AE9DCAA8F0B}" type="datetimeFigureOut">
              <a:rPr lang="pl-PL" smtClean="0"/>
              <a:t>18.05.2026</a:t>
            </a:fld>
            <a:endParaRPr lang="pl-PL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485959AC-2B27-5D50-2EE2-88848A68F3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EA8003FE-DB44-1D85-C1A3-A46462A20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81AB-1FA4-4097-8317-62035282E2A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658704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7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0F2B8743-C51F-F469-7046-C39A5A7807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7B6D2620-ED9F-5519-232A-9E71B2823C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9CA51C92-DEE8-9B59-F188-1803C2EFDF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94DA5F6-B7AE-43C7-9FF2-8AE9DCAA8F0B}" type="datetimeFigureOut">
              <a:rPr lang="pl-PL" smtClean="0"/>
              <a:t>18.05.2026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A72936BF-70CC-3ECE-6ECF-7B6CAC9A3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0F7D9CB4-BC6C-07D0-2D22-04E903150A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2F681AB-1FA4-4097-8317-62035282E2A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06348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5538EA4D-B71F-3E47-9CEB-B59B2E557C88}"/>
              </a:ext>
            </a:extLst>
          </p:cNvPr>
          <p:cNvSpPr/>
          <p:nvPr userDrawn="1"/>
        </p:nvSpPr>
        <p:spPr>
          <a:xfrm>
            <a:off x="11136114" y="376962"/>
            <a:ext cx="297789" cy="297712"/>
          </a:xfrm>
          <a:prstGeom prst="ellipse">
            <a:avLst/>
          </a:prstGeom>
          <a:solidFill>
            <a:srgbClr val="659F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4AFA0A0-434E-E340-A675-5E45B45DDFED}"/>
              </a:ext>
            </a:extLst>
          </p:cNvPr>
          <p:cNvSpPr txBox="1"/>
          <p:nvPr userDrawn="1"/>
        </p:nvSpPr>
        <p:spPr>
          <a:xfrm>
            <a:off x="11019094" y="352094"/>
            <a:ext cx="536934" cy="357054"/>
          </a:xfrm>
          <a:prstGeom prst="ellipse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C2130A1F-96FE-9345-9E91-FD9BE4197128}" type="slidenum">
              <a:rPr lang="en-US" sz="1050" b="0" i="0" spc="0" smtClean="0">
                <a:solidFill>
                  <a:schemeClr val="bg1"/>
                </a:solidFill>
                <a:latin typeface="Poppins Medium" pitchFamily="2" charset="77"/>
                <a:cs typeface="Poppins Medium" pitchFamily="2" charset="77"/>
              </a:rPr>
              <a:pPr algn="ctr"/>
              <a:t>‹#›</a:t>
            </a:fld>
            <a:endParaRPr lang="en-US" sz="1050" b="0" i="0" spc="0" dirty="0">
              <a:solidFill>
                <a:schemeClr val="bg1"/>
              </a:solidFill>
              <a:latin typeface="Poppins Medium" pitchFamily="2" charset="77"/>
              <a:cs typeface="Poppins Medium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85143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hdr="0" ftr="0" dt="0"/>
  <p:txStyles>
    <p:titleStyle>
      <a:lvl1pPr algn="l" defTabSz="914172" rtl="0" eaLnBrk="1" latinLnBrk="0" hangingPunct="1">
        <a:lnSpc>
          <a:spcPct val="90000"/>
        </a:lnSpc>
        <a:spcBef>
          <a:spcPct val="0"/>
        </a:spcBef>
        <a:buNone/>
        <a:defRPr sz="4399" b="1" i="0" kern="1200">
          <a:solidFill>
            <a:schemeClr val="tx2"/>
          </a:solidFill>
          <a:latin typeface="Poppins" pitchFamily="2" charset="77"/>
          <a:ea typeface="+mj-ea"/>
          <a:cs typeface="+mj-cs"/>
        </a:defRPr>
      </a:lvl1pPr>
    </p:titleStyle>
    <p:bodyStyle>
      <a:lvl1pPr marL="0" indent="0" algn="l" defTabSz="91417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1pPr>
      <a:lvl2pPr marL="457086" indent="0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2pPr>
      <a:lvl3pPr marL="914172" indent="0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3pPr>
      <a:lvl4pPr marL="1371257" indent="0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4pPr>
      <a:lvl5pPr marL="1828343" indent="0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5pPr>
      <a:lvl6pPr marL="2513972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2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296C026-DAFF-329F-D307-A0B92C4077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91255044"/>
              </p:ext>
            </p:extLst>
          </p:nvPr>
        </p:nvGraphicFramePr>
        <p:xfrm>
          <a:off x="1810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84" imgH="486" progId="TCLayout.ActiveDocument.1">
                  <p:embed/>
                </p:oleObj>
              </mc:Choice>
              <mc:Fallback>
                <p:oleObj name="think-cell Slide" r:id="rId11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96C026-DAFF-329F-D307-A0B92C4077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810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 userDrawn="1"/>
        </p:nvSpPr>
        <p:spPr>
          <a:xfrm>
            <a:off x="0" y="0"/>
            <a:ext cx="12190552" cy="582728"/>
          </a:xfrm>
          <a:custGeom>
            <a:avLst/>
            <a:gdLst/>
            <a:ahLst/>
            <a:cxnLst/>
            <a:rect l="l" t="t" r="r" b="b"/>
            <a:pathLst>
              <a:path w="10692130" h="642620">
                <a:moveTo>
                  <a:pt x="10692003" y="0"/>
                </a:moveTo>
                <a:lnTo>
                  <a:pt x="0" y="0"/>
                </a:lnTo>
                <a:lnTo>
                  <a:pt x="0" y="642175"/>
                </a:lnTo>
                <a:lnTo>
                  <a:pt x="10692003" y="642175"/>
                </a:lnTo>
                <a:lnTo>
                  <a:pt x="10692003" y="0"/>
                </a:lnTo>
                <a:close/>
              </a:path>
            </a:pathLst>
          </a:custGeom>
          <a:solidFill>
            <a:srgbClr val="D5172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44362" y="208758"/>
            <a:ext cx="742803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4383" y="2241482"/>
            <a:ext cx="979704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rgbClr val="231F20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9697038" y="6477000"/>
            <a:ext cx="2160000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fld id="{B6F15528-21DE-4FAA-801E-634DDDAF4B2B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1226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</p:sldLayoutIdLst>
  <p:txStyles>
    <p:titleStyle>
      <a:lvl1pPr>
        <a:defRPr>
          <a:solidFill>
            <a:schemeClr val="tx1"/>
          </a:solidFill>
          <a:latin typeface="Lato" panose="020F0502020204030203" pitchFamily="34" charset="-18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14589">
        <a:defRPr>
          <a:latin typeface="+mn-lt"/>
          <a:ea typeface="+mn-ea"/>
          <a:cs typeface="+mn-cs"/>
        </a:defRPr>
      </a:lvl2pPr>
      <a:lvl3pPr marL="829178">
        <a:defRPr>
          <a:latin typeface="+mn-lt"/>
          <a:ea typeface="+mn-ea"/>
          <a:cs typeface="+mn-cs"/>
        </a:defRPr>
      </a:lvl3pPr>
      <a:lvl4pPr marL="1243767">
        <a:defRPr>
          <a:latin typeface="+mn-lt"/>
          <a:ea typeface="+mn-ea"/>
          <a:cs typeface="+mn-cs"/>
        </a:defRPr>
      </a:lvl4pPr>
      <a:lvl5pPr marL="1658356">
        <a:defRPr>
          <a:latin typeface="+mn-lt"/>
          <a:ea typeface="+mn-ea"/>
          <a:cs typeface="+mn-cs"/>
        </a:defRPr>
      </a:lvl5pPr>
      <a:lvl6pPr marL="2072945">
        <a:defRPr>
          <a:latin typeface="+mn-lt"/>
          <a:ea typeface="+mn-ea"/>
          <a:cs typeface="+mn-cs"/>
        </a:defRPr>
      </a:lvl6pPr>
      <a:lvl7pPr marL="2487534">
        <a:defRPr>
          <a:latin typeface="+mn-lt"/>
          <a:ea typeface="+mn-ea"/>
          <a:cs typeface="+mn-cs"/>
        </a:defRPr>
      </a:lvl7pPr>
      <a:lvl8pPr marL="2902123">
        <a:defRPr>
          <a:latin typeface="+mn-lt"/>
          <a:ea typeface="+mn-ea"/>
          <a:cs typeface="+mn-cs"/>
        </a:defRPr>
      </a:lvl8pPr>
      <a:lvl9pPr marL="3316712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14589">
        <a:defRPr>
          <a:latin typeface="+mn-lt"/>
          <a:ea typeface="+mn-ea"/>
          <a:cs typeface="+mn-cs"/>
        </a:defRPr>
      </a:lvl2pPr>
      <a:lvl3pPr marL="829178">
        <a:defRPr>
          <a:latin typeface="+mn-lt"/>
          <a:ea typeface="+mn-ea"/>
          <a:cs typeface="+mn-cs"/>
        </a:defRPr>
      </a:lvl3pPr>
      <a:lvl4pPr marL="1243767">
        <a:defRPr>
          <a:latin typeface="+mn-lt"/>
          <a:ea typeface="+mn-ea"/>
          <a:cs typeface="+mn-cs"/>
        </a:defRPr>
      </a:lvl4pPr>
      <a:lvl5pPr marL="1658356">
        <a:defRPr>
          <a:latin typeface="+mn-lt"/>
          <a:ea typeface="+mn-ea"/>
          <a:cs typeface="+mn-cs"/>
        </a:defRPr>
      </a:lvl5pPr>
      <a:lvl6pPr marL="2072945">
        <a:defRPr>
          <a:latin typeface="+mn-lt"/>
          <a:ea typeface="+mn-ea"/>
          <a:cs typeface="+mn-cs"/>
        </a:defRPr>
      </a:lvl6pPr>
      <a:lvl7pPr marL="2487534">
        <a:defRPr>
          <a:latin typeface="+mn-lt"/>
          <a:ea typeface="+mn-ea"/>
          <a:cs typeface="+mn-cs"/>
        </a:defRPr>
      </a:lvl7pPr>
      <a:lvl8pPr marL="2902123">
        <a:defRPr>
          <a:latin typeface="+mn-lt"/>
          <a:ea typeface="+mn-ea"/>
          <a:cs typeface="+mn-cs"/>
        </a:defRPr>
      </a:lvl8pPr>
      <a:lvl9pPr marL="3316712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212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274">
          <p15:clr>
            <a:srgbClr val="F26B43"/>
          </p15:clr>
        </p15:guide>
        <p15:guide id="5" orient="horz" pos="845">
          <p15:clr>
            <a:srgbClr val="F26B43"/>
          </p15:clr>
        </p15:guide>
        <p15:guide id="6" orient="horz" pos="98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37F3DAD-DC49-CF40-89A5-C2A3CCEE7B62}"/>
              </a:ext>
            </a:extLst>
          </p:cNvPr>
          <p:cNvSpPr/>
          <p:nvPr userDrawn="1"/>
        </p:nvSpPr>
        <p:spPr>
          <a:xfrm>
            <a:off x="11120647" y="381000"/>
            <a:ext cx="310742" cy="31066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4AFA0A0-434E-E340-A675-5E45B45DDFED}"/>
              </a:ext>
            </a:extLst>
          </p:cNvPr>
          <p:cNvSpPr txBox="1"/>
          <p:nvPr userDrawn="1"/>
        </p:nvSpPr>
        <p:spPr>
          <a:xfrm>
            <a:off x="11172624" y="451692"/>
            <a:ext cx="206788" cy="1692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C2130A1F-96FE-9345-9E91-FD9BE4197128}" type="slidenum">
              <a:rPr lang="en-US" sz="1100" b="0" i="0" spc="0" smtClean="0">
                <a:solidFill>
                  <a:schemeClr val="bg1"/>
                </a:solidFill>
                <a:latin typeface="Poppins Medium" pitchFamily="2" charset="77"/>
                <a:cs typeface="Poppins Medium" pitchFamily="2" charset="77"/>
              </a:rPr>
              <a:pPr algn="ctr"/>
              <a:t>‹#›</a:t>
            </a:fld>
            <a:endParaRPr lang="en-US" sz="1100" b="0" i="0" spc="0" dirty="0">
              <a:solidFill>
                <a:schemeClr val="bg1"/>
              </a:solidFill>
              <a:latin typeface="Poppins Medium" pitchFamily="2" charset="77"/>
              <a:cs typeface="Poppins Medium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882032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</p:sldLayoutIdLst>
  <p:hf hdr="0" ftr="0" dt="0"/>
  <p:txStyles>
    <p:titleStyle>
      <a:lvl1pPr algn="l" defTabSz="914172" rtl="0" eaLnBrk="1" latinLnBrk="0" hangingPunct="1">
        <a:lnSpc>
          <a:spcPct val="90000"/>
        </a:lnSpc>
        <a:spcBef>
          <a:spcPct val="0"/>
        </a:spcBef>
        <a:buNone/>
        <a:defRPr sz="4399" b="1" i="0" kern="1200">
          <a:solidFill>
            <a:schemeClr val="tx2"/>
          </a:solidFill>
          <a:latin typeface="Poppins" pitchFamily="2" charset="77"/>
          <a:ea typeface="+mj-ea"/>
          <a:cs typeface="+mj-cs"/>
        </a:defRPr>
      </a:lvl1pPr>
    </p:titleStyle>
    <p:bodyStyle>
      <a:lvl1pPr marL="0" indent="0" algn="l" defTabSz="91417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1pPr>
      <a:lvl2pPr marL="457086" indent="0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2pPr>
      <a:lvl3pPr marL="914172" indent="0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3pPr>
      <a:lvl4pPr marL="1371257" indent="0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4pPr>
      <a:lvl5pPr marL="1828343" indent="0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5pPr>
      <a:lvl6pPr marL="2513972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2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0714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49522">
        <a:defRPr>
          <a:latin typeface="+mn-lt"/>
          <a:ea typeface="+mn-ea"/>
          <a:cs typeface="+mn-cs"/>
        </a:defRPr>
      </a:lvl2pPr>
      <a:lvl3pPr marL="499043">
        <a:defRPr>
          <a:latin typeface="+mn-lt"/>
          <a:ea typeface="+mn-ea"/>
          <a:cs typeface="+mn-cs"/>
        </a:defRPr>
      </a:lvl3pPr>
      <a:lvl4pPr marL="748565">
        <a:defRPr>
          <a:latin typeface="+mn-lt"/>
          <a:ea typeface="+mn-ea"/>
          <a:cs typeface="+mn-cs"/>
        </a:defRPr>
      </a:lvl4pPr>
      <a:lvl5pPr marL="998086">
        <a:defRPr>
          <a:latin typeface="+mn-lt"/>
          <a:ea typeface="+mn-ea"/>
          <a:cs typeface="+mn-cs"/>
        </a:defRPr>
      </a:lvl5pPr>
      <a:lvl6pPr marL="1247608">
        <a:defRPr>
          <a:latin typeface="+mn-lt"/>
          <a:ea typeface="+mn-ea"/>
          <a:cs typeface="+mn-cs"/>
        </a:defRPr>
      </a:lvl6pPr>
      <a:lvl7pPr marL="1497128">
        <a:defRPr>
          <a:latin typeface="+mn-lt"/>
          <a:ea typeface="+mn-ea"/>
          <a:cs typeface="+mn-cs"/>
        </a:defRPr>
      </a:lvl7pPr>
      <a:lvl8pPr marL="1746650">
        <a:defRPr>
          <a:latin typeface="+mn-lt"/>
          <a:ea typeface="+mn-ea"/>
          <a:cs typeface="+mn-cs"/>
        </a:defRPr>
      </a:lvl8pPr>
      <a:lvl9pPr marL="199617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49522">
        <a:defRPr>
          <a:latin typeface="+mn-lt"/>
          <a:ea typeface="+mn-ea"/>
          <a:cs typeface="+mn-cs"/>
        </a:defRPr>
      </a:lvl2pPr>
      <a:lvl3pPr marL="499043">
        <a:defRPr>
          <a:latin typeface="+mn-lt"/>
          <a:ea typeface="+mn-ea"/>
          <a:cs typeface="+mn-cs"/>
        </a:defRPr>
      </a:lvl3pPr>
      <a:lvl4pPr marL="748565">
        <a:defRPr>
          <a:latin typeface="+mn-lt"/>
          <a:ea typeface="+mn-ea"/>
          <a:cs typeface="+mn-cs"/>
        </a:defRPr>
      </a:lvl4pPr>
      <a:lvl5pPr marL="998086">
        <a:defRPr>
          <a:latin typeface="+mn-lt"/>
          <a:ea typeface="+mn-ea"/>
          <a:cs typeface="+mn-cs"/>
        </a:defRPr>
      </a:lvl5pPr>
      <a:lvl6pPr marL="1247608">
        <a:defRPr>
          <a:latin typeface="+mn-lt"/>
          <a:ea typeface="+mn-ea"/>
          <a:cs typeface="+mn-cs"/>
        </a:defRPr>
      </a:lvl6pPr>
      <a:lvl7pPr marL="1497128">
        <a:defRPr>
          <a:latin typeface="+mn-lt"/>
          <a:ea typeface="+mn-ea"/>
          <a:cs typeface="+mn-cs"/>
        </a:defRPr>
      </a:lvl7pPr>
      <a:lvl8pPr marL="1746650">
        <a:defRPr>
          <a:latin typeface="+mn-lt"/>
          <a:ea typeface="+mn-ea"/>
          <a:cs typeface="+mn-cs"/>
        </a:defRPr>
      </a:lvl8pPr>
      <a:lvl9pPr marL="199617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7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hyperlink" Target="https://www.gov.pl/web/sport/kodeks-dobrego-zarzadzania-dla-pzs45" TargetMode="External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orldathletics.org/about-iaaf/documents/strategic-plans-and-reports" TargetMode="External"/><Relationship Id="rId5" Type="http://schemas.openxmlformats.org/officeDocument/2006/relationships/hyperlink" Target="https://strategicplan.ittf.com/" TargetMode="External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zpn.pl/public/files/strategia%20zrownowazonego%20rozwoju_2023_2027.pdf" TargetMode="Externa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orldathletics.org/about-iaaf/documents/strategic-plans-and-reports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worldathletics.org/about-iaaf/documents/strategic-plans-and-reports" TargetMode="External"/><Relationship Id="rId4" Type="http://schemas.openxmlformats.org/officeDocument/2006/relationships/image" Target="../media/image4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orldathletics.org/about-iaaf/documents/strategic-plans-and-reports" TargetMode="External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www.pzpn.pl/public/files/strategia%20zrownowazonego%20rozwoju_2023_2027.pdf" TargetMode="External"/><Relationship Id="rId4" Type="http://schemas.openxmlformats.org/officeDocument/2006/relationships/hyperlink" Target="https://www.eurohandball.com/en/what-we-do/development/master-plan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www.gov.pl/web/sport/kodeks-dobrego-zarzadzania-dla-pzs45" TargetMode="Externa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7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BA7FEAC-C2C1-5387-387C-FE1E0B710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B91204FC-BC74-EA5E-61B1-BAC4FD403C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46F0322-9EE5-0D36-AE37-5F8FF01FEC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9FE8D133-D40B-7875-02B8-D76E7CF30C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3408" y="992094"/>
            <a:ext cx="3616913" cy="2795160"/>
          </a:xfrm>
        </p:spPr>
        <p:txBody>
          <a:bodyPr>
            <a:normAutofit fontScale="90000"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Master Plan rozwoju polskiego  związku sportowego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B41C2E55-83D5-ED26-D723-19A1C44364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3408" y="4358320"/>
            <a:ext cx="4145725" cy="1136843"/>
          </a:xfrm>
        </p:spPr>
        <p:txBody>
          <a:bodyPr>
            <a:noAutofit/>
          </a:bodyPr>
          <a:lstStyle/>
          <a:p>
            <a:r>
              <a:rPr lang="pl-PL" b="1" dirty="0">
                <a:solidFill>
                  <a:srgbClr val="0070C0"/>
                </a:solidFill>
              </a:rPr>
              <a:t>Jolanta Żyśko, </a:t>
            </a:r>
          </a:p>
          <a:p>
            <a:r>
              <a:rPr lang="pl-PL" b="1" dirty="0">
                <a:solidFill>
                  <a:srgbClr val="0070C0"/>
                </a:solidFill>
              </a:rPr>
              <a:t>Warszawa</a:t>
            </a:r>
            <a:r>
              <a:rPr lang="pl-PL" b="1">
                <a:solidFill>
                  <a:srgbClr val="0070C0"/>
                </a:solidFill>
              </a:rPr>
              <a:t>, 15 </a:t>
            </a:r>
            <a:r>
              <a:rPr lang="pl-PL" b="1" dirty="0">
                <a:solidFill>
                  <a:srgbClr val="0070C0"/>
                </a:solidFill>
              </a:rPr>
              <a:t>maja 2026</a:t>
            </a: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CBE1BCAE-BE81-2A38-7A57-E14957A6A3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88352" y="1492634"/>
            <a:ext cx="3391194" cy="3619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725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2B1621A-9554-434F-BB18-69B1AE72B46E}"/>
              </a:ext>
            </a:extLst>
          </p:cNvPr>
          <p:cNvSpPr txBox="1"/>
          <p:nvPr/>
        </p:nvSpPr>
        <p:spPr>
          <a:xfrm>
            <a:off x="1434325" y="306186"/>
            <a:ext cx="932338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217"/>
            <a:r>
              <a:rPr lang="pl-PL" sz="3000" b="1" dirty="0">
                <a:solidFill>
                  <a:srgbClr val="445469"/>
                </a:solidFill>
                <a:latin typeface="Poppins" pitchFamily="2" charset="77"/>
                <a:cs typeface="Poppins" pitchFamily="2" charset="77"/>
              </a:rPr>
              <a:t>Identyfikacja interesariuszy zewnętrznych </a:t>
            </a:r>
            <a:r>
              <a:rPr lang="pl-PL" sz="3000" b="1" dirty="0" err="1">
                <a:solidFill>
                  <a:srgbClr val="445469"/>
                </a:solidFill>
                <a:latin typeface="Poppins" pitchFamily="2" charset="77"/>
                <a:cs typeface="Poppins" pitchFamily="2" charset="77"/>
              </a:rPr>
              <a:t>pzs</a:t>
            </a:r>
            <a:endParaRPr lang="en-US" sz="3000" b="1" dirty="0">
              <a:solidFill>
                <a:srgbClr val="445469"/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837FCC6C-CB91-9247-9F00-86142855A560}"/>
              </a:ext>
            </a:extLst>
          </p:cNvPr>
          <p:cNvSpPr/>
          <p:nvPr/>
        </p:nvSpPr>
        <p:spPr>
          <a:xfrm>
            <a:off x="5277852" y="3202632"/>
            <a:ext cx="1636295" cy="163629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endParaRPr lang="en-US" dirty="0">
              <a:solidFill>
                <a:prstClr val="white"/>
              </a:solidFill>
              <a:latin typeface="Lato Light" panose="020F0502020204030203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8889F94-8DC1-C448-B008-F39497A2D382}"/>
              </a:ext>
            </a:extLst>
          </p:cNvPr>
          <p:cNvSpPr/>
          <p:nvPr/>
        </p:nvSpPr>
        <p:spPr>
          <a:xfrm>
            <a:off x="6423395" y="1491055"/>
            <a:ext cx="1489286" cy="148928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endParaRPr lang="en-US" dirty="0">
              <a:solidFill>
                <a:prstClr val="white"/>
              </a:solidFill>
              <a:latin typeface="Lato Light" panose="020F0502020204030203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9E40569-8E8F-0A47-A580-F39EC5A6C3FF}"/>
              </a:ext>
            </a:extLst>
          </p:cNvPr>
          <p:cNvSpPr/>
          <p:nvPr/>
        </p:nvSpPr>
        <p:spPr>
          <a:xfrm>
            <a:off x="6423395" y="4987714"/>
            <a:ext cx="1489286" cy="148928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endParaRPr lang="en-US" dirty="0">
              <a:solidFill>
                <a:prstClr val="white"/>
              </a:solidFill>
              <a:latin typeface="Lato Light" panose="020F0502020204030203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698FF86-0D09-4248-9A18-B7E532A0781D}"/>
              </a:ext>
            </a:extLst>
          </p:cNvPr>
          <p:cNvSpPr/>
          <p:nvPr/>
        </p:nvSpPr>
        <p:spPr>
          <a:xfrm>
            <a:off x="4312291" y="1491055"/>
            <a:ext cx="1489286" cy="148928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endParaRPr lang="en-US" dirty="0">
              <a:solidFill>
                <a:prstClr val="white"/>
              </a:solidFill>
              <a:latin typeface="Lato Light" panose="020F0502020204030203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5059BED-AAA5-5341-82CC-BBB6477510AE}"/>
              </a:ext>
            </a:extLst>
          </p:cNvPr>
          <p:cNvSpPr/>
          <p:nvPr/>
        </p:nvSpPr>
        <p:spPr>
          <a:xfrm>
            <a:off x="4312291" y="4987714"/>
            <a:ext cx="1489286" cy="148928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endParaRPr lang="en-US" dirty="0">
              <a:solidFill>
                <a:prstClr val="white"/>
              </a:solidFill>
              <a:latin typeface="Lato Light" panose="020F0502020204030203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18DEB7B-7AF3-3C4B-A0AD-2B9DFAE7D3A6}"/>
              </a:ext>
            </a:extLst>
          </p:cNvPr>
          <p:cNvSpPr/>
          <p:nvPr/>
        </p:nvSpPr>
        <p:spPr>
          <a:xfrm>
            <a:off x="7603980" y="3276137"/>
            <a:ext cx="1489286" cy="148928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endParaRPr lang="en-US" dirty="0">
              <a:solidFill>
                <a:prstClr val="white"/>
              </a:solidFill>
              <a:latin typeface="Lato Light" panose="020F0502020204030203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A61BA03-C612-794B-BEC7-142DDD461AEC}"/>
              </a:ext>
            </a:extLst>
          </p:cNvPr>
          <p:cNvSpPr/>
          <p:nvPr/>
        </p:nvSpPr>
        <p:spPr>
          <a:xfrm>
            <a:off x="3098733" y="3276137"/>
            <a:ext cx="1489286" cy="148928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endParaRPr lang="en-US" dirty="0">
              <a:solidFill>
                <a:prstClr val="white"/>
              </a:solidFill>
              <a:latin typeface="Lato Light" panose="020F0502020204030203" pitchFamily="34" charset="0"/>
            </a:endParaRPr>
          </a:p>
        </p:txBody>
      </p:sp>
      <p:sp>
        <p:nvSpPr>
          <p:cNvPr id="13" name="Left Arrow 12">
            <a:extLst>
              <a:ext uri="{FF2B5EF4-FFF2-40B4-BE49-F238E27FC236}">
                <a16:creationId xmlns:a16="http://schemas.microsoft.com/office/drawing/2014/main" id="{668E5089-CEBA-E74C-B65E-3D4DEFB285E3}"/>
              </a:ext>
            </a:extLst>
          </p:cNvPr>
          <p:cNvSpPr/>
          <p:nvPr/>
        </p:nvSpPr>
        <p:spPr>
          <a:xfrm>
            <a:off x="7014660" y="3679108"/>
            <a:ext cx="508000" cy="312346"/>
          </a:xfrm>
          <a:prstGeom prst="lef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endParaRPr lang="en-US" dirty="0">
              <a:solidFill>
                <a:prstClr val="white"/>
              </a:solidFill>
              <a:latin typeface="Lato Light" panose="020F0502020204030203" pitchFamily="34" charset="0"/>
            </a:endParaRPr>
          </a:p>
        </p:txBody>
      </p:sp>
      <p:sp>
        <p:nvSpPr>
          <p:cNvPr id="14" name="Right Arrow 13">
            <a:extLst>
              <a:ext uri="{FF2B5EF4-FFF2-40B4-BE49-F238E27FC236}">
                <a16:creationId xmlns:a16="http://schemas.microsoft.com/office/drawing/2014/main" id="{DD0C309A-A453-534F-B067-EFCB28D72BF1}"/>
              </a:ext>
            </a:extLst>
          </p:cNvPr>
          <p:cNvSpPr/>
          <p:nvPr/>
        </p:nvSpPr>
        <p:spPr>
          <a:xfrm>
            <a:off x="4692983" y="3827854"/>
            <a:ext cx="508000" cy="31234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endParaRPr lang="en-US" dirty="0">
              <a:solidFill>
                <a:prstClr val="white"/>
              </a:solidFill>
              <a:latin typeface="Lato Light" panose="020F0502020204030203" pitchFamily="34" charset="0"/>
            </a:endParaRPr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78712D7A-35E4-7341-854F-54FB81132F2F}"/>
              </a:ext>
            </a:extLst>
          </p:cNvPr>
          <p:cNvSpPr/>
          <p:nvPr/>
        </p:nvSpPr>
        <p:spPr>
          <a:xfrm rot="2700000">
            <a:off x="5304536" y="2938439"/>
            <a:ext cx="508000" cy="31234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endParaRPr lang="en-US" dirty="0">
              <a:solidFill>
                <a:prstClr val="white"/>
              </a:solidFill>
              <a:latin typeface="Lato Light" panose="020F0502020204030203" pitchFamily="34" charset="0"/>
            </a:endParaRPr>
          </a:p>
        </p:txBody>
      </p:sp>
      <p:sp>
        <p:nvSpPr>
          <p:cNvPr id="16" name="Right Arrow 15">
            <a:extLst>
              <a:ext uri="{FF2B5EF4-FFF2-40B4-BE49-F238E27FC236}">
                <a16:creationId xmlns:a16="http://schemas.microsoft.com/office/drawing/2014/main" id="{5CB03A2A-F270-0743-9FF2-A7818BBDA8C9}"/>
              </a:ext>
            </a:extLst>
          </p:cNvPr>
          <p:cNvSpPr/>
          <p:nvPr/>
        </p:nvSpPr>
        <p:spPr>
          <a:xfrm rot="18000000">
            <a:off x="5337596" y="4701541"/>
            <a:ext cx="508000" cy="31234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endParaRPr lang="en-US" dirty="0">
              <a:solidFill>
                <a:prstClr val="white"/>
              </a:solidFill>
              <a:latin typeface="Lato Light" panose="020F0502020204030203" pitchFamily="34" charset="0"/>
            </a:endParaRPr>
          </a:p>
        </p:txBody>
      </p:sp>
      <p:sp>
        <p:nvSpPr>
          <p:cNvPr id="17" name="Left Arrow 16">
            <a:extLst>
              <a:ext uri="{FF2B5EF4-FFF2-40B4-BE49-F238E27FC236}">
                <a16:creationId xmlns:a16="http://schemas.microsoft.com/office/drawing/2014/main" id="{E2534791-5245-604F-A87F-AD583EFE7F8D}"/>
              </a:ext>
            </a:extLst>
          </p:cNvPr>
          <p:cNvSpPr/>
          <p:nvPr/>
        </p:nvSpPr>
        <p:spPr>
          <a:xfrm rot="18000000">
            <a:off x="6428673" y="3026373"/>
            <a:ext cx="508000" cy="312346"/>
          </a:xfrm>
          <a:prstGeom prst="lef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endParaRPr lang="en-US" dirty="0">
              <a:solidFill>
                <a:prstClr val="white"/>
              </a:solidFill>
              <a:latin typeface="Lato Light" panose="020F0502020204030203" pitchFamily="34" charset="0"/>
            </a:endParaRPr>
          </a:p>
        </p:txBody>
      </p:sp>
      <p:sp>
        <p:nvSpPr>
          <p:cNvPr id="18" name="Left Arrow 17">
            <a:extLst>
              <a:ext uri="{FF2B5EF4-FFF2-40B4-BE49-F238E27FC236}">
                <a16:creationId xmlns:a16="http://schemas.microsoft.com/office/drawing/2014/main" id="{EBF29AE7-1F9E-F84D-AB57-DE96315959E8}"/>
              </a:ext>
            </a:extLst>
          </p:cNvPr>
          <p:cNvSpPr/>
          <p:nvPr/>
        </p:nvSpPr>
        <p:spPr>
          <a:xfrm rot="2700000">
            <a:off x="6490369" y="4710861"/>
            <a:ext cx="508000" cy="312346"/>
          </a:xfrm>
          <a:prstGeom prst="lef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endParaRPr lang="en-US" dirty="0">
              <a:solidFill>
                <a:prstClr val="white"/>
              </a:solidFill>
              <a:latin typeface="Lato Light" panose="020F0502020204030203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5FBA48-CBBA-7C40-B3F2-C80A54CADB7A}"/>
              </a:ext>
            </a:extLst>
          </p:cNvPr>
          <p:cNvSpPr txBox="1"/>
          <p:nvPr/>
        </p:nvSpPr>
        <p:spPr>
          <a:xfrm>
            <a:off x="5505937" y="3543480"/>
            <a:ext cx="1180131" cy="96090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 defTabSz="914217">
              <a:lnSpc>
                <a:spcPts val="2250"/>
              </a:lnSpc>
            </a:pPr>
            <a:r>
              <a:rPr lang="pl-PL" sz="1600" b="1" dirty="0">
                <a:solidFill>
                  <a:prstClr val="white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Polski </a:t>
            </a:r>
          </a:p>
          <a:p>
            <a:pPr algn="ctr" defTabSz="914217">
              <a:lnSpc>
                <a:spcPts val="2250"/>
              </a:lnSpc>
            </a:pPr>
            <a:r>
              <a:rPr lang="pl-PL" sz="1600" b="1" dirty="0">
                <a:solidFill>
                  <a:prstClr val="white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związek </a:t>
            </a:r>
          </a:p>
          <a:p>
            <a:pPr algn="ctr" defTabSz="914217">
              <a:lnSpc>
                <a:spcPts val="2250"/>
              </a:lnSpc>
            </a:pPr>
            <a:r>
              <a:rPr lang="pl-PL" sz="1600" b="1" dirty="0">
                <a:solidFill>
                  <a:prstClr val="white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sportowy</a:t>
            </a:r>
            <a:endParaRPr lang="en-US" sz="1600" b="1" dirty="0">
              <a:solidFill>
                <a:prstClr val="white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BB4BCF8-CFFD-5346-A495-AE16F1F4304C}"/>
              </a:ext>
            </a:extLst>
          </p:cNvPr>
          <p:cNvSpPr txBox="1"/>
          <p:nvPr/>
        </p:nvSpPr>
        <p:spPr>
          <a:xfrm>
            <a:off x="1346237" y="3885432"/>
            <a:ext cx="976550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 defTabSz="914217"/>
            <a:r>
              <a:rPr lang="en-US" sz="1200" dirty="0">
                <a:solidFill>
                  <a:prstClr val="white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repar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D6F863A-12B5-694F-893A-0F88330E6795}"/>
              </a:ext>
            </a:extLst>
          </p:cNvPr>
          <p:cNvSpPr txBox="1"/>
          <p:nvPr/>
        </p:nvSpPr>
        <p:spPr>
          <a:xfrm>
            <a:off x="10196635" y="3885432"/>
            <a:ext cx="707246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 defTabSz="914217"/>
            <a:r>
              <a:rPr lang="en-US" sz="1200" dirty="0">
                <a:solidFill>
                  <a:prstClr val="white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eleas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0DBFD4A-2BF9-3A4D-8008-100832B00059}"/>
              </a:ext>
            </a:extLst>
          </p:cNvPr>
          <p:cNvSpPr txBox="1"/>
          <p:nvPr/>
        </p:nvSpPr>
        <p:spPr>
          <a:xfrm>
            <a:off x="4369087" y="1718494"/>
            <a:ext cx="1375698" cy="96090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 defTabSz="914217">
              <a:lnSpc>
                <a:spcPts val="2250"/>
              </a:lnSpc>
            </a:pPr>
            <a:r>
              <a:rPr lang="pl-PL" sz="1600" b="1" dirty="0">
                <a:solidFill>
                  <a:prstClr val="white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Światowa,</a:t>
            </a:r>
          </a:p>
          <a:p>
            <a:pPr algn="ctr" defTabSz="914217">
              <a:lnSpc>
                <a:spcPts val="2250"/>
              </a:lnSpc>
            </a:pPr>
            <a:r>
              <a:rPr lang="pl-PL" sz="1600" b="1" dirty="0">
                <a:solidFill>
                  <a:prstClr val="white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europejska</a:t>
            </a:r>
          </a:p>
          <a:p>
            <a:pPr algn="ctr" defTabSz="914217">
              <a:lnSpc>
                <a:spcPts val="2250"/>
              </a:lnSpc>
            </a:pPr>
            <a:r>
              <a:rPr lang="pl-PL" sz="1600" b="1" dirty="0">
                <a:solidFill>
                  <a:prstClr val="white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federacja</a:t>
            </a:r>
            <a:endParaRPr lang="en-US" sz="1600" b="1" dirty="0">
              <a:solidFill>
                <a:prstClr val="white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B7A32B6-1DD0-7246-B06C-434723846208}"/>
              </a:ext>
            </a:extLst>
          </p:cNvPr>
          <p:cNvSpPr txBox="1"/>
          <p:nvPr/>
        </p:nvSpPr>
        <p:spPr>
          <a:xfrm>
            <a:off x="6417680" y="1873151"/>
            <a:ext cx="1500732" cy="65158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 defTabSz="914217">
              <a:lnSpc>
                <a:spcPts val="2250"/>
              </a:lnSpc>
            </a:pPr>
            <a:r>
              <a:rPr lang="pl-PL" sz="1200" b="1" dirty="0">
                <a:solidFill>
                  <a:prstClr val="white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Organizacje</a:t>
            </a:r>
          </a:p>
          <a:p>
            <a:pPr algn="ctr" defTabSz="914217">
              <a:lnSpc>
                <a:spcPts val="2250"/>
              </a:lnSpc>
            </a:pPr>
            <a:r>
              <a:rPr lang="pl-PL" sz="1200" b="1" dirty="0">
                <a:solidFill>
                  <a:prstClr val="white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ponadnarodowe</a:t>
            </a:r>
            <a:endParaRPr lang="en-US" sz="1200" b="1" dirty="0">
              <a:solidFill>
                <a:prstClr val="white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237ACB3-F2FB-B94B-8A02-DACC49F53A9A}"/>
              </a:ext>
            </a:extLst>
          </p:cNvPr>
          <p:cNvSpPr txBox="1"/>
          <p:nvPr/>
        </p:nvSpPr>
        <p:spPr>
          <a:xfrm>
            <a:off x="4607936" y="5535737"/>
            <a:ext cx="898003" cy="370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 defTabSz="914217">
              <a:lnSpc>
                <a:spcPts val="2250"/>
              </a:lnSpc>
            </a:pPr>
            <a:r>
              <a:rPr lang="pl-PL" sz="1600" b="1" dirty="0">
                <a:solidFill>
                  <a:prstClr val="white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Klienci</a:t>
            </a:r>
            <a:endParaRPr lang="en-US" sz="1600" b="1" dirty="0">
              <a:solidFill>
                <a:prstClr val="white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772794C-E467-AB40-8D65-11286BA2FF60}"/>
              </a:ext>
            </a:extLst>
          </p:cNvPr>
          <p:cNvSpPr txBox="1"/>
          <p:nvPr/>
        </p:nvSpPr>
        <p:spPr>
          <a:xfrm>
            <a:off x="6504235" y="5388260"/>
            <a:ext cx="1327608" cy="66595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 defTabSz="914217">
              <a:lnSpc>
                <a:spcPts val="2250"/>
              </a:lnSpc>
            </a:pPr>
            <a:r>
              <a:rPr lang="pl-PL" sz="1600" b="1" dirty="0">
                <a:solidFill>
                  <a:prstClr val="white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Sponsorzy </a:t>
            </a:r>
          </a:p>
          <a:p>
            <a:pPr algn="ctr" defTabSz="914217">
              <a:lnSpc>
                <a:spcPts val="2250"/>
              </a:lnSpc>
            </a:pPr>
            <a:r>
              <a:rPr lang="pl-PL" sz="1600" b="1" dirty="0">
                <a:solidFill>
                  <a:prstClr val="white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partnerzy</a:t>
            </a:r>
            <a:endParaRPr lang="en-US" sz="1600" b="1" dirty="0">
              <a:solidFill>
                <a:prstClr val="white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C0F6386-F9C3-684F-BA9A-C9CD8E73DFB1}"/>
              </a:ext>
            </a:extLst>
          </p:cNvPr>
          <p:cNvSpPr txBox="1"/>
          <p:nvPr/>
        </p:nvSpPr>
        <p:spPr>
          <a:xfrm>
            <a:off x="7654795" y="3431653"/>
            <a:ext cx="1494320" cy="953723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 defTabSz="914217">
              <a:lnSpc>
                <a:spcPts val="2250"/>
              </a:lnSpc>
            </a:pPr>
            <a:r>
              <a:rPr lang="pl-PL" sz="1600" b="1" dirty="0" err="1">
                <a:solidFill>
                  <a:prstClr val="white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MSiT</a:t>
            </a:r>
            <a:endParaRPr lang="pl-PL" sz="1600" b="1" dirty="0">
              <a:solidFill>
                <a:prstClr val="white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  <a:p>
            <a:pPr algn="ctr" defTabSz="914217">
              <a:lnSpc>
                <a:spcPts val="2250"/>
              </a:lnSpc>
            </a:pPr>
            <a:r>
              <a:rPr lang="pl-PL" sz="1400" b="1" dirty="0">
                <a:solidFill>
                  <a:prstClr val="white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(inne </a:t>
            </a:r>
          </a:p>
          <a:p>
            <a:pPr algn="ctr" defTabSz="914217">
              <a:lnSpc>
                <a:spcPts val="2250"/>
              </a:lnSpc>
            </a:pPr>
            <a:r>
              <a:rPr lang="pl-PL" sz="1400" b="1" dirty="0">
                <a:solidFill>
                  <a:prstClr val="white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ministerstwa)</a:t>
            </a:r>
            <a:endParaRPr lang="en-US" sz="1400" b="1" dirty="0">
              <a:solidFill>
                <a:prstClr val="white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395C80D-19A2-9E45-9955-7CFC7477D25E}"/>
              </a:ext>
            </a:extLst>
          </p:cNvPr>
          <p:cNvSpPr txBox="1"/>
          <p:nvPr/>
        </p:nvSpPr>
        <p:spPr>
          <a:xfrm>
            <a:off x="3074578" y="3835281"/>
            <a:ext cx="1537601" cy="370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 defTabSz="914217">
              <a:lnSpc>
                <a:spcPts val="2250"/>
              </a:lnSpc>
            </a:pPr>
            <a:r>
              <a:rPr lang="pl-PL" sz="1600" b="1" dirty="0">
                <a:solidFill>
                  <a:prstClr val="white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Konkurencja</a:t>
            </a:r>
            <a:endParaRPr lang="en-US" sz="1600" b="1" dirty="0">
              <a:solidFill>
                <a:prstClr val="white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1073333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9B68F7-3E64-ECE6-D09F-D8A0B74155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760237-B55A-6603-EA18-2D2881E7C2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550" y="450402"/>
            <a:ext cx="11520488" cy="443198"/>
          </a:xfrm>
        </p:spPr>
        <p:txBody>
          <a:bodyPr wrap="square" lIns="0" tIns="0" rIns="0" bIns="0" anchor="t">
            <a:spAutoFit/>
          </a:bodyPr>
          <a:lstStyle/>
          <a:p>
            <a:r>
              <a:rPr lang="pl-PL" dirty="0"/>
              <a:t>Cele strategiczne Strategii Rozwoju Sportu</a:t>
            </a:r>
            <a:endParaRPr lang="pl-PL" i="1" dirty="0">
              <a:ea typeface="Lato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0A52922-28C8-9EA6-D0FB-E73A30E95651}"/>
              </a:ext>
            </a:extLst>
          </p:cNvPr>
          <p:cNvGrpSpPr/>
          <p:nvPr/>
        </p:nvGrpSpPr>
        <p:grpSpPr>
          <a:xfrm>
            <a:off x="442912" y="1789471"/>
            <a:ext cx="11631100" cy="5659913"/>
            <a:chOff x="618263" y="1792253"/>
            <a:chExt cx="11631100" cy="5656488"/>
          </a:xfrm>
        </p:grpSpPr>
        <p:grpSp>
          <p:nvGrpSpPr>
            <p:cNvPr id="5" name="Google Shape;3143;p194">
              <a:extLst>
                <a:ext uri="{FF2B5EF4-FFF2-40B4-BE49-F238E27FC236}">
                  <a16:creationId xmlns:a16="http://schemas.microsoft.com/office/drawing/2014/main" id="{B3F07495-5B01-8CB6-3166-3088E2A7EF29}"/>
                </a:ext>
              </a:extLst>
            </p:cNvPr>
            <p:cNvGrpSpPr/>
            <p:nvPr/>
          </p:nvGrpSpPr>
          <p:grpSpPr>
            <a:xfrm>
              <a:off x="4204426" y="1938978"/>
              <a:ext cx="4133850" cy="4259905"/>
              <a:chOff x="2811060" y="1743894"/>
              <a:chExt cx="4125175" cy="4061115"/>
            </a:xfrm>
          </p:grpSpPr>
          <p:sp>
            <p:nvSpPr>
              <p:cNvPr id="14" name="Google Shape;3144;p194">
                <a:extLst>
                  <a:ext uri="{FF2B5EF4-FFF2-40B4-BE49-F238E27FC236}">
                    <a16:creationId xmlns:a16="http://schemas.microsoft.com/office/drawing/2014/main" id="{748229E1-C731-8A94-F99F-A898CF4FB299}"/>
                  </a:ext>
                </a:extLst>
              </p:cNvPr>
              <p:cNvSpPr/>
              <p:nvPr/>
            </p:nvSpPr>
            <p:spPr>
              <a:xfrm>
                <a:off x="2811060" y="3813039"/>
                <a:ext cx="2010130" cy="1991970"/>
              </a:xfrm>
              <a:custGeom>
                <a:avLst/>
                <a:gdLst/>
                <a:ahLst/>
                <a:cxnLst/>
                <a:rect l="l" t="t" r="r" b="b"/>
                <a:pathLst>
                  <a:path w="285" h="286" extrusionOk="0">
                    <a:moveTo>
                      <a:pt x="193" y="165"/>
                    </a:moveTo>
                    <a:cubicBezTo>
                      <a:pt x="132" y="130"/>
                      <a:pt x="97" y="66"/>
                      <a:pt x="9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156"/>
                      <a:pt x="129" y="282"/>
                      <a:pt x="285" y="286"/>
                    </a:cubicBezTo>
                    <a:cubicBezTo>
                      <a:pt x="285" y="192"/>
                      <a:pt x="285" y="192"/>
                      <a:pt x="285" y="192"/>
                    </a:cubicBezTo>
                    <a:cubicBezTo>
                      <a:pt x="254" y="190"/>
                      <a:pt x="222" y="182"/>
                      <a:pt x="193" y="165"/>
                    </a:cubicBez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l-PL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5" name="Google Shape;3145;p194">
                <a:extLst>
                  <a:ext uri="{FF2B5EF4-FFF2-40B4-BE49-F238E27FC236}">
                    <a16:creationId xmlns:a16="http://schemas.microsoft.com/office/drawing/2014/main" id="{5CFB621D-F2DB-6873-AB6D-1C61CCD51BCA}"/>
                  </a:ext>
                </a:extLst>
              </p:cNvPr>
              <p:cNvSpPr/>
              <p:nvPr/>
            </p:nvSpPr>
            <p:spPr>
              <a:xfrm>
                <a:off x="2811060" y="1743894"/>
                <a:ext cx="2010130" cy="1987473"/>
              </a:xfrm>
              <a:custGeom>
                <a:avLst/>
                <a:gdLst/>
                <a:ahLst/>
                <a:cxnLst/>
                <a:rect l="l" t="t" r="r" b="b"/>
                <a:pathLst>
                  <a:path w="285" h="285" extrusionOk="0">
                    <a:moveTo>
                      <a:pt x="121" y="193"/>
                    </a:moveTo>
                    <a:cubicBezTo>
                      <a:pt x="156" y="132"/>
                      <a:pt x="219" y="96"/>
                      <a:pt x="285" y="94"/>
                    </a:cubicBezTo>
                    <a:cubicBezTo>
                      <a:pt x="285" y="0"/>
                      <a:pt x="285" y="0"/>
                      <a:pt x="285" y="0"/>
                    </a:cubicBezTo>
                    <a:cubicBezTo>
                      <a:pt x="129" y="3"/>
                      <a:pt x="4" y="129"/>
                      <a:pt x="0" y="285"/>
                    </a:cubicBezTo>
                    <a:cubicBezTo>
                      <a:pt x="94" y="285"/>
                      <a:pt x="94" y="285"/>
                      <a:pt x="94" y="285"/>
                    </a:cubicBezTo>
                    <a:cubicBezTo>
                      <a:pt x="95" y="253"/>
                      <a:pt x="104" y="222"/>
                      <a:pt x="121" y="193"/>
                    </a:cubicBezTo>
                    <a:close/>
                  </a:path>
                </a:pathLst>
              </a:custGeom>
              <a:solidFill>
                <a:srgbClr val="0052A5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l-PL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" name="Google Shape;3146;p194">
                <a:extLst>
                  <a:ext uri="{FF2B5EF4-FFF2-40B4-BE49-F238E27FC236}">
                    <a16:creationId xmlns:a16="http://schemas.microsoft.com/office/drawing/2014/main" id="{C3C5B3B3-CD7D-F2CE-C6A2-99AFF8F270C9}"/>
                  </a:ext>
                </a:extLst>
              </p:cNvPr>
              <p:cNvSpPr/>
              <p:nvPr/>
            </p:nvSpPr>
            <p:spPr>
              <a:xfrm>
                <a:off x="4926105" y="1743894"/>
                <a:ext cx="2010130" cy="1987473"/>
              </a:xfrm>
              <a:custGeom>
                <a:avLst/>
                <a:gdLst/>
                <a:ahLst/>
                <a:cxnLst/>
                <a:rect l="l" t="t" r="r" b="b"/>
                <a:pathLst>
                  <a:path w="285" h="285" extrusionOk="0">
                    <a:moveTo>
                      <a:pt x="92" y="120"/>
                    </a:moveTo>
                    <a:cubicBezTo>
                      <a:pt x="153" y="156"/>
                      <a:pt x="188" y="219"/>
                      <a:pt x="191" y="285"/>
                    </a:cubicBezTo>
                    <a:cubicBezTo>
                      <a:pt x="285" y="285"/>
                      <a:pt x="285" y="285"/>
                      <a:pt x="285" y="285"/>
                    </a:cubicBezTo>
                    <a:cubicBezTo>
                      <a:pt x="281" y="129"/>
                      <a:pt x="156" y="3"/>
                      <a:pt x="0" y="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31" y="95"/>
                      <a:pt x="63" y="104"/>
                      <a:pt x="92" y="120"/>
                    </a:cubicBezTo>
                    <a:close/>
                  </a:path>
                </a:pathLst>
              </a:custGeom>
              <a:solidFill>
                <a:srgbClr val="171945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l-PL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" name="Google Shape;3147;p194">
                <a:extLst>
                  <a:ext uri="{FF2B5EF4-FFF2-40B4-BE49-F238E27FC236}">
                    <a16:creationId xmlns:a16="http://schemas.microsoft.com/office/drawing/2014/main" id="{B39E3182-944F-124E-5ADE-ED526CF1B712}"/>
                  </a:ext>
                </a:extLst>
              </p:cNvPr>
              <p:cNvSpPr/>
              <p:nvPr/>
            </p:nvSpPr>
            <p:spPr>
              <a:xfrm>
                <a:off x="4926105" y="3813039"/>
                <a:ext cx="2010130" cy="1991970"/>
              </a:xfrm>
              <a:custGeom>
                <a:avLst/>
                <a:gdLst/>
                <a:ahLst/>
                <a:cxnLst/>
                <a:rect l="l" t="t" r="r" b="b"/>
                <a:pathLst>
                  <a:path w="285" h="286" extrusionOk="0">
                    <a:moveTo>
                      <a:pt x="164" y="92"/>
                    </a:moveTo>
                    <a:cubicBezTo>
                      <a:pt x="129" y="154"/>
                      <a:pt x="66" y="189"/>
                      <a:pt x="0" y="191"/>
                    </a:cubicBezTo>
                    <a:cubicBezTo>
                      <a:pt x="0" y="286"/>
                      <a:pt x="0" y="286"/>
                      <a:pt x="0" y="286"/>
                    </a:cubicBezTo>
                    <a:cubicBezTo>
                      <a:pt x="156" y="282"/>
                      <a:pt x="282" y="156"/>
                      <a:pt x="285" y="0"/>
                    </a:cubicBezTo>
                    <a:cubicBezTo>
                      <a:pt x="191" y="0"/>
                      <a:pt x="191" y="0"/>
                      <a:pt x="191" y="0"/>
                    </a:cubicBezTo>
                    <a:cubicBezTo>
                      <a:pt x="190" y="32"/>
                      <a:pt x="181" y="63"/>
                      <a:pt x="164" y="92"/>
                    </a:cubicBezTo>
                    <a:close/>
                  </a:path>
                </a:pathLst>
              </a:custGeom>
              <a:solidFill>
                <a:srgbClr val="D0091D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l-PL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6" name="Google Shape;3148;p194">
              <a:extLst>
                <a:ext uri="{FF2B5EF4-FFF2-40B4-BE49-F238E27FC236}">
                  <a16:creationId xmlns:a16="http://schemas.microsoft.com/office/drawing/2014/main" id="{667BD87E-B6BA-076C-D885-93C2809CE09B}"/>
                </a:ext>
              </a:extLst>
            </p:cNvPr>
            <p:cNvSpPr/>
            <p:nvPr/>
          </p:nvSpPr>
          <p:spPr>
            <a:xfrm>
              <a:off x="8455689" y="1868291"/>
              <a:ext cx="3564000" cy="14987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>
                  <a:ln>
                    <a:noFill/>
                  </a:ln>
                  <a:solidFill>
                    <a:srgbClr val="171945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Kapitał ludzki i społeczn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400" b="1" i="0" u="none" strike="noStrike" kern="1200" cap="none" spc="0" normalizeH="0" baseline="0" noProof="0">
                <a:ln>
                  <a:noFill/>
                </a:ln>
                <a:solidFill>
                  <a:srgbClr val="171945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pl-PL" sz="1400" b="0" i="0" u="none" strike="noStrike" kern="1200" cap="none" spc="0" normalizeH="0" baseline="0" noProof="0">
                  <a:ln>
                    <a:noFill/>
                  </a:ln>
                  <a:solidFill>
                    <a:srgbClr val="171945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Wzmacnianie spójności społecznej </a:t>
              </a:r>
              <a:br>
                <a:rPr kumimoji="0" lang="pl-PL" sz="1400" b="0" i="0" u="none" strike="noStrike" kern="1200" cap="none" spc="0" normalizeH="0" baseline="0" noProof="0">
                  <a:ln>
                    <a:noFill/>
                  </a:ln>
                  <a:solidFill>
                    <a:srgbClr val="171945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</a:br>
              <a:r>
                <a:rPr kumimoji="0" lang="pl-PL" sz="1400" b="0" i="0" u="none" strike="noStrike" kern="1200" cap="none" spc="0" normalizeH="0" baseline="0" noProof="0">
                  <a:ln>
                    <a:noFill/>
                  </a:ln>
                  <a:solidFill>
                    <a:srgbClr val="171945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i kapitału ludzkiego poprzez sport oraz aktywność fizyczną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pl-PL" sz="1400" b="0" i="0" u="none" strike="noStrike" kern="1200" cap="none" spc="0" normalizeH="0" baseline="0" noProof="0">
                  <a:ln>
                    <a:noFill/>
                  </a:ln>
                  <a:solidFill>
                    <a:srgbClr val="171945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Rozwój umiejętności i kompetencji dla kultury fizycznej. </a:t>
              </a:r>
            </a:p>
          </p:txBody>
        </p:sp>
        <p:sp>
          <p:nvSpPr>
            <p:cNvPr id="7" name="Google Shape;3149;p194">
              <a:extLst>
                <a:ext uri="{FF2B5EF4-FFF2-40B4-BE49-F238E27FC236}">
                  <a16:creationId xmlns:a16="http://schemas.microsoft.com/office/drawing/2014/main" id="{F234E7BD-4564-1291-973B-BE879A7653DC}"/>
                </a:ext>
              </a:extLst>
            </p:cNvPr>
            <p:cNvSpPr/>
            <p:nvPr/>
          </p:nvSpPr>
          <p:spPr>
            <a:xfrm>
              <a:off x="618263" y="1868292"/>
              <a:ext cx="3564000" cy="194818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>
                  <a:ln>
                    <a:noFill/>
                  </a:ln>
                  <a:solidFill>
                    <a:srgbClr val="0052A5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Zdrowie</a:t>
              </a:r>
              <a:endParaRPr kumimoji="0" lang="pl-PL" sz="1400" b="1" i="0" u="none" strike="noStrike" kern="1200" cap="none" spc="0" normalizeH="0" baseline="0" noProof="0">
                <a:ln>
                  <a:noFill/>
                </a:ln>
                <a:solidFill>
                  <a:srgbClr val="0052A5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400" b="0" i="0" u="none" strike="noStrike" kern="1200" cap="none" spc="0" normalizeH="0" baseline="0" noProof="0">
                <a:ln>
                  <a:noFill/>
                </a:ln>
                <a:solidFill>
                  <a:srgbClr val="0052A5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/>
                <a:buChar char="Ø"/>
                <a:tabLst/>
                <a:defRPr/>
              </a:pPr>
              <a:r>
                <a:rPr kumimoji="0" lang="pl-PL" sz="1400" b="0" i="0" u="none" strike="noStrike" kern="1200" cap="none" spc="0" normalizeH="0" baseline="0" noProof="0">
                  <a:ln>
                    <a:noFill/>
                  </a:ln>
                  <a:solidFill>
                    <a:srgbClr val="0052A5"/>
                  </a:solidFill>
                  <a:effectLst/>
                  <a:uLnTx/>
                  <a:uFillTx/>
                  <a:latin typeface="Arial" panose="020B0604020202020204" pitchFamily="34" charset="0"/>
                  <a:ea typeface="Lato"/>
                  <a:cs typeface="Arial" panose="020B0604020202020204" pitchFamily="34" charset="0"/>
                  <a:sym typeface="Arial"/>
                </a:rPr>
                <a:t>Aktywność fizyczna jako stały element profilaktyki zdrowotnej oraz procesu leczenia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/>
                <a:buChar char="Ø"/>
                <a:tabLst/>
                <a:defRPr/>
              </a:pPr>
              <a:r>
                <a:rPr kumimoji="0" lang="pl-PL" sz="1400" b="0" i="0" u="none" strike="noStrike" kern="1200" cap="none" spc="0" normalizeH="0" baseline="0" noProof="0">
                  <a:ln>
                    <a:noFill/>
                  </a:ln>
                  <a:solidFill>
                    <a:srgbClr val="0052A5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Rewolucja ruchu - rozwój prozdrowotnej </a:t>
              </a:r>
              <a:br>
                <a:rPr kumimoji="0" lang="pl-PL" sz="1400" b="0" i="0" u="none" strike="noStrike" kern="1200" cap="none" spc="0" normalizeH="0" baseline="0" noProof="0">
                  <a:ln>
                    <a:noFill/>
                  </a:ln>
                  <a:solidFill>
                    <a:srgbClr val="0052A5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</a:br>
              <a:r>
                <a:rPr kumimoji="0" lang="pl-PL" sz="1400" b="0" i="0" u="none" strike="noStrike" kern="1200" cap="none" spc="0" normalizeH="0" baseline="0" noProof="0">
                  <a:ln>
                    <a:noFill/>
                  </a:ln>
                  <a:solidFill>
                    <a:srgbClr val="0052A5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i nawykowej aktywności fizycznej przez całe życie</a:t>
              </a:r>
              <a:r>
                <a:rPr kumimoji="0" lang="pl-PL" sz="1400" b="1" i="0" u="none" strike="noStrike" kern="1200" cap="none" spc="0" normalizeH="0" baseline="0" noProof="0">
                  <a:ln>
                    <a:noFill/>
                  </a:ln>
                  <a:solidFill>
                    <a:srgbClr val="0052A5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400" b="1" i="0" u="none" strike="noStrike" kern="1200" cap="none" spc="0" normalizeH="0" baseline="0" noProof="0">
                <a:ln>
                  <a:noFill/>
                </a:ln>
                <a:solidFill>
                  <a:srgbClr val="0052A5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400" b="1" i="0" u="none" strike="noStrike" kern="1200" cap="none" spc="0" normalizeH="0" baseline="0" noProof="0">
                <a:ln>
                  <a:noFill/>
                </a:ln>
                <a:solidFill>
                  <a:srgbClr val="0052A5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" name="Google Shape;3150;p194">
              <a:extLst>
                <a:ext uri="{FF2B5EF4-FFF2-40B4-BE49-F238E27FC236}">
                  <a16:creationId xmlns:a16="http://schemas.microsoft.com/office/drawing/2014/main" id="{81079F95-A1B2-8C22-7399-DD4BD0E80F56}"/>
                </a:ext>
              </a:extLst>
            </p:cNvPr>
            <p:cNvSpPr/>
            <p:nvPr/>
          </p:nvSpPr>
          <p:spPr>
            <a:xfrm flipH="1">
              <a:off x="618264" y="1792253"/>
              <a:ext cx="4680000" cy="252000"/>
            </a:xfrm>
            <a:custGeom>
              <a:avLst/>
              <a:gdLst/>
              <a:ahLst/>
              <a:cxnLst/>
              <a:rect l="l" t="t" r="r" b="b"/>
              <a:pathLst>
                <a:path w="733245" h="198407" extrusionOk="0">
                  <a:moveTo>
                    <a:pt x="0" y="198407"/>
                  </a:moveTo>
                  <a:lnTo>
                    <a:pt x="37531" y="0"/>
                  </a:lnTo>
                  <a:lnTo>
                    <a:pt x="733245" y="0"/>
                  </a:lnTo>
                </a:path>
              </a:pathLst>
            </a:custGeom>
            <a:noFill/>
            <a:ln w="19050" cap="flat" cmpd="sng">
              <a:solidFill>
                <a:srgbClr val="0052A5"/>
              </a:solidFill>
              <a:prstDash val="dot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" name="Google Shape;3151;p194">
              <a:extLst>
                <a:ext uri="{FF2B5EF4-FFF2-40B4-BE49-F238E27FC236}">
                  <a16:creationId xmlns:a16="http://schemas.microsoft.com/office/drawing/2014/main" id="{56DDEC1D-B5C5-ADE8-775B-AF9960456A8F}"/>
                </a:ext>
              </a:extLst>
            </p:cNvPr>
            <p:cNvSpPr/>
            <p:nvPr/>
          </p:nvSpPr>
          <p:spPr>
            <a:xfrm rot="10800000">
              <a:off x="618264" y="6136563"/>
              <a:ext cx="4680000" cy="252000"/>
            </a:xfrm>
            <a:custGeom>
              <a:avLst/>
              <a:gdLst/>
              <a:ahLst/>
              <a:cxnLst/>
              <a:rect l="l" t="t" r="r" b="b"/>
              <a:pathLst>
                <a:path w="733245" h="198407" extrusionOk="0">
                  <a:moveTo>
                    <a:pt x="0" y="198407"/>
                  </a:moveTo>
                  <a:lnTo>
                    <a:pt x="37531" y="0"/>
                  </a:lnTo>
                  <a:lnTo>
                    <a:pt x="733245" y="0"/>
                  </a:lnTo>
                </a:path>
              </a:pathLst>
            </a:custGeom>
            <a:noFill/>
            <a:ln w="19050" cap="flat" cmpd="sng">
              <a:solidFill>
                <a:srgbClr val="FFCC00"/>
              </a:solidFill>
              <a:prstDash val="dot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Google Shape;3152;p194">
              <a:extLst>
                <a:ext uri="{FF2B5EF4-FFF2-40B4-BE49-F238E27FC236}">
                  <a16:creationId xmlns:a16="http://schemas.microsoft.com/office/drawing/2014/main" id="{34710039-6B6E-8ACF-CD72-A84FB5AC5368}"/>
                </a:ext>
              </a:extLst>
            </p:cNvPr>
            <p:cNvSpPr/>
            <p:nvPr/>
          </p:nvSpPr>
          <p:spPr>
            <a:xfrm>
              <a:off x="632100" y="5060304"/>
              <a:ext cx="3586163" cy="16343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>
                  <a:ln>
                    <a:noFill/>
                  </a:ln>
                  <a:solidFill>
                    <a:srgbClr val="FFCC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Wsparcie systemow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400" b="1" i="0" u="none" strike="noStrike" kern="1200" cap="none" spc="0" normalizeH="0" baseline="0" noProof="0">
                <a:ln>
                  <a:noFill/>
                </a:ln>
                <a:solidFill>
                  <a:srgbClr val="FFCC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pl-PL" sz="1400" b="0" i="0" u="none" strike="noStrike" kern="1200" cap="none" spc="0" normalizeH="0" baseline="0" noProof="0">
                  <a:ln>
                    <a:noFill/>
                  </a:ln>
                  <a:solidFill>
                    <a:srgbClr val="FFCC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Stworzenie stabilnego, efektywnego </a:t>
              </a:r>
              <a:br>
                <a:rPr kumimoji="0" lang="pl-PL" sz="1400" b="0" i="0" u="none" strike="noStrike" kern="1200" cap="none" spc="0" normalizeH="0" baseline="0" noProof="0">
                  <a:ln>
                    <a:noFill/>
                  </a:ln>
                  <a:solidFill>
                    <a:srgbClr val="FFCC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</a:br>
              <a:r>
                <a:rPr kumimoji="0" lang="pl-PL" sz="1400" b="0" i="0" u="none" strike="noStrike" kern="1200" cap="none" spc="0" normalizeH="0" baseline="0" noProof="0">
                  <a:ln>
                    <a:noFill/>
                  </a:ln>
                  <a:solidFill>
                    <a:srgbClr val="FFCC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i transparentnego systemu finansowania, zarządzania i rozwoju sportu w Polsce.</a:t>
              </a:r>
            </a:p>
          </p:txBody>
        </p:sp>
        <p:sp>
          <p:nvSpPr>
            <p:cNvPr id="11" name="Google Shape;3153;p194">
              <a:extLst>
                <a:ext uri="{FF2B5EF4-FFF2-40B4-BE49-F238E27FC236}">
                  <a16:creationId xmlns:a16="http://schemas.microsoft.com/office/drawing/2014/main" id="{B1156C8F-98D4-8FCC-13B1-EC7239310B64}"/>
                </a:ext>
              </a:extLst>
            </p:cNvPr>
            <p:cNvSpPr/>
            <p:nvPr/>
          </p:nvSpPr>
          <p:spPr>
            <a:xfrm>
              <a:off x="7244439" y="1792254"/>
              <a:ext cx="4680000" cy="252000"/>
            </a:xfrm>
            <a:custGeom>
              <a:avLst/>
              <a:gdLst/>
              <a:ahLst/>
              <a:cxnLst/>
              <a:rect l="l" t="t" r="r" b="b"/>
              <a:pathLst>
                <a:path w="733245" h="198407" extrusionOk="0">
                  <a:moveTo>
                    <a:pt x="0" y="198407"/>
                  </a:moveTo>
                  <a:lnTo>
                    <a:pt x="37531" y="0"/>
                  </a:lnTo>
                  <a:lnTo>
                    <a:pt x="733245" y="0"/>
                  </a:lnTo>
                </a:path>
              </a:pathLst>
            </a:custGeom>
            <a:noFill/>
            <a:ln w="19050" cap="flat" cmpd="sng">
              <a:solidFill>
                <a:srgbClr val="171945"/>
              </a:solidFill>
              <a:prstDash val="dot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3154;p194">
              <a:extLst>
                <a:ext uri="{FF2B5EF4-FFF2-40B4-BE49-F238E27FC236}">
                  <a16:creationId xmlns:a16="http://schemas.microsoft.com/office/drawing/2014/main" id="{C8F6CC55-C847-BE8F-BB97-B531F424FA1F}"/>
                </a:ext>
              </a:extLst>
            </p:cNvPr>
            <p:cNvSpPr/>
            <p:nvPr/>
          </p:nvSpPr>
          <p:spPr>
            <a:xfrm rot="10800000" flipH="1">
              <a:off x="7244439" y="6136564"/>
              <a:ext cx="4680000" cy="252000"/>
            </a:xfrm>
            <a:custGeom>
              <a:avLst/>
              <a:gdLst/>
              <a:ahLst/>
              <a:cxnLst/>
              <a:rect l="l" t="t" r="r" b="b"/>
              <a:pathLst>
                <a:path w="733245" h="198407" extrusionOk="0">
                  <a:moveTo>
                    <a:pt x="0" y="198407"/>
                  </a:moveTo>
                  <a:lnTo>
                    <a:pt x="37531" y="0"/>
                  </a:lnTo>
                  <a:lnTo>
                    <a:pt x="733245" y="0"/>
                  </a:lnTo>
                </a:path>
              </a:pathLst>
            </a:custGeom>
            <a:noFill/>
            <a:ln w="19050" cap="flat" cmpd="sng">
              <a:solidFill>
                <a:srgbClr val="D0091D"/>
              </a:solidFill>
              <a:prstDash val="dot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3155;p194">
              <a:extLst>
                <a:ext uri="{FF2B5EF4-FFF2-40B4-BE49-F238E27FC236}">
                  <a16:creationId xmlns:a16="http://schemas.microsoft.com/office/drawing/2014/main" id="{155E058D-CBCE-1D73-0034-2CBB6A11D089}"/>
                </a:ext>
              </a:extLst>
            </p:cNvPr>
            <p:cNvSpPr/>
            <p:nvPr/>
          </p:nvSpPr>
          <p:spPr>
            <a:xfrm>
              <a:off x="8502450" y="5171145"/>
              <a:ext cx="3746913" cy="227759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>
                  <a:ln>
                    <a:noFill/>
                  </a:ln>
                  <a:solidFill>
                    <a:srgbClr val="D0091D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Wspólnota i duma narodowa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400" b="1" i="0" u="none" strike="noStrike" kern="1200" cap="none" spc="0" normalizeH="0" baseline="0" noProof="0">
                <a:ln>
                  <a:noFill/>
                </a:ln>
                <a:solidFill>
                  <a:srgbClr val="D0091D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pl-PL" sz="1400" b="0" i="0" u="none" strike="noStrike" kern="1200" cap="none" spc="0" normalizeH="0" baseline="0" noProof="0">
                  <a:ln>
                    <a:noFill/>
                  </a:ln>
                  <a:solidFill>
                    <a:srgbClr val="D0091D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Budowanie wielowymiarowej wspólnoty </a:t>
              </a:r>
              <a:br>
                <a:rPr kumimoji="0" lang="pl-PL" sz="1400" b="0" i="0" u="none" strike="noStrike" kern="1200" cap="none" spc="0" normalizeH="0" baseline="0" noProof="0">
                  <a:ln>
                    <a:noFill/>
                  </a:ln>
                  <a:solidFill>
                    <a:srgbClr val="D0091D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</a:br>
              <a:r>
                <a:rPr kumimoji="0" lang="pl-PL" sz="1400" b="0" i="0" u="none" strike="noStrike" kern="1200" cap="none" spc="0" normalizeH="0" baseline="0" noProof="0">
                  <a:ln>
                    <a:noFill/>
                  </a:ln>
                  <a:solidFill>
                    <a:srgbClr val="D0091D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i prestiżu Polski wokół sportu i sukcesów sportowców.</a:t>
              </a: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C8FB36D4-CE24-355C-652A-E9E5B7F2CD5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5394" t="20338" r="11852" b="38719"/>
          <a:stretch>
            <a:fillRect/>
          </a:stretch>
        </p:blipFill>
        <p:spPr>
          <a:xfrm>
            <a:off x="5016000" y="3010408"/>
            <a:ext cx="2160000" cy="2160000"/>
          </a:xfrm>
          <a:prstGeom prst="ellipse">
            <a:avLst/>
          </a:prstGeom>
        </p:spPr>
      </p:pic>
      <p:sp>
        <p:nvSpPr>
          <p:cNvPr id="19" name="pole tekstowe 18">
            <a:extLst>
              <a:ext uri="{FF2B5EF4-FFF2-40B4-BE49-F238E27FC236}">
                <a16:creationId xmlns:a16="http://schemas.microsoft.com/office/drawing/2014/main" id="{9940BF97-F8C4-9965-C986-181A8EC161A1}"/>
              </a:ext>
            </a:extLst>
          </p:cNvPr>
          <p:cNvSpPr txBox="1"/>
          <p:nvPr/>
        </p:nvSpPr>
        <p:spPr>
          <a:xfrm>
            <a:off x="10122306" y="6510866"/>
            <a:ext cx="141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/>
              <a:t>Źródło: </a:t>
            </a:r>
            <a:r>
              <a:rPr lang="pl-PL" sz="1200" dirty="0" err="1"/>
              <a:t>MSiT</a:t>
            </a:r>
            <a:endParaRPr lang="pl-PL" sz="1200" dirty="0"/>
          </a:p>
        </p:txBody>
      </p:sp>
    </p:spTree>
    <p:extLst>
      <p:ext uri="{BB962C8B-B14F-4D97-AF65-F5344CB8AC3E}">
        <p14:creationId xmlns:p14="http://schemas.microsoft.com/office/powerpoint/2010/main" val="19576722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ikdörtgen 9">
            <a:extLst>
              <a:ext uri="{FF2B5EF4-FFF2-40B4-BE49-F238E27FC236}">
                <a16:creationId xmlns:a16="http://schemas.microsoft.com/office/drawing/2014/main" id="{15AE63FA-8F82-47CE-B08F-8E8CC60E2E50}"/>
              </a:ext>
            </a:extLst>
          </p:cNvPr>
          <p:cNvSpPr/>
          <p:nvPr/>
        </p:nvSpPr>
        <p:spPr>
          <a:xfrm>
            <a:off x="2429669" y="5990997"/>
            <a:ext cx="9954956" cy="5330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99043">
              <a:defRPr/>
            </a:pPr>
            <a:endParaRPr lang="en-US" sz="983" dirty="0">
              <a:solidFill>
                <a:srgbClr val="FFFFFF"/>
              </a:solidFill>
              <a:latin typeface="Calibri"/>
              <a:sym typeface="Arial"/>
            </a:endParaRPr>
          </a:p>
        </p:txBody>
      </p:sp>
      <p:pic>
        <p:nvPicPr>
          <p:cNvPr id="9" name="Resim 8">
            <a:extLst>
              <a:ext uri="{FF2B5EF4-FFF2-40B4-BE49-F238E27FC236}">
                <a16:creationId xmlns:a16="http://schemas.microsoft.com/office/drawing/2014/main" id="{60A7C23D-B403-46AE-A444-6EE773DB63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458" y="4468748"/>
            <a:ext cx="3634422" cy="2043608"/>
          </a:xfrm>
          <a:prstGeom prst="rect">
            <a:avLst/>
          </a:prstGeom>
        </p:spPr>
      </p:pic>
      <p:sp>
        <p:nvSpPr>
          <p:cNvPr id="18" name="Symbol zastępczy tekstu 3">
            <a:extLst>
              <a:ext uri="{FF2B5EF4-FFF2-40B4-BE49-F238E27FC236}">
                <a16:creationId xmlns:a16="http://schemas.microsoft.com/office/drawing/2014/main" id="{C57F7138-2D6D-4341-A211-57AA1CD5F8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23113" y="684068"/>
            <a:ext cx="5895815" cy="550559"/>
          </a:xfrm>
        </p:spPr>
        <p:txBody>
          <a:bodyPr anchor="ctr"/>
          <a:lstStyle/>
          <a:p>
            <a:pPr algn="l">
              <a:defRPr/>
            </a:pPr>
            <a:r>
              <a:rPr lang="en-US" sz="3275" spc="-6" dirty="0">
                <a:solidFill>
                  <a:schemeClr val="bg1"/>
                </a:solidFill>
                <a:latin typeface="Roboto Condensed"/>
                <a:cs typeface="Calibri"/>
              </a:rPr>
              <a:t>OUR MISSION</a:t>
            </a:r>
          </a:p>
        </p:txBody>
      </p:sp>
      <p:sp>
        <p:nvSpPr>
          <p:cNvPr id="5" name="object 4"/>
          <p:cNvSpPr/>
          <p:nvPr/>
        </p:nvSpPr>
        <p:spPr>
          <a:xfrm>
            <a:off x="1055286" y="575588"/>
            <a:ext cx="107280" cy="754607"/>
          </a:xfrm>
          <a:custGeom>
            <a:avLst/>
            <a:gdLst/>
            <a:ahLst/>
            <a:cxnLst/>
            <a:rect l="l" t="t" r="r" b="b"/>
            <a:pathLst>
              <a:path w="167640" h="1047114">
                <a:moveTo>
                  <a:pt x="0" y="0"/>
                </a:moveTo>
                <a:lnTo>
                  <a:pt x="0" y="1047088"/>
                </a:lnTo>
                <a:lnTo>
                  <a:pt x="167534" y="1047088"/>
                </a:lnTo>
                <a:lnTo>
                  <a:pt x="16753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pPr defTabSz="499043">
              <a:defRPr/>
            </a:pPr>
            <a:endParaRPr sz="983" dirty="0">
              <a:solidFill>
                <a:srgbClr val="000000"/>
              </a:solidFill>
              <a:latin typeface="Calibri"/>
              <a:cs typeface="Arial"/>
              <a:sym typeface="Arial"/>
            </a:endParaRPr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AB685CB8-A98C-439D-9729-C890B67C8D34}"/>
              </a:ext>
            </a:extLst>
          </p:cNvPr>
          <p:cNvSpPr/>
          <p:nvPr/>
        </p:nvSpPr>
        <p:spPr>
          <a:xfrm>
            <a:off x="1053880" y="575587"/>
            <a:ext cx="107280" cy="754607"/>
          </a:xfrm>
          <a:custGeom>
            <a:avLst/>
            <a:gdLst/>
            <a:ahLst/>
            <a:cxnLst/>
            <a:rect l="l" t="t" r="r" b="b"/>
            <a:pathLst>
              <a:path w="167640" h="1047114">
                <a:moveTo>
                  <a:pt x="0" y="0"/>
                </a:moveTo>
                <a:lnTo>
                  <a:pt x="0" y="1047088"/>
                </a:lnTo>
                <a:lnTo>
                  <a:pt x="167534" y="1047088"/>
                </a:lnTo>
                <a:lnTo>
                  <a:pt x="167534" y="0"/>
                </a:lnTo>
                <a:lnTo>
                  <a:pt x="0" y="0"/>
                </a:lnTo>
                <a:close/>
              </a:path>
            </a:pathLst>
          </a:custGeom>
          <a:solidFill>
            <a:srgbClr val="00A44A"/>
          </a:solidFill>
        </p:spPr>
        <p:txBody>
          <a:bodyPr wrap="square" lIns="0" tIns="0" rIns="0" bIns="0" rtlCol="0"/>
          <a:lstStyle/>
          <a:p>
            <a:pPr defTabSz="499043">
              <a:defRPr/>
            </a:pPr>
            <a:endParaRPr sz="983" dirty="0">
              <a:solidFill>
                <a:srgbClr val="000000"/>
              </a:solidFill>
              <a:latin typeface="Calibri"/>
              <a:cs typeface="Arial"/>
              <a:sym typeface="Arial"/>
            </a:endParaRPr>
          </a:p>
        </p:txBody>
      </p:sp>
      <p:sp>
        <p:nvSpPr>
          <p:cNvPr id="8" name="Tytuł 1">
            <a:extLst>
              <a:ext uri="{FF2B5EF4-FFF2-40B4-BE49-F238E27FC236}">
                <a16:creationId xmlns:a16="http://schemas.microsoft.com/office/drawing/2014/main" id="{AE8CC56B-61E6-42BD-852C-0484F600BFA7}"/>
              </a:ext>
            </a:extLst>
          </p:cNvPr>
          <p:cNvSpPr txBox="1">
            <a:spLocks/>
          </p:cNvSpPr>
          <p:nvPr/>
        </p:nvSpPr>
        <p:spPr>
          <a:xfrm>
            <a:off x="1328638" y="755152"/>
            <a:ext cx="9009532" cy="395478"/>
          </a:xfrm>
          <a:prstGeom prst="rect">
            <a:avLst/>
          </a:prstGeom>
        </p:spPr>
        <p:txBody>
          <a:bodyPr anchor="ctr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defTabSz="499043">
              <a:defRPr/>
            </a:pPr>
            <a:r>
              <a:rPr lang="pl-PL" sz="3275" b="1" kern="0" dirty="0">
                <a:solidFill>
                  <a:sysClr val="windowText" lastClr="000000"/>
                </a:solidFill>
                <a:latin typeface="Roboto Condensed"/>
                <a:sym typeface="Arial"/>
              </a:rPr>
              <a:t>SCHEMAT ANALIZY SWOT</a:t>
            </a:r>
            <a:endParaRPr lang="pl-PL" sz="3275" b="1" kern="0" dirty="0">
              <a:solidFill>
                <a:sysClr val="windowText" lastClr="000000"/>
              </a:solidFill>
              <a:latin typeface="Calibri"/>
              <a:sym typeface="Arial"/>
            </a:endParaRP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1B3CA924-92B2-4DD2-A535-F27BB9453A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06489" y="1090723"/>
            <a:ext cx="4658068" cy="4676554"/>
          </a:xfrm>
          <a:prstGeom prst="rect">
            <a:avLst/>
          </a:prstGeom>
        </p:spPr>
      </p:pic>
      <p:pic>
        <p:nvPicPr>
          <p:cNvPr id="4" name="Obraz 3">
            <a:extLst>
              <a:ext uri="{FF2B5EF4-FFF2-40B4-BE49-F238E27FC236}">
                <a16:creationId xmlns:a16="http://schemas.microsoft.com/office/drawing/2014/main" id="{06CCC5BB-3246-45E4-8375-4B81E6B26A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65250" y="2101483"/>
            <a:ext cx="2149552" cy="1610501"/>
          </a:xfrm>
          <a:prstGeom prst="rect">
            <a:avLst/>
          </a:prstGeom>
        </p:spPr>
      </p:pic>
      <p:sp>
        <p:nvSpPr>
          <p:cNvPr id="6" name="pole tekstowe 5">
            <a:extLst>
              <a:ext uri="{FF2B5EF4-FFF2-40B4-BE49-F238E27FC236}">
                <a16:creationId xmlns:a16="http://schemas.microsoft.com/office/drawing/2014/main" id="{FEB1518B-222B-763D-439D-384FF6BF446D}"/>
              </a:ext>
            </a:extLst>
          </p:cNvPr>
          <p:cNvSpPr txBox="1"/>
          <p:nvPr/>
        </p:nvSpPr>
        <p:spPr>
          <a:xfrm>
            <a:off x="9411811" y="5980520"/>
            <a:ext cx="30849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/>
              <a:t>Źródło: Watkins M. (2007)</a:t>
            </a:r>
          </a:p>
        </p:txBody>
      </p:sp>
    </p:spTree>
    <p:extLst>
      <p:ext uri="{BB962C8B-B14F-4D97-AF65-F5344CB8AC3E}">
        <p14:creationId xmlns:p14="http://schemas.microsoft.com/office/powerpoint/2010/main" val="1680488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8F73C2-7C15-F076-20F3-BD19DFF485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>
            <a:extLst>
              <a:ext uri="{FF2B5EF4-FFF2-40B4-BE49-F238E27FC236}">
                <a16:creationId xmlns:a16="http://schemas.microsoft.com/office/drawing/2014/main" id="{F29FCD23-6549-6C7E-2B74-EA5F85F4A0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6987" y="3955089"/>
            <a:ext cx="1452199" cy="973365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D642CF5E-1D57-F445-59EB-B523F9B61692}"/>
              </a:ext>
            </a:extLst>
          </p:cNvPr>
          <p:cNvSpPr txBox="1"/>
          <p:nvPr/>
        </p:nvSpPr>
        <p:spPr>
          <a:xfrm>
            <a:off x="2212933" y="26591"/>
            <a:ext cx="729879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0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MASTER PLAN ROZWOJU </a:t>
            </a:r>
          </a:p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0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POLSKICH ZWIĄZKÓW SPORTOWYCH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1C2835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grpSp>
        <p:nvGrpSpPr>
          <p:cNvPr id="3" name="Grupa 2">
            <a:extLst>
              <a:ext uri="{FF2B5EF4-FFF2-40B4-BE49-F238E27FC236}">
                <a16:creationId xmlns:a16="http://schemas.microsoft.com/office/drawing/2014/main" id="{33E4707A-1F9D-692A-4D37-CAC9A9F3C5AD}"/>
              </a:ext>
            </a:extLst>
          </p:cNvPr>
          <p:cNvGrpSpPr/>
          <p:nvPr/>
        </p:nvGrpSpPr>
        <p:grpSpPr>
          <a:xfrm>
            <a:off x="289162" y="1447529"/>
            <a:ext cx="9987086" cy="4645468"/>
            <a:chOff x="1116013" y="1492044"/>
            <a:chExt cx="9987086" cy="4645468"/>
          </a:xfrm>
        </p:grpSpPr>
        <p:sp>
          <p:nvSpPr>
            <p:cNvPr id="50" name="Shape 9155">
              <a:extLst>
                <a:ext uri="{FF2B5EF4-FFF2-40B4-BE49-F238E27FC236}">
                  <a16:creationId xmlns:a16="http://schemas.microsoft.com/office/drawing/2014/main" id="{AD786892-CF78-3A59-093D-6BAFE2EC90ED}"/>
                </a:ext>
              </a:extLst>
            </p:cNvPr>
            <p:cNvSpPr/>
            <p:nvPr/>
          </p:nvSpPr>
          <p:spPr>
            <a:xfrm>
              <a:off x="7575670" y="2197032"/>
              <a:ext cx="1859597" cy="1859599"/>
            </a:xfrm>
            <a:prstGeom prst="ellipse">
              <a:avLst/>
            </a:prstGeom>
            <a:solidFill>
              <a:schemeClr val="accent6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49" name="Shape 9155">
              <a:extLst>
                <a:ext uri="{FF2B5EF4-FFF2-40B4-BE49-F238E27FC236}">
                  <a16:creationId xmlns:a16="http://schemas.microsoft.com/office/drawing/2014/main" id="{5987726B-F66E-130F-051B-9B102EF1120D}"/>
                </a:ext>
              </a:extLst>
            </p:cNvPr>
            <p:cNvSpPr/>
            <p:nvPr/>
          </p:nvSpPr>
          <p:spPr>
            <a:xfrm>
              <a:off x="2633515" y="2197032"/>
              <a:ext cx="1859597" cy="1859599"/>
            </a:xfrm>
            <a:prstGeom prst="ellipse">
              <a:avLst/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44" name="Shape 9155">
              <a:extLst>
                <a:ext uri="{FF2B5EF4-FFF2-40B4-BE49-F238E27FC236}">
                  <a16:creationId xmlns:a16="http://schemas.microsoft.com/office/drawing/2014/main" id="{0DA10D7B-407E-66EE-6E6C-5183791D4B9E}"/>
                </a:ext>
              </a:extLst>
            </p:cNvPr>
            <p:cNvSpPr/>
            <p:nvPr/>
          </p:nvSpPr>
          <p:spPr>
            <a:xfrm>
              <a:off x="6464308" y="1492044"/>
              <a:ext cx="1859597" cy="1859599"/>
            </a:xfrm>
            <a:prstGeom prst="ellipse">
              <a:avLst/>
            </a:pr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42" name="Shape 9159">
              <a:extLst>
                <a:ext uri="{FF2B5EF4-FFF2-40B4-BE49-F238E27FC236}">
                  <a16:creationId xmlns:a16="http://schemas.microsoft.com/office/drawing/2014/main" id="{811ABE27-6DC8-FD9C-4DCA-1674125C6ED8}"/>
                </a:ext>
              </a:extLst>
            </p:cNvPr>
            <p:cNvSpPr/>
            <p:nvPr/>
          </p:nvSpPr>
          <p:spPr>
            <a:xfrm>
              <a:off x="3892929" y="1492044"/>
              <a:ext cx="1859597" cy="1859598"/>
            </a:xfrm>
            <a:prstGeom prst="ellipse">
              <a:avLst/>
            </a:pr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38" name="Shape 9165">
              <a:extLst>
                <a:ext uri="{FF2B5EF4-FFF2-40B4-BE49-F238E27FC236}">
                  <a16:creationId xmlns:a16="http://schemas.microsoft.com/office/drawing/2014/main" id="{DCBA8280-0985-1590-0E46-F60E28E9A1A5}"/>
                </a:ext>
              </a:extLst>
            </p:cNvPr>
            <p:cNvSpPr/>
            <p:nvPr/>
          </p:nvSpPr>
          <p:spPr>
            <a:xfrm>
              <a:off x="8899605" y="1492044"/>
              <a:ext cx="2176383" cy="2176386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36" name="Shape 9168">
              <a:extLst>
                <a:ext uri="{FF2B5EF4-FFF2-40B4-BE49-F238E27FC236}">
                  <a16:creationId xmlns:a16="http://schemas.microsoft.com/office/drawing/2014/main" id="{86C37D81-7CA8-2C6D-595F-F09C701A780E}"/>
                </a:ext>
              </a:extLst>
            </p:cNvPr>
            <p:cNvSpPr/>
            <p:nvPr/>
          </p:nvSpPr>
          <p:spPr>
            <a:xfrm>
              <a:off x="1116013" y="1492044"/>
              <a:ext cx="2181425" cy="2181428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5" name="Shape 9180">
              <a:extLst>
                <a:ext uri="{FF2B5EF4-FFF2-40B4-BE49-F238E27FC236}">
                  <a16:creationId xmlns:a16="http://schemas.microsoft.com/office/drawing/2014/main" id="{F0E03F0D-7E48-1815-7CB8-4C41F70E6017}"/>
                </a:ext>
              </a:extLst>
            </p:cNvPr>
            <p:cNvSpPr/>
            <p:nvPr/>
          </p:nvSpPr>
          <p:spPr>
            <a:xfrm>
              <a:off x="2116042" y="3846520"/>
              <a:ext cx="181366" cy="181367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6" name="Shape 9181">
              <a:extLst>
                <a:ext uri="{FF2B5EF4-FFF2-40B4-BE49-F238E27FC236}">
                  <a16:creationId xmlns:a16="http://schemas.microsoft.com/office/drawing/2014/main" id="{57420865-3B1B-66F8-9C5B-9BD798725FE7}"/>
                </a:ext>
              </a:extLst>
            </p:cNvPr>
            <p:cNvSpPr/>
            <p:nvPr/>
          </p:nvSpPr>
          <p:spPr>
            <a:xfrm>
              <a:off x="4709733" y="3846520"/>
              <a:ext cx="181367" cy="181367"/>
            </a:xfrm>
            <a:prstGeom prst="ellipse">
              <a:avLst/>
            </a:pr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7" name="Shape 9182">
              <a:extLst>
                <a:ext uri="{FF2B5EF4-FFF2-40B4-BE49-F238E27FC236}">
                  <a16:creationId xmlns:a16="http://schemas.microsoft.com/office/drawing/2014/main" id="{D87A936B-D9FB-8B38-0CF7-94323700BCC6}"/>
                </a:ext>
              </a:extLst>
            </p:cNvPr>
            <p:cNvSpPr/>
            <p:nvPr/>
          </p:nvSpPr>
          <p:spPr>
            <a:xfrm>
              <a:off x="9897116" y="3846520"/>
              <a:ext cx="181367" cy="18136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8" name="Shape 9183">
              <a:extLst>
                <a:ext uri="{FF2B5EF4-FFF2-40B4-BE49-F238E27FC236}">
                  <a16:creationId xmlns:a16="http://schemas.microsoft.com/office/drawing/2014/main" id="{475CB6C0-B091-C584-4C4D-B8C39F07AD9A}"/>
                </a:ext>
              </a:extLst>
            </p:cNvPr>
            <p:cNvSpPr/>
            <p:nvPr/>
          </p:nvSpPr>
          <p:spPr>
            <a:xfrm>
              <a:off x="7303425" y="3846520"/>
              <a:ext cx="181367" cy="181367"/>
            </a:xfrm>
            <a:prstGeom prst="ellipse">
              <a:avLst/>
            </a:pr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9" name="Shape 9184">
              <a:extLst>
                <a:ext uri="{FF2B5EF4-FFF2-40B4-BE49-F238E27FC236}">
                  <a16:creationId xmlns:a16="http://schemas.microsoft.com/office/drawing/2014/main" id="{B5D673FC-8947-66A0-C9D9-89D2B75F6A39}"/>
                </a:ext>
              </a:extLst>
            </p:cNvPr>
            <p:cNvSpPr/>
            <p:nvPr/>
          </p:nvSpPr>
          <p:spPr>
            <a:xfrm>
              <a:off x="3412887" y="4704075"/>
              <a:ext cx="181367" cy="181367"/>
            </a:xfrm>
            <a:prstGeom prst="ellipse">
              <a:avLst/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20" name="Shape 9185">
              <a:extLst>
                <a:ext uri="{FF2B5EF4-FFF2-40B4-BE49-F238E27FC236}">
                  <a16:creationId xmlns:a16="http://schemas.microsoft.com/office/drawing/2014/main" id="{E8766CC5-67F3-E4BE-9B3B-D8E6BC8A3986}"/>
                </a:ext>
              </a:extLst>
            </p:cNvPr>
            <p:cNvSpPr/>
            <p:nvPr/>
          </p:nvSpPr>
          <p:spPr>
            <a:xfrm>
              <a:off x="6006579" y="4704075"/>
              <a:ext cx="181367" cy="181367"/>
            </a:xfrm>
            <a:prstGeom prst="ellipse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21" name="Shape 9186">
              <a:extLst>
                <a:ext uri="{FF2B5EF4-FFF2-40B4-BE49-F238E27FC236}">
                  <a16:creationId xmlns:a16="http://schemas.microsoft.com/office/drawing/2014/main" id="{D07C6576-FCD4-9A13-1405-6D2EB9978A4C}"/>
                </a:ext>
              </a:extLst>
            </p:cNvPr>
            <p:cNvSpPr/>
            <p:nvPr/>
          </p:nvSpPr>
          <p:spPr>
            <a:xfrm>
              <a:off x="8600270" y="4704075"/>
              <a:ext cx="181367" cy="181367"/>
            </a:xfrm>
            <a:prstGeom prst="ellipse">
              <a:avLst/>
            </a:prstGeom>
            <a:solidFill>
              <a:schemeClr val="accent6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9" name="Shape 9188">
              <a:extLst>
                <a:ext uri="{FF2B5EF4-FFF2-40B4-BE49-F238E27FC236}">
                  <a16:creationId xmlns:a16="http://schemas.microsoft.com/office/drawing/2014/main" id="{8EC9FC38-E2CF-CEC8-B37E-33D9F9027089}"/>
                </a:ext>
              </a:extLst>
            </p:cNvPr>
            <p:cNvSpPr/>
            <p:nvPr/>
          </p:nvSpPr>
          <p:spPr>
            <a:xfrm>
              <a:off x="2301481" y="3999087"/>
              <a:ext cx="1111406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0" name="Shape 9189">
              <a:extLst>
                <a:ext uri="{FF2B5EF4-FFF2-40B4-BE49-F238E27FC236}">
                  <a16:creationId xmlns:a16="http://schemas.microsoft.com/office/drawing/2014/main" id="{06B66223-2973-D026-7D34-8F17FA0BA5DF}"/>
                </a:ext>
              </a:extLst>
            </p:cNvPr>
            <p:cNvSpPr/>
            <p:nvPr/>
          </p:nvSpPr>
          <p:spPr>
            <a:xfrm flipV="1">
              <a:off x="3598326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1" name="Shape 9190">
              <a:extLst>
                <a:ext uri="{FF2B5EF4-FFF2-40B4-BE49-F238E27FC236}">
                  <a16:creationId xmlns:a16="http://schemas.microsoft.com/office/drawing/2014/main" id="{619B2951-E912-1912-FBF9-3A851BB7FF38}"/>
                </a:ext>
              </a:extLst>
            </p:cNvPr>
            <p:cNvSpPr/>
            <p:nvPr/>
          </p:nvSpPr>
          <p:spPr>
            <a:xfrm>
              <a:off x="4895172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2" name="Shape 9191">
              <a:extLst>
                <a:ext uri="{FF2B5EF4-FFF2-40B4-BE49-F238E27FC236}">
                  <a16:creationId xmlns:a16="http://schemas.microsoft.com/office/drawing/2014/main" id="{936F372B-35CA-82CD-1296-A9B4642A3317}"/>
                </a:ext>
              </a:extLst>
            </p:cNvPr>
            <p:cNvSpPr/>
            <p:nvPr/>
          </p:nvSpPr>
          <p:spPr>
            <a:xfrm flipV="1">
              <a:off x="6192018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3" name="Shape 9192">
              <a:extLst>
                <a:ext uri="{FF2B5EF4-FFF2-40B4-BE49-F238E27FC236}">
                  <a16:creationId xmlns:a16="http://schemas.microsoft.com/office/drawing/2014/main" id="{838F78E6-EAFA-33C8-C5B3-16418E7E0366}"/>
                </a:ext>
              </a:extLst>
            </p:cNvPr>
            <p:cNvSpPr/>
            <p:nvPr/>
          </p:nvSpPr>
          <p:spPr>
            <a:xfrm>
              <a:off x="7484989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4" name="Shape 9193">
              <a:extLst>
                <a:ext uri="{FF2B5EF4-FFF2-40B4-BE49-F238E27FC236}">
                  <a16:creationId xmlns:a16="http://schemas.microsoft.com/office/drawing/2014/main" id="{E603D650-8F7F-FFB8-428A-19A4A248066B}"/>
                </a:ext>
              </a:extLst>
            </p:cNvPr>
            <p:cNvSpPr/>
            <p:nvPr/>
          </p:nvSpPr>
          <p:spPr>
            <a:xfrm flipV="1">
              <a:off x="8781834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1" name="Freeform 82">
              <a:extLst>
                <a:ext uri="{FF2B5EF4-FFF2-40B4-BE49-F238E27FC236}">
                  <a16:creationId xmlns:a16="http://schemas.microsoft.com/office/drawing/2014/main" id="{9C521D0F-019A-4014-6410-CA380B2168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1394" y="2191277"/>
              <a:ext cx="830660" cy="777920"/>
            </a:xfrm>
            <a:custGeom>
              <a:avLst/>
              <a:gdLst>
                <a:gd name="T0" fmla="*/ 28575 w 899753"/>
                <a:gd name="T1" fmla="*/ 444500 h 842603"/>
                <a:gd name="T2" fmla="*/ 65686 w 899753"/>
                <a:gd name="T3" fmla="*/ 449899 h 842603"/>
                <a:gd name="T4" fmla="*/ 366179 w 899753"/>
                <a:gd name="T5" fmla="*/ 475816 h 842603"/>
                <a:gd name="T6" fmla="*/ 366179 w 899753"/>
                <a:gd name="T7" fmla="*/ 533047 h 842603"/>
                <a:gd name="T8" fmla="*/ 535161 w 899753"/>
                <a:gd name="T9" fmla="*/ 533047 h 842603"/>
                <a:gd name="T10" fmla="*/ 535161 w 899753"/>
                <a:gd name="T11" fmla="*/ 475816 h 842603"/>
                <a:gd name="T12" fmla="*/ 835293 w 899753"/>
                <a:gd name="T13" fmla="*/ 449899 h 842603"/>
                <a:gd name="T14" fmla="*/ 872765 w 899753"/>
                <a:gd name="T15" fmla="*/ 444500 h 842603"/>
                <a:gd name="T16" fmla="*/ 872765 w 899753"/>
                <a:gd name="T17" fmla="*/ 769894 h 842603"/>
                <a:gd name="T18" fmla="*/ 799984 w 899753"/>
                <a:gd name="T19" fmla="*/ 842603 h 842603"/>
                <a:gd name="T20" fmla="*/ 101356 w 899753"/>
                <a:gd name="T21" fmla="*/ 842603 h 842603"/>
                <a:gd name="T22" fmla="*/ 28575 w 899753"/>
                <a:gd name="T23" fmla="*/ 769894 h 842603"/>
                <a:gd name="T24" fmla="*/ 348884 w 899753"/>
                <a:gd name="T25" fmla="*/ 56606 h 842603"/>
                <a:gd name="T26" fmla="*/ 337362 w 899753"/>
                <a:gd name="T27" fmla="*/ 68144 h 842603"/>
                <a:gd name="T28" fmla="*/ 337362 w 899753"/>
                <a:gd name="T29" fmla="*/ 112852 h 842603"/>
                <a:gd name="T30" fmla="*/ 562391 w 899753"/>
                <a:gd name="T31" fmla="*/ 112852 h 842603"/>
                <a:gd name="T32" fmla="*/ 562391 w 899753"/>
                <a:gd name="T33" fmla="*/ 68144 h 842603"/>
                <a:gd name="T34" fmla="*/ 550869 w 899753"/>
                <a:gd name="T35" fmla="*/ 56606 h 842603"/>
                <a:gd name="T36" fmla="*/ 325841 w 899753"/>
                <a:gd name="T37" fmla="*/ 0 h 842603"/>
                <a:gd name="T38" fmla="*/ 573912 w 899753"/>
                <a:gd name="T39" fmla="*/ 0 h 842603"/>
                <a:gd name="T40" fmla="*/ 618558 w 899753"/>
                <a:gd name="T41" fmla="*/ 44708 h 842603"/>
                <a:gd name="T42" fmla="*/ 618558 w 899753"/>
                <a:gd name="T43" fmla="*/ 112852 h 842603"/>
                <a:gd name="T44" fmla="*/ 855108 w 899753"/>
                <a:gd name="T45" fmla="*/ 112852 h 842603"/>
                <a:gd name="T46" fmla="*/ 899753 w 899753"/>
                <a:gd name="T47" fmla="*/ 157561 h 842603"/>
                <a:gd name="T48" fmla="*/ 899753 w 899753"/>
                <a:gd name="T49" fmla="*/ 390837 h 842603"/>
                <a:gd name="T50" fmla="*/ 816943 w 899753"/>
                <a:gd name="T51" fmla="*/ 402014 h 842603"/>
                <a:gd name="T52" fmla="*/ 534307 w 899753"/>
                <a:gd name="T53" fmla="*/ 425089 h 842603"/>
                <a:gd name="T54" fmla="*/ 534307 w 899753"/>
                <a:gd name="T55" fmla="*/ 366320 h 842603"/>
                <a:gd name="T56" fmla="*/ 365446 w 899753"/>
                <a:gd name="T57" fmla="*/ 366320 h 842603"/>
                <a:gd name="T58" fmla="*/ 365446 w 899753"/>
                <a:gd name="T59" fmla="*/ 425089 h 842603"/>
                <a:gd name="T60" fmla="*/ 83171 w 899753"/>
                <a:gd name="T61" fmla="*/ 402014 h 842603"/>
                <a:gd name="T62" fmla="*/ 0 w 899753"/>
                <a:gd name="T63" fmla="*/ 390837 h 842603"/>
                <a:gd name="T64" fmla="*/ 0 w 899753"/>
                <a:gd name="T65" fmla="*/ 157561 h 842603"/>
                <a:gd name="T66" fmla="*/ 44646 w 899753"/>
                <a:gd name="T67" fmla="*/ 112852 h 842603"/>
                <a:gd name="T68" fmla="*/ 281195 w 899753"/>
                <a:gd name="T69" fmla="*/ 112852 h 842603"/>
                <a:gd name="T70" fmla="*/ 281195 w 899753"/>
                <a:gd name="T71" fmla="*/ 44708 h 84260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899753" h="842603">
                  <a:moveTo>
                    <a:pt x="28575" y="444500"/>
                  </a:moveTo>
                  <a:lnTo>
                    <a:pt x="65686" y="449899"/>
                  </a:lnTo>
                  <a:cubicBezTo>
                    <a:pt x="165490" y="463937"/>
                    <a:pt x="265654" y="472576"/>
                    <a:pt x="366179" y="475816"/>
                  </a:cubicBezTo>
                  <a:lnTo>
                    <a:pt x="366179" y="533047"/>
                  </a:lnTo>
                  <a:lnTo>
                    <a:pt x="535161" y="533047"/>
                  </a:lnTo>
                  <a:lnTo>
                    <a:pt x="535161" y="475816"/>
                  </a:lnTo>
                  <a:cubicBezTo>
                    <a:pt x="635325" y="472576"/>
                    <a:pt x="735850" y="463937"/>
                    <a:pt x="835293" y="449899"/>
                  </a:cubicBezTo>
                  <a:lnTo>
                    <a:pt x="872765" y="444500"/>
                  </a:lnTo>
                  <a:lnTo>
                    <a:pt x="872765" y="769894"/>
                  </a:lnTo>
                  <a:lnTo>
                    <a:pt x="799984" y="842603"/>
                  </a:lnTo>
                  <a:lnTo>
                    <a:pt x="101356" y="842603"/>
                  </a:lnTo>
                  <a:lnTo>
                    <a:pt x="28575" y="769894"/>
                  </a:lnTo>
                  <a:lnTo>
                    <a:pt x="28575" y="444500"/>
                  </a:lnTo>
                  <a:close/>
                  <a:moveTo>
                    <a:pt x="348884" y="56606"/>
                  </a:moveTo>
                  <a:lnTo>
                    <a:pt x="337362" y="68144"/>
                  </a:lnTo>
                  <a:lnTo>
                    <a:pt x="337362" y="112852"/>
                  </a:lnTo>
                  <a:lnTo>
                    <a:pt x="562391" y="112852"/>
                  </a:lnTo>
                  <a:lnTo>
                    <a:pt x="562391" y="68144"/>
                  </a:lnTo>
                  <a:lnTo>
                    <a:pt x="550869" y="56606"/>
                  </a:lnTo>
                  <a:lnTo>
                    <a:pt x="348884" y="56606"/>
                  </a:lnTo>
                  <a:close/>
                  <a:moveTo>
                    <a:pt x="325841" y="0"/>
                  </a:moveTo>
                  <a:lnTo>
                    <a:pt x="573912" y="0"/>
                  </a:lnTo>
                  <a:lnTo>
                    <a:pt x="618558" y="44708"/>
                  </a:lnTo>
                  <a:lnTo>
                    <a:pt x="618558" y="112852"/>
                  </a:lnTo>
                  <a:lnTo>
                    <a:pt x="855108" y="112852"/>
                  </a:lnTo>
                  <a:lnTo>
                    <a:pt x="899753" y="157561"/>
                  </a:lnTo>
                  <a:lnTo>
                    <a:pt x="899753" y="390837"/>
                  </a:lnTo>
                  <a:lnTo>
                    <a:pt x="816943" y="402014"/>
                  </a:lnTo>
                  <a:cubicBezTo>
                    <a:pt x="722971" y="414633"/>
                    <a:pt x="628639" y="422205"/>
                    <a:pt x="534307" y="425089"/>
                  </a:cubicBezTo>
                  <a:lnTo>
                    <a:pt x="534307" y="366320"/>
                  </a:lnTo>
                  <a:lnTo>
                    <a:pt x="365446" y="366320"/>
                  </a:lnTo>
                  <a:lnTo>
                    <a:pt x="365446" y="425089"/>
                  </a:lnTo>
                  <a:cubicBezTo>
                    <a:pt x="271114" y="422205"/>
                    <a:pt x="176782" y="414633"/>
                    <a:pt x="83171" y="402014"/>
                  </a:cubicBezTo>
                  <a:lnTo>
                    <a:pt x="0" y="390837"/>
                  </a:lnTo>
                  <a:lnTo>
                    <a:pt x="0" y="157561"/>
                  </a:lnTo>
                  <a:lnTo>
                    <a:pt x="44646" y="112852"/>
                  </a:lnTo>
                  <a:lnTo>
                    <a:pt x="281195" y="112852"/>
                  </a:lnTo>
                  <a:lnTo>
                    <a:pt x="281195" y="44708"/>
                  </a:lnTo>
                  <a:lnTo>
                    <a:pt x="32584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2" name="Freeform 80">
              <a:extLst>
                <a:ext uri="{FF2B5EF4-FFF2-40B4-BE49-F238E27FC236}">
                  <a16:creationId xmlns:a16="http://schemas.microsoft.com/office/drawing/2014/main" id="{70B424B3-5930-21EB-735D-6F5A82DBA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7224" y="2732671"/>
              <a:ext cx="492179" cy="788319"/>
            </a:xfrm>
            <a:custGeom>
              <a:avLst/>
              <a:gdLst>
                <a:gd name="T0" fmla="*/ 252413 w 561616"/>
                <a:gd name="T1" fmla="*/ 533400 h 899752"/>
                <a:gd name="T2" fmla="*/ 309199 w 561616"/>
                <a:gd name="T3" fmla="*/ 533400 h 899752"/>
                <a:gd name="T4" fmla="*/ 309199 w 561616"/>
                <a:gd name="T5" fmla="*/ 590188 h 899752"/>
                <a:gd name="T6" fmla="*/ 252413 w 561616"/>
                <a:gd name="T7" fmla="*/ 590188 h 899752"/>
                <a:gd name="T8" fmla="*/ 252763 w 561616"/>
                <a:gd name="T9" fmla="*/ 478263 h 899752"/>
                <a:gd name="T10" fmla="*/ 252763 w 561616"/>
                <a:gd name="T11" fmla="*/ 490131 h 899752"/>
                <a:gd name="T12" fmla="*/ 153527 w 561616"/>
                <a:gd name="T13" fmla="*/ 589389 h 899752"/>
                <a:gd name="T14" fmla="*/ 112179 w 561616"/>
                <a:gd name="T15" fmla="*/ 688648 h 899752"/>
                <a:gd name="T16" fmla="*/ 112179 w 561616"/>
                <a:gd name="T17" fmla="*/ 703033 h 899752"/>
                <a:gd name="T18" fmla="*/ 252763 w 561616"/>
                <a:gd name="T19" fmla="*/ 646931 h 899752"/>
                <a:gd name="T20" fmla="*/ 308853 w 561616"/>
                <a:gd name="T21" fmla="*/ 646931 h 899752"/>
                <a:gd name="T22" fmla="*/ 449436 w 561616"/>
                <a:gd name="T23" fmla="*/ 703033 h 899752"/>
                <a:gd name="T24" fmla="*/ 449436 w 561616"/>
                <a:gd name="T25" fmla="*/ 688648 h 899752"/>
                <a:gd name="T26" fmla="*/ 408088 w 561616"/>
                <a:gd name="T27" fmla="*/ 589389 h 899752"/>
                <a:gd name="T28" fmla="*/ 308853 w 561616"/>
                <a:gd name="T29" fmla="*/ 490131 h 899752"/>
                <a:gd name="T30" fmla="*/ 308853 w 561616"/>
                <a:gd name="T31" fmla="*/ 478263 h 899752"/>
                <a:gd name="T32" fmla="*/ 56089 w 561616"/>
                <a:gd name="T33" fmla="*/ 141287 h 899752"/>
                <a:gd name="T34" fmla="*/ 112179 w 561616"/>
                <a:gd name="T35" fmla="*/ 141287 h 899752"/>
                <a:gd name="T36" fmla="*/ 112179 w 561616"/>
                <a:gd name="T37" fmla="*/ 212135 h 899752"/>
                <a:gd name="T38" fmla="*/ 152089 w 561616"/>
                <a:gd name="T39" fmla="*/ 309955 h 899752"/>
                <a:gd name="T40" fmla="*/ 409526 w 561616"/>
                <a:gd name="T41" fmla="*/ 309955 h 899752"/>
                <a:gd name="T42" fmla="*/ 449436 w 561616"/>
                <a:gd name="T43" fmla="*/ 212135 h 899752"/>
                <a:gd name="T44" fmla="*/ 449436 w 561616"/>
                <a:gd name="T45" fmla="*/ 141287 h 899752"/>
                <a:gd name="T46" fmla="*/ 505526 w 561616"/>
                <a:gd name="T47" fmla="*/ 141287 h 899752"/>
                <a:gd name="T48" fmla="*/ 505526 w 561616"/>
                <a:gd name="T49" fmla="*/ 212135 h 899752"/>
                <a:gd name="T50" fmla="*/ 447998 w 561616"/>
                <a:gd name="T51" fmla="*/ 350953 h 899752"/>
                <a:gd name="T52" fmla="*/ 364942 w 561616"/>
                <a:gd name="T53" fmla="*/ 434028 h 899752"/>
                <a:gd name="T54" fmla="*/ 364942 w 561616"/>
                <a:gd name="T55" fmla="*/ 466755 h 899752"/>
                <a:gd name="T56" fmla="*/ 447998 w 561616"/>
                <a:gd name="T57" fmla="*/ 549830 h 899752"/>
                <a:gd name="T58" fmla="*/ 505526 w 561616"/>
                <a:gd name="T59" fmla="*/ 688648 h 899752"/>
                <a:gd name="T60" fmla="*/ 505526 w 561616"/>
                <a:gd name="T61" fmla="*/ 787547 h 899752"/>
                <a:gd name="T62" fmla="*/ 561616 w 561616"/>
                <a:gd name="T63" fmla="*/ 787547 h 899752"/>
                <a:gd name="T64" fmla="*/ 561616 w 561616"/>
                <a:gd name="T65" fmla="*/ 899752 h 899752"/>
                <a:gd name="T66" fmla="*/ 0 w 561616"/>
                <a:gd name="T67" fmla="*/ 899752 h 899752"/>
                <a:gd name="T68" fmla="*/ 0 w 561616"/>
                <a:gd name="T69" fmla="*/ 787547 h 899752"/>
                <a:gd name="T70" fmla="*/ 56089 w 561616"/>
                <a:gd name="T71" fmla="*/ 787547 h 899752"/>
                <a:gd name="T72" fmla="*/ 56089 w 561616"/>
                <a:gd name="T73" fmla="*/ 688648 h 899752"/>
                <a:gd name="T74" fmla="*/ 113977 w 561616"/>
                <a:gd name="T75" fmla="*/ 549830 h 899752"/>
                <a:gd name="T76" fmla="*/ 196673 w 561616"/>
                <a:gd name="T77" fmla="*/ 466755 h 899752"/>
                <a:gd name="T78" fmla="*/ 196673 w 561616"/>
                <a:gd name="T79" fmla="*/ 434028 h 899752"/>
                <a:gd name="T80" fmla="*/ 113977 w 561616"/>
                <a:gd name="T81" fmla="*/ 350953 h 899752"/>
                <a:gd name="T82" fmla="*/ 56089 w 561616"/>
                <a:gd name="T83" fmla="*/ 212135 h 899752"/>
                <a:gd name="T84" fmla="*/ 0 w 561616"/>
                <a:gd name="T85" fmla="*/ 0 h 899752"/>
                <a:gd name="T86" fmla="*/ 561616 w 561616"/>
                <a:gd name="T87" fmla="*/ 0 h 899752"/>
                <a:gd name="T88" fmla="*/ 561616 w 561616"/>
                <a:gd name="T89" fmla="*/ 112352 h 899752"/>
                <a:gd name="T90" fmla="*/ 0 w 561616"/>
                <a:gd name="T91" fmla="*/ 112352 h 89975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561616" h="899752">
                  <a:moveTo>
                    <a:pt x="252413" y="533400"/>
                  </a:moveTo>
                  <a:lnTo>
                    <a:pt x="309199" y="533400"/>
                  </a:lnTo>
                  <a:lnTo>
                    <a:pt x="309199" y="590188"/>
                  </a:lnTo>
                  <a:lnTo>
                    <a:pt x="252413" y="590188"/>
                  </a:lnTo>
                  <a:lnTo>
                    <a:pt x="252413" y="533400"/>
                  </a:lnTo>
                  <a:close/>
                  <a:moveTo>
                    <a:pt x="252763" y="478263"/>
                  </a:moveTo>
                  <a:lnTo>
                    <a:pt x="252763" y="490131"/>
                  </a:lnTo>
                  <a:lnTo>
                    <a:pt x="153527" y="589389"/>
                  </a:lnTo>
                  <a:cubicBezTo>
                    <a:pt x="126921" y="616002"/>
                    <a:pt x="112179" y="651246"/>
                    <a:pt x="112179" y="688648"/>
                  </a:cubicBezTo>
                  <a:lnTo>
                    <a:pt x="112179" y="703033"/>
                  </a:lnTo>
                  <a:lnTo>
                    <a:pt x="252763" y="646931"/>
                  </a:lnTo>
                  <a:lnTo>
                    <a:pt x="308853" y="646931"/>
                  </a:lnTo>
                  <a:lnTo>
                    <a:pt x="449436" y="703033"/>
                  </a:lnTo>
                  <a:lnTo>
                    <a:pt x="449436" y="688648"/>
                  </a:lnTo>
                  <a:cubicBezTo>
                    <a:pt x="449436" y="651246"/>
                    <a:pt x="434695" y="616002"/>
                    <a:pt x="408088" y="589389"/>
                  </a:cubicBezTo>
                  <a:lnTo>
                    <a:pt x="308853" y="490131"/>
                  </a:lnTo>
                  <a:lnTo>
                    <a:pt x="308853" y="478263"/>
                  </a:lnTo>
                  <a:lnTo>
                    <a:pt x="252763" y="478263"/>
                  </a:lnTo>
                  <a:close/>
                  <a:moveTo>
                    <a:pt x="56089" y="141287"/>
                  </a:moveTo>
                  <a:lnTo>
                    <a:pt x="112179" y="141287"/>
                  </a:lnTo>
                  <a:lnTo>
                    <a:pt x="112179" y="212135"/>
                  </a:lnTo>
                  <a:cubicBezTo>
                    <a:pt x="112179" y="248817"/>
                    <a:pt x="126561" y="283701"/>
                    <a:pt x="152089" y="309955"/>
                  </a:cubicBezTo>
                  <a:lnTo>
                    <a:pt x="409526" y="309955"/>
                  </a:lnTo>
                  <a:cubicBezTo>
                    <a:pt x="435054" y="283701"/>
                    <a:pt x="449436" y="248817"/>
                    <a:pt x="449436" y="212135"/>
                  </a:cubicBezTo>
                  <a:lnTo>
                    <a:pt x="449436" y="141287"/>
                  </a:lnTo>
                  <a:lnTo>
                    <a:pt x="505526" y="141287"/>
                  </a:lnTo>
                  <a:lnTo>
                    <a:pt x="505526" y="212135"/>
                  </a:lnTo>
                  <a:cubicBezTo>
                    <a:pt x="505526" y="264641"/>
                    <a:pt x="485032" y="313911"/>
                    <a:pt x="447998" y="350953"/>
                  </a:cubicBezTo>
                  <a:lnTo>
                    <a:pt x="364942" y="434028"/>
                  </a:lnTo>
                  <a:lnTo>
                    <a:pt x="364942" y="466755"/>
                  </a:lnTo>
                  <a:lnTo>
                    <a:pt x="447998" y="549830"/>
                  </a:lnTo>
                  <a:cubicBezTo>
                    <a:pt x="485032" y="586872"/>
                    <a:pt x="505526" y="636142"/>
                    <a:pt x="505526" y="688648"/>
                  </a:cubicBezTo>
                  <a:lnTo>
                    <a:pt x="505526" y="787547"/>
                  </a:lnTo>
                  <a:lnTo>
                    <a:pt x="561616" y="787547"/>
                  </a:lnTo>
                  <a:lnTo>
                    <a:pt x="561616" y="899752"/>
                  </a:lnTo>
                  <a:lnTo>
                    <a:pt x="0" y="899752"/>
                  </a:lnTo>
                  <a:lnTo>
                    <a:pt x="0" y="787547"/>
                  </a:lnTo>
                  <a:lnTo>
                    <a:pt x="56089" y="787547"/>
                  </a:lnTo>
                  <a:lnTo>
                    <a:pt x="56089" y="688648"/>
                  </a:lnTo>
                  <a:cubicBezTo>
                    <a:pt x="56089" y="636142"/>
                    <a:pt x="76584" y="586872"/>
                    <a:pt x="113977" y="549830"/>
                  </a:cubicBezTo>
                  <a:lnTo>
                    <a:pt x="196673" y="466755"/>
                  </a:lnTo>
                  <a:lnTo>
                    <a:pt x="196673" y="434028"/>
                  </a:lnTo>
                  <a:lnTo>
                    <a:pt x="113977" y="350953"/>
                  </a:lnTo>
                  <a:cubicBezTo>
                    <a:pt x="76584" y="313911"/>
                    <a:pt x="56089" y="264641"/>
                    <a:pt x="56089" y="212135"/>
                  </a:cubicBezTo>
                  <a:lnTo>
                    <a:pt x="56089" y="141287"/>
                  </a:lnTo>
                  <a:close/>
                  <a:moveTo>
                    <a:pt x="0" y="0"/>
                  </a:moveTo>
                  <a:lnTo>
                    <a:pt x="561616" y="0"/>
                  </a:lnTo>
                  <a:lnTo>
                    <a:pt x="561616" y="112352"/>
                  </a:lnTo>
                  <a:lnTo>
                    <a:pt x="0" y="1123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3" name="Freeform 41">
              <a:extLst>
                <a:ext uri="{FF2B5EF4-FFF2-40B4-BE49-F238E27FC236}">
                  <a16:creationId xmlns:a16="http://schemas.microsoft.com/office/drawing/2014/main" id="{995ADC9C-9E69-AC71-9E67-FD0470CB79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98105" y="2164907"/>
              <a:ext cx="779383" cy="830660"/>
            </a:xfrm>
            <a:custGeom>
              <a:avLst/>
              <a:gdLst>
                <a:gd name="T0" fmla="*/ 450379 w 2344"/>
                <a:gd name="T1" fmla="*/ 478140 h 2500"/>
                <a:gd name="T2" fmla="*/ 731775 w 2344"/>
                <a:gd name="T3" fmla="*/ 421973 h 2500"/>
                <a:gd name="T4" fmla="*/ 731775 w 2344"/>
                <a:gd name="T5" fmla="*/ 703168 h 2500"/>
                <a:gd name="T6" fmla="*/ 450379 w 2344"/>
                <a:gd name="T7" fmla="*/ 646641 h 2500"/>
                <a:gd name="T8" fmla="*/ 731775 w 2344"/>
                <a:gd name="T9" fmla="*/ 703168 h 2500"/>
                <a:gd name="T10" fmla="*/ 366068 w 2344"/>
                <a:gd name="T11" fmla="*/ 365446 h 2500"/>
                <a:gd name="T12" fmla="*/ 337964 w 2344"/>
                <a:gd name="T13" fmla="*/ 337362 h 2500"/>
                <a:gd name="T14" fmla="*/ 366068 w 2344"/>
                <a:gd name="T15" fmla="*/ 309279 h 2500"/>
                <a:gd name="T16" fmla="*/ 394171 w 2344"/>
                <a:gd name="T17" fmla="*/ 337362 h 2500"/>
                <a:gd name="T18" fmla="*/ 366068 w 2344"/>
                <a:gd name="T19" fmla="*/ 478140 h 2500"/>
                <a:gd name="T20" fmla="*/ 337964 w 2344"/>
                <a:gd name="T21" fmla="*/ 449696 h 2500"/>
                <a:gd name="T22" fmla="*/ 366068 w 2344"/>
                <a:gd name="T23" fmla="*/ 421973 h 2500"/>
                <a:gd name="T24" fmla="*/ 394171 w 2344"/>
                <a:gd name="T25" fmla="*/ 449696 h 2500"/>
                <a:gd name="T26" fmla="*/ 366068 w 2344"/>
                <a:gd name="T27" fmla="*/ 478140 h 2500"/>
                <a:gd name="T28" fmla="*/ 366068 w 2344"/>
                <a:gd name="T29" fmla="*/ 590474 h 2500"/>
                <a:gd name="T30" fmla="*/ 337964 w 2344"/>
                <a:gd name="T31" fmla="*/ 562391 h 2500"/>
                <a:gd name="T32" fmla="*/ 366068 w 2344"/>
                <a:gd name="T33" fmla="*/ 534307 h 2500"/>
                <a:gd name="T34" fmla="*/ 394171 w 2344"/>
                <a:gd name="T35" fmla="*/ 562391 h 2500"/>
                <a:gd name="T36" fmla="*/ 366068 w 2344"/>
                <a:gd name="T37" fmla="*/ 703168 h 2500"/>
                <a:gd name="T38" fmla="*/ 337964 w 2344"/>
                <a:gd name="T39" fmla="*/ 674725 h 2500"/>
                <a:gd name="T40" fmla="*/ 366068 w 2344"/>
                <a:gd name="T41" fmla="*/ 646641 h 2500"/>
                <a:gd name="T42" fmla="*/ 394171 w 2344"/>
                <a:gd name="T43" fmla="*/ 674725 h 2500"/>
                <a:gd name="T44" fmla="*/ 366068 w 2344"/>
                <a:gd name="T45" fmla="*/ 703168 h 2500"/>
                <a:gd name="T46" fmla="*/ 619000 w 2344"/>
                <a:gd name="T47" fmla="*/ 534307 h 2500"/>
                <a:gd name="T48" fmla="*/ 450379 w 2344"/>
                <a:gd name="T49" fmla="*/ 590474 h 2500"/>
                <a:gd name="T50" fmla="*/ 450379 w 2344"/>
                <a:gd name="T51" fmla="*/ 309279 h 2500"/>
                <a:gd name="T52" fmla="*/ 703311 w 2344"/>
                <a:gd name="T53" fmla="*/ 365446 h 2500"/>
                <a:gd name="T54" fmla="*/ 450379 w 2344"/>
                <a:gd name="T55" fmla="*/ 309279 h 2500"/>
                <a:gd name="T56" fmla="*/ 647104 w 2344"/>
                <a:gd name="T57" fmla="*/ 140418 h 2500"/>
                <a:gd name="T58" fmla="*/ 450379 w 2344"/>
                <a:gd name="T59" fmla="*/ 196585 h 2500"/>
                <a:gd name="T60" fmla="*/ 225189 w 2344"/>
                <a:gd name="T61" fmla="*/ 815502 h 2500"/>
                <a:gd name="T62" fmla="*/ 197086 w 2344"/>
                <a:gd name="T63" fmla="*/ 843586 h 2500"/>
                <a:gd name="T64" fmla="*/ 168982 w 2344"/>
                <a:gd name="T65" fmla="*/ 815502 h 2500"/>
                <a:gd name="T66" fmla="*/ 168982 w 2344"/>
                <a:gd name="T67" fmla="*/ 309279 h 2500"/>
                <a:gd name="T68" fmla="*/ 225189 w 2344"/>
                <a:gd name="T69" fmla="*/ 281195 h 2500"/>
                <a:gd name="T70" fmla="*/ 112775 w 2344"/>
                <a:gd name="T71" fmla="*/ 590474 h 2500"/>
                <a:gd name="T72" fmla="*/ 56568 w 2344"/>
                <a:gd name="T73" fmla="*/ 309279 h 2500"/>
                <a:gd name="T74" fmla="*/ 84311 w 2344"/>
                <a:gd name="T75" fmla="*/ 281195 h 2500"/>
                <a:gd name="T76" fmla="*/ 112775 w 2344"/>
                <a:gd name="T77" fmla="*/ 309279 h 2500"/>
                <a:gd name="T78" fmla="*/ 225189 w 2344"/>
                <a:gd name="T79" fmla="*/ 0 h 2500"/>
                <a:gd name="T80" fmla="*/ 84311 w 2344"/>
                <a:gd name="T81" fmla="*/ 225028 h 2500"/>
                <a:gd name="T82" fmla="*/ 0 w 2344"/>
                <a:gd name="T83" fmla="*/ 309279 h 2500"/>
                <a:gd name="T84" fmla="*/ 112775 w 2344"/>
                <a:gd name="T85" fmla="*/ 646641 h 2500"/>
                <a:gd name="T86" fmla="*/ 112775 w 2344"/>
                <a:gd name="T87" fmla="*/ 815502 h 2500"/>
                <a:gd name="T88" fmla="*/ 759879 w 2344"/>
                <a:gd name="T89" fmla="*/ 899753 h 2500"/>
                <a:gd name="T90" fmla="*/ 844190 w 2344"/>
                <a:gd name="T91" fmla="*/ 815502 h 2500"/>
                <a:gd name="T92" fmla="*/ 225189 w 2344"/>
                <a:gd name="T93" fmla="*/ 0 h 250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344" h="2500">
                  <a:moveTo>
                    <a:pt x="2031" y="1328"/>
                  </a:moveTo>
                  <a:lnTo>
                    <a:pt x="1250" y="1328"/>
                  </a:lnTo>
                  <a:lnTo>
                    <a:pt x="1250" y="1172"/>
                  </a:lnTo>
                  <a:lnTo>
                    <a:pt x="2031" y="1172"/>
                  </a:lnTo>
                  <a:lnTo>
                    <a:pt x="2031" y="1328"/>
                  </a:lnTo>
                  <a:close/>
                  <a:moveTo>
                    <a:pt x="2031" y="1953"/>
                  </a:moveTo>
                  <a:lnTo>
                    <a:pt x="1250" y="1953"/>
                  </a:lnTo>
                  <a:lnTo>
                    <a:pt x="1250" y="1796"/>
                  </a:lnTo>
                  <a:lnTo>
                    <a:pt x="2031" y="1796"/>
                  </a:lnTo>
                  <a:lnTo>
                    <a:pt x="2031" y="1953"/>
                  </a:lnTo>
                  <a:close/>
                  <a:moveTo>
                    <a:pt x="1016" y="1015"/>
                  </a:moveTo>
                  <a:lnTo>
                    <a:pt x="1016" y="1015"/>
                  </a:lnTo>
                  <a:cubicBezTo>
                    <a:pt x="972" y="1015"/>
                    <a:pt x="938" y="980"/>
                    <a:pt x="938" y="937"/>
                  </a:cubicBezTo>
                  <a:cubicBezTo>
                    <a:pt x="938" y="893"/>
                    <a:pt x="972" y="859"/>
                    <a:pt x="1016" y="859"/>
                  </a:cubicBezTo>
                  <a:cubicBezTo>
                    <a:pt x="1059" y="859"/>
                    <a:pt x="1094" y="893"/>
                    <a:pt x="1094" y="937"/>
                  </a:cubicBezTo>
                  <a:cubicBezTo>
                    <a:pt x="1094" y="980"/>
                    <a:pt x="1059" y="1015"/>
                    <a:pt x="1016" y="1015"/>
                  </a:cubicBezTo>
                  <a:close/>
                  <a:moveTo>
                    <a:pt x="1016" y="1328"/>
                  </a:moveTo>
                  <a:lnTo>
                    <a:pt x="1016" y="1328"/>
                  </a:lnTo>
                  <a:cubicBezTo>
                    <a:pt x="972" y="1328"/>
                    <a:pt x="938" y="1293"/>
                    <a:pt x="938" y="1249"/>
                  </a:cubicBezTo>
                  <a:cubicBezTo>
                    <a:pt x="938" y="1206"/>
                    <a:pt x="972" y="1172"/>
                    <a:pt x="1016" y="1172"/>
                  </a:cubicBezTo>
                  <a:cubicBezTo>
                    <a:pt x="1059" y="1172"/>
                    <a:pt x="1094" y="1206"/>
                    <a:pt x="1094" y="1249"/>
                  </a:cubicBezTo>
                  <a:cubicBezTo>
                    <a:pt x="1094" y="1293"/>
                    <a:pt x="1059" y="1328"/>
                    <a:pt x="1016" y="1328"/>
                  </a:cubicBezTo>
                  <a:close/>
                  <a:moveTo>
                    <a:pt x="1016" y="1640"/>
                  </a:moveTo>
                  <a:lnTo>
                    <a:pt x="1016" y="1640"/>
                  </a:lnTo>
                  <a:cubicBezTo>
                    <a:pt x="972" y="1640"/>
                    <a:pt x="938" y="1605"/>
                    <a:pt x="938" y="1562"/>
                  </a:cubicBezTo>
                  <a:cubicBezTo>
                    <a:pt x="938" y="1519"/>
                    <a:pt x="972" y="1484"/>
                    <a:pt x="1016" y="1484"/>
                  </a:cubicBezTo>
                  <a:cubicBezTo>
                    <a:pt x="1059" y="1484"/>
                    <a:pt x="1094" y="1519"/>
                    <a:pt x="1094" y="1562"/>
                  </a:cubicBezTo>
                  <a:cubicBezTo>
                    <a:pt x="1094" y="1605"/>
                    <a:pt x="1059" y="1640"/>
                    <a:pt x="1016" y="1640"/>
                  </a:cubicBezTo>
                  <a:close/>
                  <a:moveTo>
                    <a:pt x="1016" y="1953"/>
                  </a:moveTo>
                  <a:lnTo>
                    <a:pt x="1016" y="1953"/>
                  </a:lnTo>
                  <a:cubicBezTo>
                    <a:pt x="972" y="1953"/>
                    <a:pt x="938" y="1917"/>
                    <a:pt x="938" y="1874"/>
                  </a:cubicBezTo>
                  <a:cubicBezTo>
                    <a:pt x="938" y="1831"/>
                    <a:pt x="972" y="1796"/>
                    <a:pt x="1016" y="1796"/>
                  </a:cubicBezTo>
                  <a:cubicBezTo>
                    <a:pt x="1059" y="1796"/>
                    <a:pt x="1094" y="1831"/>
                    <a:pt x="1094" y="1874"/>
                  </a:cubicBezTo>
                  <a:cubicBezTo>
                    <a:pt x="1094" y="1917"/>
                    <a:pt x="1059" y="1953"/>
                    <a:pt x="1016" y="1953"/>
                  </a:cubicBezTo>
                  <a:close/>
                  <a:moveTo>
                    <a:pt x="1250" y="1484"/>
                  </a:moveTo>
                  <a:lnTo>
                    <a:pt x="1718" y="1484"/>
                  </a:lnTo>
                  <a:lnTo>
                    <a:pt x="1718" y="1640"/>
                  </a:lnTo>
                  <a:lnTo>
                    <a:pt x="1250" y="1640"/>
                  </a:lnTo>
                  <a:lnTo>
                    <a:pt x="1250" y="1484"/>
                  </a:lnTo>
                  <a:close/>
                  <a:moveTo>
                    <a:pt x="1250" y="859"/>
                  </a:moveTo>
                  <a:lnTo>
                    <a:pt x="1952" y="859"/>
                  </a:lnTo>
                  <a:lnTo>
                    <a:pt x="1952" y="1015"/>
                  </a:lnTo>
                  <a:lnTo>
                    <a:pt x="1250" y="1015"/>
                  </a:lnTo>
                  <a:lnTo>
                    <a:pt x="1250" y="859"/>
                  </a:lnTo>
                  <a:close/>
                  <a:moveTo>
                    <a:pt x="1250" y="390"/>
                  </a:moveTo>
                  <a:lnTo>
                    <a:pt x="1796" y="390"/>
                  </a:lnTo>
                  <a:lnTo>
                    <a:pt x="1796" y="546"/>
                  </a:lnTo>
                  <a:lnTo>
                    <a:pt x="1250" y="546"/>
                  </a:lnTo>
                  <a:lnTo>
                    <a:pt x="1250" y="390"/>
                  </a:lnTo>
                  <a:close/>
                  <a:moveTo>
                    <a:pt x="625" y="2265"/>
                  </a:moveTo>
                  <a:lnTo>
                    <a:pt x="625" y="2265"/>
                  </a:lnTo>
                  <a:cubicBezTo>
                    <a:pt x="625" y="2308"/>
                    <a:pt x="590" y="2343"/>
                    <a:pt x="547" y="2343"/>
                  </a:cubicBezTo>
                  <a:cubicBezTo>
                    <a:pt x="504" y="2343"/>
                    <a:pt x="469" y="2308"/>
                    <a:pt x="469" y="2265"/>
                  </a:cubicBezTo>
                  <a:lnTo>
                    <a:pt x="469" y="859"/>
                  </a:lnTo>
                  <a:cubicBezTo>
                    <a:pt x="469" y="831"/>
                    <a:pt x="463" y="806"/>
                    <a:pt x="454" y="781"/>
                  </a:cubicBezTo>
                  <a:lnTo>
                    <a:pt x="625" y="781"/>
                  </a:lnTo>
                  <a:lnTo>
                    <a:pt x="625" y="2265"/>
                  </a:lnTo>
                  <a:close/>
                  <a:moveTo>
                    <a:pt x="313" y="1640"/>
                  </a:moveTo>
                  <a:lnTo>
                    <a:pt x="157" y="1640"/>
                  </a:lnTo>
                  <a:lnTo>
                    <a:pt x="157" y="859"/>
                  </a:lnTo>
                  <a:cubicBezTo>
                    <a:pt x="157" y="816"/>
                    <a:pt x="191" y="781"/>
                    <a:pt x="234" y="781"/>
                  </a:cubicBezTo>
                  <a:cubicBezTo>
                    <a:pt x="277" y="781"/>
                    <a:pt x="313" y="816"/>
                    <a:pt x="313" y="859"/>
                  </a:cubicBezTo>
                  <a:lnTo>
                    <a:pt x="313" y="1640"/>
                  </a:lnTo>
                  <a:close/>
                  <a:moveTo>
                    <a:pt x="625" y="0"/>
                  </a:moveTo>
                  <a:lnTo>
                    <a:pt x="625" y="625"/>
                  </a:lnTo>
                  <a:lnTo>
                    <a:pt x="234" y="625"/>
                  </a:lnTo>
                  <a:cubicBezTo>
                    <a:pt x="105" y="625"/>
                    <a:pt x="0" y="730"/>
                    <a:pt x="0" y="859"/>
                  </a:cubicBezTo>
                  <a:lnTo>
                    <a:pt x="0" y="1796"/>
                  </a:lnTo>
                  <a:lnTo>
                    <a:pt x="313" y="1796"/>
                  </a:lnTo>
                  <a:lnTo>
                    <a:pt x="313" y="2265"/>
                  </a:lnTo>
                  <a:cubicBezTo>
                    <a:pt x="313" y="2394"/>
                    <a:pt x="418" y="2499"/>
                    <a:pt x="547" y="2499"/>
                  </a:cubicBezTo>
                  <a:lnTo>
                    <a:pt x="2109" y="2499"/>
                  </a:lnTo>
                  <a:cubicBezTo>
                    <a:pt x="2238" y="2499"/>
                    <a:pt x="2343" y="2394"/>
                    <a:pt x="2343" y="2265"/>
                  </a:cubicBezTo>
                  <a:lnTo>
                    <a:pt x="2343" y="0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4" name="Freeform 89">
              <a:extLst>
                <a:ext uri="{FF2B5EF4-FFF2-40B4-BE49-F238E27FC236}">
                  <a16:creationId xmlns:a16="http://schemas.microsoft.com/office/drawing/2014/main" id="{6F2B5319-3AEA-B332-942E-E6F2CFC62C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0730" y="2189715"/>
              <a:ext cx="620464" cy="464256"/>
            </a:xfrm>
            <a:custGeom>
              <a:avLst/>
              <a:gdLst>
                <a:gd name="T0" fmla="*/ 573956 w 901340"/>
                <a:gd name="T1" fmla="*/ 561975 h 674329"/>
                <a:gd name="T2" fmla="*/ 901340 w 901340"/>
                <a:gd name="T3" fmla="*/ 561975 h 674329"/>
                <a:gd name="T4" fmla="*/ 901340 w 901340"/>
                <a:gd name="T5" fmla="*/ 674329 h 674329"/>
                <a:gd name="T6" fmla="*/ 468313 w 901340"/>
                <a:gd name="T7" fmla="*/ 674329 h 674329"/>
                <a:gd name="T8" fmla="*/ 573956 w 901340"/>
                <a:gd name="T9" fmla="*/ 561975 h 674329"/>
                <a:gd name="T10" fmla="*/ 616811 w 901340"/>
                <a:gd name="T11" fmla="*/ 420688 h 674329"/>
                <a:gd name="T12" fmla="*/ 842604 w 901340"/>
                <a:gd name="T13" fmla="*/ 420688 h 674329"/>
                <a:gd name="T14" fmla="*/ 842604 w 901340"/>
                <a:gd name="T15" fmla="*/ 533040 h 674329"/>
                <a:gd name="T16" fmla="*/ 587375 w 901340"/>
                <a:gd name="T17" fmla="*/ 533040 h 674329"/>
                <a:gd name="T18" fmla="*/ 616811 w 901340"/>
                <a:gd name="T19" fmla="*/ 420688 h 674329"/>
                <a:gd name="T20" fmla="*/ 600075 w 901340"/>
                <a:gd name="T21" fmla="*/ 280988 h 674329"/>
                <a:gd name="T22" fmla="*/ 901339 w 901340"/>
                <a:gd name="T23" fmla="*/ 280988 h 674329"/>
                <a:gd name="T24" fmla="*/ 901339 w 901340"/>
                <a:gd name="T25" fmla="*/ 393341 h 674329"/>
                <a:gd name="T26" fmla="*/ 619919 w 901340"/>
                <a:gd name="T27" fmla="*/ 393341 h 674329"/>
                <a:gd name="T28" fmla="*/ 600075 w 901340"/>
                <a:gd name="T29" fmla="*/ 280988 h 674329"/>
                <a:gd name="T30" fmla="*/ 196799 w 901340"/>
                <a:gd name="T31" fmla="*/ 280982 h 674329"/>
                <a:gd name="T32" fmla="*/ 196799 w 901340"/>
                <a:gd name="T33" fmla="*/ 337072 h 674329"/>
                <a:gd name="T34" fmla="*/ 252925 w 901340"/>
                <a:gd name="T35" fmla="*/ 337072 h 674329"/>
                <a:gd name="T36" fmla="*/ 252925 w 901340"/>
                <a:gd name="T37" fmla="*/ 449611 h 674329"/>
                <a:gd name="T38" fmla="*/ 196799 w 901340"/>
                <a:gd name="T39" fmla="*/ 449611 h 674329"/>
                <a:gd name="T40" fmla="*/ 196799 w 901340"/>
                <a:gd name="T41" fmla="*/ 505700 h 674329"/>
                <a:gd name="T42" fmla="*/ 365176 w 901340"/>
                <a:gd name="T43" fmla="*/ 505700 h 674329"/>
                <a:gd name="T44" fmla="*/ 365176 w 901340"/>
                <a:gd name="T45" fmla="*/ 449611 h 674329"/>
                <a:gd name="T46" fmla="*/ 309051 w 901340"/>
                <a:gd name="T47" fmla="*/ 449611 h 674329"/>
                <a:gd name="T48" fmla="*/ 309051 w 901340"/>
                <a:gd name="T49" fmla="*/ 280982 h 674329"/>
                <a:gd name="T50" fmla="*/ 503238 w 901340"/>
                <a:gd name="T51" fmla="*/ 139700 h 674329"/>
                <a:gd name="T52" fmla="*/ 787040 w 901340"/>
                <a:gd name="T53" fmla="*/ 139700 h 674329"/>
                <a:gd name="T54" fmla="*/ 787040 w 901340"/>
                <a:gd name="T55" fmla="*/ 252053 h 674329"/>
                <a:gd name="T56" fmla="*/ 587154 w 901340"/>
                <a:gd name="T57" fmla="*/ 252053 h 674329"/>
                <a:gd name="T58" fmla="*/ 503238 w 901340"/>
                <a:gd name="T59" fmla="*/ 139700 h 674329"/>
                <a:gd name="T60" fmla="*/ 280988 w 901340"/>
                <a:gd name="T61" fmla="*/ 112713 h 674329"/>
                <a:gd name="T62" fmla="*/ 561615 w 901340"/>
                <a:gd name="T63" fmla="*/ 393521 h 674329"/>
                <a:gd name="T64" fmla="*/ 280988 w 901340"/>
                <a:gd name="T65" fmla="*/ 674329 h 674329"/>
                <a:gd name="T66" fmla="*/ 0 w 901340"/>
                <a:gd name="T67" fmla="*/ 393521 h 674329"/>
                <a:gd name="T68" fmla="*/ 280988 w 901340"/>
                <a:gd name="T69" fmla="*/ 112713 h 674329"/>
                <a:gd name="T70" fmla="*/ 282575 w 901340"/>
                <a:gd name="T71" fmla="*/ 0 h 674329"/>
                <a:gd name="T72" fmla="*/ 844190 w 901340"/>
                <a:gd name="T73" fmla="*/ 0 h 674329"/>
                <a:gd name="T74" fmla="*/ 844190 w 901340"/>
                <a:gd name="T75" fmla="*/ 112353 h 674329"/>
                <a:gd name="T76" fmla="*/ 468221 w 901340"/>
                <a:gd name="T77" fmla="*/ 112353 h 674329"/>
                <a:gd name="T78" fmla="*/ 282575 w 901340"/>
                <a:gd name="T79" fmla="*/ 55816 h 67432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901340" h="674329">
                  <a:moveTo>
                    <a:pt x="573956" y="561975"/>
                  </a:moveTo>
                  <a:lnTo>
                    <a:pt x="901340" y="561975"/>
                  </a:lnTo>
                  <a:lnTo>
                    <a:pt x="901340" y="674329"/>
                  </a:lnTo>
                  <a:lnTo>
                    <a:pt x="468313" y="674329"/>
                  </a:lnTo>
                  <a:cubicBezTo>
                    <a:pt x="511940" y="645613"/>
                    <a:pt x="547996" y="607204"/>
                    <a:pt x="573956" y="561975"/>
                  </a:cubicBezTo>
                  <a:close/>
                  <a:moveTo>
                    <a:pt x="616811" y="420688"/>
                  </a:moveTo>
                  <a:lnTo>
                    <a:pt x="842604" y="420688"/>
                  </a:lnTo>
                  <a:lnTo>
                    <a:pt x="842604" y="533040"/>
                  </a:lnTo>
                  <a:lnTo>
                    <a:pt x="587375" y="533040"/>
                  </a:lnTo>
                  <a:cubicBezTo>
                    <a:pt x="603529" y="498470"/>
                    <a:pt x="613580" y="460660"/>
                    <a:pt x="616811" y="420688"/>
                  </a:cubicBezTo>
                  <a:close/>
                  <a:moveTo>
                    <a:pt x="600075" y="280988"/>
                  </a:moveTo>
                  <a:lnTo>
                    <a:pt x="901339" y="280988"/>
                  </a:lnTo>
                  <a:lnTo>
                    <a:pt x="901339" y="393341"/>
                  </a:lnTo>
                  <a:lnTo>
                    <a:pt x="619919" y="393341"/>
                  </a:lnTo>
                  <a:cubicBezTo>
                    <a:pt x="619919" y="353856"/>
                    <a:pt x="612703" y="316166"/>
                    <a:pt x="600075" y="280988"/>
                  </a:cubicBezTo>
                  <a:close/>
                  <a:moveTo>
                    <a:pt x="196799" y="280982"/>
                  </a:moveTo>
                  <a:lnTo>
                    <a:pt x="196799" y="337072"/>
                  </a:lnTo>
                  <a:lnTo>
                    <a:pt x="252925" y="337072"/>
                  </a:lnTo>
                  <a:lnTo>
                    <a:pt x="252925" y="449611"/>
                  </a:lnTo>
                  <a:lnTo>
                    <a:pt x="196799" y="449611"/>
                  </a:lnTo>
                  <a:lnTo>
                    <a:pt x="196799" y="505700"/>
                  </a:lnTo>
                  <a:lnTo>
                    <a:pt x="365176" y="505700"/>
                  </a:lnTo>
                  <a:lnTo>
                    <a:pt x="365176" y="449611"/>
                  </a:lnTo>
                  <a:lnTo>
                    <a:pt x="309051" y="449611"/>
                  </a:lnTo>
                  <a:lnTo>
                    <a:pt x="309051" y="280982"/>
                  </a:lnTo>
                  <a:lnTo>
                    <a:pt x="196799" y="280982"/>
                  </a:lnTo>
                  <a:close/>
                  <a:moveTo>
                    <a:pt x="503238" y="139700"/>
                  </a:moveTo>
                  <a:lnTo>
                    <a:pt x="787040" y="139700"/>
                  </a:lnTo>
                  <a:lnTo>
                    <a:pt x="787040" y="252053"/>
                  </a:lnTo>
                  <a:lnTo>
                    <a:pt x="587154" y="252053"/>
                  </a:lnTo>
                  <a:cubicBezTo>
                    <a:pt x="567346" y="208840"/>
                    <a:pt x="538894" y="170669"/>
                    <a:pt x="503238" y="139700"/>
                  </a:cubicBezTo>
                  <a:close/>
                  <a:moveTo>
                    <a:pt x="280988" y="112713"/>
                  </a:moveTo>
                  <a:cubicBezTo>
                    <a:pt x="436053" y="112713"/>
                    <a:pt x="561615" y="238555"/>
                    <a:pt x="561615" y="393521"/>
                  </a:cubicBezTo>
                  <a:cubicBezTo>
                    <a:pt x="561615" y="548487"/>
                    <a:pt x="436053" y="674329"/>
                    <a:pt x="280988" y="674329"/>
                  </a:cubicBezTo>
                  <a:cubicBezTo>
                    <a:pt x="125923" y="674329"/>
                    <a:pt x="0" y="548487"/>
                    <a:pt x="0" y="393521"/>
                  </a:cubicBezTo>
                  <a:cubicBezTo>
                    <a:pt x="0" y="238555"/>
                    <a:pt x="125923" y="112713"/>
                    <a:pt x="280988" y="112713"/>
                  </a:cubicBezTo>
                  <a:close/>
                  <a:moveTo>
                    <a:pt x="282575" y="0"/>
                  </a:moveTo>
                  <a:lnTo>
                    <a:pt x="844190" y="0"/>
                  </a:lnTo>
                  <a:lnTo>
                    <a:pt x="844190" y="112353"/>
                  </a:lnTo>
                  <a:lnTo>
                    <a:pt x="468221" y="112353"/>
                  </a:lnTo>
                  <a:cubicBezTo>
                    <a:pt x="415694" y="76702"/>
                    <a:pt x="351293" y="55816"/>
                    <a:pt x="282575" y="55816"/>
                  </a:cubicBezTo>
                  <a:lnTo>
                    <a:pt x="28257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5" name="Freeform 85">
              <a:extLst>
                <a:ext uri="{FF2B5EF4-FFF2-40B4-BE49-F238E27FC236}">
                  <a16:creationId xmlns:a16="http://schemas.microsoft.com/office/drawing/2014/main" id="{CF40EDD9-771E-211B-2A76-E165B76E76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7018" y="2112157"/>
              <a:ext cx="619371" cy="619372"/>
            </a:xfrm>
            <a:custGeom>
              <a:avLst/>
              <a:gdLst>
                <a:gd name="T0" fmla="*/ 422275 w 899752"/>
                <a:gd name="T1" fmla="*/ 280988 h 899754"/>
                <a:gd name="T2" fmla="*/ 534627 w 899752"/>
                <a:gd name="T3" fmla="*/ 365919 h 899754"/>
                <a:gd name="T4" fmla="*/ 422275 w 899752"/>
                <a:gd name="T5" fmla="*/ 450489 h 899754"/>
                <a:gd name="T6" fmla="*/ 57150 w 899752"/>
                <a:gd name="T7" fmla="*/ 225425 h 899754"/>
                <a:gd name="T8" fmla="*/ 113290 w 899752"/>
                <a:gd name="T9" fmla="*/ 225425 h 899754"/>
                <a:gd name="T10" fmla="*/ 113290 w 899752"/>
                <a:gd name="T11" fmla="*/ 562409 h 899754"/>
                <a:gd name="T12" fmla="*/ 422420 w 899752"/>
                <a:gd name="T13" fmla="*/ 562409 h 899754"/>
                <a:gd name="T14" fmla="*/ 478560 w 899752"/>
                <a:gd name="T15" fmla="*/ 562409 h 899754"/>
                <a:gd name="T16" fmla="*/ 787690 w 899752"/>
                <a:gd name="T17" fmla="*/ 562409 h 899754"/>
                <a:gd name="T18" fmla="*/ 787690 w 899752"/>
                <a:gd name="T19" fmla="*/ 225425 h 899754"/>
                <a:gd name="T20" fmla="*/ 844190 w 899752"/>
                <a:gd name="T21" fmla="*/ 225425 h 899754"/>
                <a:gd name="T22" fmla="*/ 844190 w 899752"/>
                <a:gd name="T23" fmla="*/ 618873 h 899754"/>
                <a:gd name="T24" fmla="*/ 478560 w 899752"/>
                <a:gd name="T25" fmla="*/ 618873 h 899754"/>
                <a:gd name="T26" fmla="*/ 478560 w 899752"/>
                <a:gd name="T27" fmla="*/ 803729 h 899754"/>
                <a:gd name="T28" fmla="*/ 490436 w 899752"/>
                <a:gd name="T29" fmla="*/ 815597 h 899754"/>
                <a:gd name="T30" fmla="*/ 518146 w 899752"/>
                <a:gd name="T31" fmla="*/ 843649 h 899754"/>
                <a:gd name="T32" fmla="*/ 590840 w 899752"/>
                <a:gd name="T33" fmla="*/ 843649 h 899754"/>
                <a:gd name="T34" fmla="*/ 590840 w 899752"/>
                <a:gd name="T35" fmla="*/ 899754 h 899754"/>
                <a:gd name="T36" fmla="*/ 495114 w 899752"/>
                <a:gd name="T37" fmla="*/ 899754 h 899754"/>
                <a:gd name="T38" fmla="*/ 450490 w 899752"/>
                <a:gd name="T39" fmla="*/ 855158 h 899754"/>
                <a:gd name="T40" fmla="*/ 405866 w 899752"/>
                <a:gd name="T41" fmla="*/ 899754 h 899754"/>
                <a:gd name="T42" fmla="*/ 309780 w 899752"/>
                <a:gd name="T43" fmla="*/ 899754 h 899754"/>
                <a:gd name="T44" fmla="*/ 309780 w 899752"/>
                <a:gd name="T45" fmla="*/ 843649 h 899754"/>
                <a:gd name="T46" fmla="*/ 382475 w 899752"/>
                <a:gd name="T47" fmla="*/ 843649 h 899754"/>
                <a:gd name="T48" fmla="*/ 410904 w 899752"/>
                <a:gd name="T49" fmla="*/ 815597 h 899754"/>
                <a:gd name="T50" fmla="*/ 422420 w 899752"/>
                <a:gd name="T51" fmla="*/ 803729 h 899754"/>
                <a:gd name="T52" fmla="*/ 422420 w 899752"/>
                <a:gd name="T53" fmla="*/ 618873 h 899754"/>
                <a:gd name="T54" fmla="*/ 57150 w 899752"/>
                <a:gd name="T55" fmla="*/ 618873 h 899754"/>
                <a:gd name="T56" fmla="*/ 421804 w 899752"/>
                <a:gd name="T57" fmla="*/ 0 h 899754"/>
                <a:gd name="T58" fmla="*/ 477949 w 899752"/>
                <a:gd name="T59" fmla="*/ 0 h 899754"/>
                <a:gd name="T60" fmla="*/ 477949 w 899752"/>
                <a:gd name="T61" fmla="*/ 56380 h 899754"/>
                <a:gd name="T62" fmla="*/ 899752 w 899752"/>
                <a:gd name="T63" fmla="*/ 56380 h 899754"/>
                <a:gd name="T64" fmla="*/ 899752 w 899752"/>
                <a:gd name="T65" fmla="*/ 169501 h 899754"/>
                <a:gd name="T66" fmla="*/ 0 w 899752"/>
                <a:gd name="T67" fmla="*/ 169501 h 899754"/>
                <a:gd name="T68" fmla="*/ 0 w 899752"/>
                <a:gd name="T69" fmla="*/ 56380 h 899754"/>
                <a:gd name="T70" fmla="*/ 421804 w 899752"/>
                <a:gd name="T71" fmla="*/ 56380 h 89975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899752" h="899754">
                  <a:moveTo>
                    <a:pt x="422275" y="280988"/>
                  </a:moveTo>
                  <a:lnTo>
                    <a:pt x="534627" y="365919"/>
                  </a:lnTo>
                  <a:lnTo>
                    <a:pt x="422275" y="450489"/>
                  </a:lnTo>
                  <a:lnTo>
                    <a:pt x="422275" y="280988"/>
                  </a:lnTo>
                  <a:close/>
                  <a:moveTo>
                    <a:pt x="57150" y="225425"/>
                  </a:moveTo>
                  <a:lnTo>
                    <a:pt x="113290" y="225425"/>
                  </a:lnTo>
                  <a:lnTo>
                    <a:pt x="113290" y="562409"/>
                  </a:lnTo>
                  <a:lnTo>
                    <a:pt x="422420" y="562409"/>
                  </a:lnTo>
                  <a:lnTo>
                    <a:pt x="478560" y="562409"/>
                  </a:lnTo>
                  <a:lnTo>
                    <a:pt x="787690" y="562409"/>
                  </a:lnTo>
                  <a:lnTo>
                    <a:pt x="787690" y="225425"/>
                  </a:lnTo>
                  <a:lnTo>
                    <a:pt x="844190" y="225425"/>
                  </a:lnTo>
                  <a:lnTo>
                    <a:pt x="844190" y="618873"/>
                  </a:lnTo>
                  <a:lnTo>
                    <a:pt x="478560" y="618873"/>
                  </a:lnTo>
                  <a:lnTo>
                    <a:pt x="478560" y="803729"/>
                  </a:lnTo>
                  <a:lnTo>
                    <a:pt x="490436" y="815597"/>
                  </a:lnTo>
                  <a:lnTo>
                    <a:pt x="518146" y="843649"/>
                  </a:lnTo>
                  <a:lnTo>
                    <a:pt x="590840" y="843649"/>
                  </a:lnTo>
                  <a:lnTo>
                    <a:pt x="590840" y="899754"/>
                  </a:lnTo>
                  <a:lnTo>
                    <a:pt x="495114" y="899754"/>
                  </a:lnTo>
                  <a:lnTo>
                    <a:pt x="450490" y="855158"/>
                  </a:lnTo>
                  <a:lnTo>
                    <a:pt x="405866" y="899754"/>
                  </a:lnTo>
                  <a:lnTo>
                    <a:pt x="309780" y="899754"/>
                  </a:lnTo>
                  <a:lnTo>
                    <a:pt x="309780" y="843649"/>
                  </a:lnTo>
                  <a:lnTo>
                    <a:pt x="382475" y="843649"/>
                  </a:lnTo>
                  <a:lnTo>
                    <a:pt x="410904" y="815597"/>
                  </a:lnTo>
                  <a:lnTo>
                    <a:pt x="422420" y="803729"/>
                  </a:lnTo>
                  <a:lnTo>
                    <a:pt x="422420" y="618873"/>
                  </a:lnTo>
                  <a:lnTo>
                    <a:pt x="57150" y="618873"/>
                  </a:lnTo>
                  <a:lnTo>
                    <a:pt x="57150" y="225425"/>
                  </a:lnTo>
                  <a:close/>
                  <a:moveTo>
                    <a:pt x="421804" y="0"/>
                  </a:moveTo>
                  <a:lnTo>
                    <a:pt x="477949" y="0"/>
                  </a:lnTo>
                  <a:lnTo>
                    <a:pt x="477949" y="56380"/>
                  </a:lnTo>
                  <a:lnTo>
                    <a:pt x="899752" y="56380"/>
                  </a:lnTo>
                  <a:lnTo>
                    <a:pt x="899752" y="169501"/>
                  </a:lnTo>
                  <a:lnTo>
                    <a:pt x="0" y="169501"/>
                  </a:lnTo>
                  <a:lnTo>
                    <a:pt x="0" y="56380"/>
                  </a:lnTo>
                  <a:lnTo>
                    <a:pt x="421804" y="56380"/>
                  </a:lnTo>
                  <a:lnTo>
                    <a:pt x="42180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7" name="Freeform 91">
              <a:extLst>
                <a:ext uri="{FF2B5EF4-FFF2-40B4-BE49-F238E27FC236}">
                  <a16:creationId xmlns:a16="http://schemas.microsoft.com/office/drawing/2014/main" id="{265FF0A2-73C1-1CA9-9F4B-79FB4CC1AA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11284" y="2766188"/>
              <a:ext cx="788321" cy="738267"/>
            </a:xfrm>
            <a:custGeom>
              <a:avLst/>
              <a:gdLst>
                <a:gd name="T0" fmla="*/ 642085 w 899753"/>
                <a:gd name="T1" fmla="*/ 505575 h 842602"/>
                <a:gd name="T2" fmla="*/ 781355 w 899753"/>
                <a:gd name="T3" fmla="*/ 645275 h 842602"/>
                <a:gd name="T4" fmla="*/ 838935 w 899753"/>
                <a:gd name="T5" fmla="*/ 505575 h 842602"/>
                <a:gd name="T6" fmla="*/ 506413 w 899753"/>
                <a:gd name="T7" fmla="*/ 449262 h 842602"/>
                <a:gd name="T8" fmla="*/ 899753 w 899753"/>
                <a:gd name="T9" fmla="*/ 449262 h 842602"/>
                <a:gd name="T10" fmla="*/ 784594 w 899753"/>
                <a:gd name="T11" fmla="*/ 728301 h 842602"/>
                <a:gd name="T12" fmla="*/ 506990 w 899753"/>
                <a:gd name="T13" fmla="*/ 61123 h 842602"/>
                <a:gd name="T14" fmla="*/ 506990 w 899753"/>
                <a:gd name="T15" fmla="*/ 336892 h 842602"/>
                <a:gd name="T16" fmla="*/ 783372 w 899753"/>
                <a:gd name="T17" fmla="*/ 336892 h 842602"/>
                <a:gd name="T18" fmla="*/ 506990 w 899753"/>
                <a:gd name="T19" fmla="*/ 61123 h 842602"/>
                <a:gd name="T20" fmla="*/ 394203 w 899753"/>
                <a:gd name="T21" fmla="*/ 55562 h 842602"/>
                <a:gd name="T22" fmla="*/ 394203 w 899753"/>
                <a:gd name="T23" fmla="*/ 449082 h 842602"/>
                <a:gd name="T24" fmla="*/ 672740 w 899753"/>
                <a:gd name="T25" fmla="*/ 727390 h 842602"/>
                <a:gd name="T26" fmla="*/ 394203 w 899753"/>
                <a:gd name="T27" fmla="*/ 842602 h 842602"/>
                <a:gd name="T28" fmla="*/ 0 w 899753"/>
                <a:gd name="T29" fmla="*/ 449082 h 842602"/>
                <a:gd name="T30" fmla="*/ 394203 w 899753"/>
                <a:gd name="T31" fmla="*/ 55562 h 842602"/>
                <a:gd name="T32" fmla="*/ 450850 w 899753"/>
                <a:gd name="T33" fmla="*/ 0 h 842602"/>
                <a:gd name="T34" fmla="*/ 844190 w 899753"/>
                <a:gd name="T35" fmla="*/ 393341 h 842602"/>
                <a:gd name="T36" fmla="*/ 450850 w 899753"/>
                <a:gd name="T37" fmla="*/ 393341 h 84260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899753" h="842602">
                  <a:moveTo>
                    <a:pt x="642085" y="505575"/>
                  </a:moveTo>
                  <a:lnTo>
                    <a:pt x="781355" y="645275"/>
                  </a:lnTo>
                  <a:cubicBezTo>
                    <a:pt x="810865" y="603763"/>
                    <a:pt x="830658" y="556113"/>
                    <a:pt x="838935" y="505575"/>
                  </a:cubicBezTo>
                  <a:lnTo>
                    <a:pt x="642085" y="505575"/>
                  </a:lnTo>
                  <a:close/>
                  <a:moveTo>
                    <a:pt x="506413" y="449262"/>
                  </a:moveTo>
                  <a:lnTo>
                    <a:pt x="899753" y="449262"/>
                  </a:lnTo>
                  <a:cubicBezTo>
                    <a:pt x="899753" y="558279"/>
                    <a:pt x="855849" y="656827"/>
                    <a:pt x="784594" y="728301"/>
                  </a:cubicBezTo>
                  <a:lnTo>
                    <a:pt x="506413" y="449262"/>
                  </a:lnTo>
                  <a:close/>
                  <a:moveTo>
                    <a:pt x="506990" y="61123"/>
                  </a:moveTo>
                  <a:lnTo>
                    <a:pt x="506990" y="336892"/>
                  </a:lnTo>
                  <a:lnTo>
                    <a:pt x="783372" y="336892"/>
                  </a:lnTo>
                  <a:cubicBezTo>
                    <a:pt x="759620" y="195951"/>
                    <a:pt x="648060" y="84493"/>
                    <a:pt x="506990" y="61123"/>
                  </a:cubicBezTo>
                  <a:close/>
                  <a:moveTo>
                    <a:pt x="394203" y="55562"/>
                  </a:moveTo>
                  <a:lnTo>
                    <a:pt x="394203" y="449082"/>
                  </a:lnTo>
                  <a:lnTo>
                    <a:pt x="672740" y="727390"/>
                  </a:lnTo>
                  <a:cubicBezTo>
                    <a:pt x="601394" y="798678"/>
                    <a:pt x="502663" y="842602"/>
                    <a:pt x="394203" y="842602"/>
                  </a:cubicBezTo>
                  <a:cubicBezTo>
                    <a:pt x="176203" y="842602"/>
                    <a:pt x="0" y="666544"/>
                    <a:pt x="0" y="449082"/>
                  </a:cubicBezTo>
                  <a:cubicBezTo>
                    <a:pt x="0" y="231620"/>
                    <a:pt x="176203" y="55562"/>
                    <a:pt x="394203" y="55562"/>
                  </a:cubicBezTo>
                  <a:close/>
                  <a:moveTo>
                    <a:pt x="450850" y="0"/>
                  </a:moveTo>
                  <a:cubicBezTo>
                    <a:pt x="668213" y="0"/>
                    <a:pt x="844190" y="176176"/>
                    <a:pt x="844190" y="393341"/>
                  </a:cubicBezTo>
                  <a:lnTo>
                    <a:pt x="450850" y="393341"/>
                  </a:lnTo>
                  <a:lnTo>
                    <a:pt x="4508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40" name="Shape 9162">
              <a:extLst>
                <a:ext uri="{FF2B5EF4-FFF2-40B4-BE49-F238E27FC236}">
                  <a16:creationId xmlns:a16="http://schemas.microsoft.com/office/drawing/2014/main" id="{3F77BA1F-98CB-C531-7F3D-D2F1E535B94A}"/>
                </a:ext>
              </a:extLst>
            </p:cNvPr>
            <p:cNvSpPr/>
            <p:nvPr/>
          </p:nvSpPr>
          <p:spPr>
            <a:xfrm>
              <a:off x="5005125" y="1798158"/>
              <a:ext cx="2176384" cy="2176386"/>
            </a:xfrm>
            <a:prstGeom prst="ellipse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6" name="Freeform 90">
              <a:extLst>
                <a:ext uri="{FF2B5EF4-FFF2-40B4-BE49-F238E27FC236}">
                  <a16:creationId xmlns:a16="http://schemas.microsoft.com/office/drawing/2014/main" id="{890D102F-AB24-865A-DF9C-E3D1080F6F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1001" y="2497392"/>
              <a:ext cx="832124" cy="777918"/>
            </a:xfrm>
            <a:custGeom>
              <a:avLst/>
              <a:gdLst>
                <a:gd name="T0" fmla="*/ 619798 w 901340"/>
                <a:gd name="T1" fmla="*/ 730250 h 842602"/>
                <a:gd name="T2" fmla="*/ 845104 w 901340"/>
                <a:gd name="T3" fmla="*/ 730250 h 842602"/>
                <a:gd name="T4" fmla="*/ 901340 w 901340"/>
                <a:gd name="T5" fmla="*/ 786426 h 842602"/>
                <a:gd name="T6" fmla="*/ 901340 w 901340"/>
                <a:gd name="T7" fmla="*/ 842602 h 842602"/>
                <a:gd name="T8" fmla="*/ 563562 w 901340"/>
                <a:gd name="T9" fmla="*/ 842602 h 842602"/>
                <a:gd name="T10" fmla="*/ 563562 w 901340"/>
                <a:gd name="T11" fmla="*/ 786426 h 842602"/>
                <a:gd name="T12" fmla="*/ 56536 w 901340"/>
                <a:gd name="T13" fmla="*/ 730250 h 842602"/>
                <a:gd name="T14" fmla="*/ 281241 w 901340"/>
                <a:gd name="T15" fmla="*/ 730250 h 842602"/>
                <a:gd name="T16" fmla="*/ 337777 w 901340"/>
                <a:gd name="T17" fmla="*/ 786426 h 842602"/>
                <a:gd name="T18" fmla="*/ 337777 w 901340"/>
                <a:gd name="T19" fmla="*/ 842602 h 842602"/>
                <a:gd name="T20" fmla="*/ 0 w 901340"/>
                <a:gd name="T21" fmla="*/ 842602 h 842602"/>
                <a:gd name="T22" fmla="*/ 0 w 901340"/>
                <a:gd name="T23" fmla="*/ 786426 h 842602"/>
                <a:gd name="T24" fmla="*/ 318349 w 901340"/>
                <a:gd name="T25" fmla="*/ 612775 h 842602"/>
                <a:gd name="T26" fmla="*/ 582992 w 901340"/>
                <a:gd name="T27" fmla="*/ 612775 h 842602"/>
                <a:gd name="T28" fmla="*/ 609241 w 901340"/>
                <a:gd name="T29" fmla="*/ 662402 h 842602"/>
                <a:gd name="T30" fmla="*/ 450670 w 901340"/>
                <a:gd name="T31" fmla="*/ 701318 h 842602"/>
                <a:gd name="T32" fmla="*/ 292100 w 901340"/>
                <a:gd name="T33" fmla="*/ 662402 h 842602"/>
                <a:gd name="T34" fmla="*/ 732270 w 901340"/>
                <a:gd name="T35" fmla="*/ 504825 h 842602"/>
                <a:gd name="T36" fmla="*/ 817201 w 901340"/>
                <a:gd name="T37" fmla="*/ 588881 h 842602"/>
                <a:gd name="T38" fmla="*/ 817201 w 901340"/>
                <a:gd name="T39" fmla="*/ 616900 h 842602"/>
                <a:gd name="T40" fmla="*/ 732270 w 901340"/>
                <a:gd name="T41" fmla="*/ 701316 h 842602"/>
                <a:gd name="T42" fmla="*/ 647700 w 901340"/>
                <a:gd name="T43" fmla="*/ 616900 h 842602"/>
                <a:gd name="T44" fmla="*/ 647700 w 901340"/>
                <a:gd name="T45" fmla="*/ 588881 h 842602"/>
                <a:gd name="T46" fmla="*/ 732270 w 901340"/>
                <a:gd name="T47" fmla="*/ 504825 h 842602"/>
                <a:gd name="T48" fmla="*/ 168095 w 901340"/>
                <a:gd name="T49" fmla="*/ 504825 h 842602"/>
                <a:gd name="T50" fmla="*/ 252053 w 901340"/>
                <a:gd name="T51" fmla="*/ 588881 h 842602"/>
                <a:gd name="T52" fmla="*/ 252053 w 901340"/>
                <a:gd name="T53" fmla="*/ 616900 h 842602"/>
                <a:gd name="T54" fmla="*/ 168095 w 901340"/>
                <a:gd name="T55" fmla="*/ 701316 h 842602"/>
                <a:gd name="T56" fmla="*/ 84137 w 901340"/>
                <a:gd name="T57" fmla="*/ 616900 h 842602"/>
                <a:gd name="T58" fmla="*/ 84137 w 901340"/>
                <a:gd name="T59" fmla="*/ 588881 h 842602"/>
                <a:gd name="T60" fmla="*/ 168095 w 901340"/>
                <a:gd name="T61" fmla="*/ 504825 h 842602"/>
                <a:gd name="T62" fmla="*/ 337524 w 901340"/>
                <a:gd name="T63" fmla="*/ 223837 h 842602"/>
                <a:gd name="T64" fmla="*/ 562589 w 901340"/>
                <a:gd name="T65" fmla="*/ 223837 h 842602"/>
                <a:gd name="T66" fmla="*/ 618765 w 901340"/>
                <a:gd name="T67" fmla="*/ 280013 h 842602"/>
                <a:gd name="T68" fmla="*/ 618765 w 901340"/>
                <a:gd name="T69" fmla="*/ 336190 h 842602"/>
                <a:gd name="T70" fmla="*/ 280987 w 901340"/>
                <a:gd name="T71" fmla="*/ 336190 h 842602"/>
                <a:gd name="T72" fmla="*/ 280987 w 901340"/>
                <a:gd name="T73" fmla="*/ 280013 h 842602"/>
                <a:gd name="T74" fmla="*/ 337524 w 901340"/>
                <a:gd name="T75" fmla="*/ 223837 h 842602"/>
                <a:gd name="T76" fmla="*/ 637877 w 901340"/>
                <a:gd name="T77" fmla="*/ 142875 h 842602"/>
                <a:gd name="T78" fmla="*/ 788626 w 901340"/>
                <a:gd name="T79" fmla="*/ 421914 h 842602"/>
                <a:gd name="T80" fmla="*/ 732230 w 901340"/>
                <a:gd name="T81" fmla="*/ 421914 h 842602"/>
                <a:gd name="T82" fmla="*/ 606425 w 901340"/>
                <a:gd name="T83" fmla="*/ 189742 h 842602"/>
                <a:gd name="T84" fmla="*/ 261899 w 901340"/>
                <a:gd name="T85" fmla="*/ 142875 h 842602"/>
                <a:gd name="T86" fmla="*/ 293326 w 901340"/>
                <a:gd name="T87" fmla="*/ 189657 h 842602"/>
                <a:gd name="T88" fmla="*/ 169064 w 901340"/>
                <a:gd name="T89" fmla="*/ 420327 h 842602"/>
                <a:gd name="T90" fmla="*/ 112712 w 901340"/>
                <a:gd name="T91" fmla="*/ 420327 h 842602"/>
                <a:gd name="T92" fmla="*/ 261899 w 901340"/>
                <a:gd name="T93" fmla="*/ 142875 h 842602"/>
                <a:gd name="T94" fmla="*/ 450670 w 901340"/>
                <a:gd name="T95" fmla="*/ 0 h 842602"/>
                <a:gd name="T96" fmla="*/ 534628 w 901340"/>
                <a:gd name="T97" fmla="*/ 84415 h 842602"/>
                <a:gd name="T98" fmla="*/ 534628 w 901340"/>
                <a:gd name="T99" fmla="*/ 112434 h 842602"/>
                <a:gd name="T100" fmla="*/ 450670 w 901340"/>
                <a:gd name="T101" fmla="*/ 196491 h 842602"/>
                <a:gd name="T102" fmla="*/ 366712 w 901340"/>
                <a:gd name="T103" fmla="*/ 112434 h 842602"/>
                <a:gd name="T104" fmla="*/ 366712 w 901340"/>
                <a:gd name="T105" fmla="*/ 84415 h 842602"/>
                <a:gd name="T106" fmla="*/ 450670 w 901340"/>
                <a:gd name="T107" fmla="*/ 0 h 84260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901340" h="842602">
                  <a:moveTo>
                    <a:pt x="619798" y="730250"/>
                  </a:moveTo>
                  <a:lnTo>
                    <a:pt x="845104" y="730250"/>
                  </a:lnTo>
                  <a:cubicBezTo>
                    <a:pt x="867093" y="752216"/>
                    <a:pt x="879350" y="764460"/>
                    <a:pt x="901340" y="786426"/>
                  </a:cubicBezTo>
                  <a:lnTo>
                    <a:pt x="901340" y="842602"/>
                  </a:lnTo>
                  <a:lnTo>
                    <a:pt x="563562" y="842602"/>
                  </a:lnTo>
                  <a:lnTo>
                    <a:pt x="563562" y="786426"/>
                  </a:lnTo>
                  <a:lnTo>
                    <a:pt x="619798" y="730250"/>
                  </a:lnTo>
                  <a:close/>
                  <a:moveTo>
                    <a:pt x="56536" y="730250"/>
                  </a:moveTo>
                  <a:lnTo>
                    <a:pt x="281241" y="730250"/>
                  </a:lnTo>
                  <a:lnTo>
                    <a:pt x="337777" y="786426"/>
                  </a:lnTo>
                  <a:lnTo>
                    <a:pt x="337777" y="842602"/>
                  </a:lnTo>
                  <a:lnTo>
                    <a:pt x="0" y="842602"/>
                  </a:lnTo>
                  <a:lnTo>
                    <a:pt x="0" y="786426"/>
                  </a:lnTo>
                  <a:lnTo>
                    <a:pt x="56536" y="730250"/>
                  </a:lnTo>
                  <a:close/>
                  <a:moveTo>
                    <a:pt x="318349" y="612775"/>
                  </a:moveTo>
                  <a:cubicBezTo>
                    <a:pt x="399252" y="655618"/>
                    <a:pt x="502089" y="655618"/>
                    <a:pt x="582992" y="612775"/>
                  </a:cubicBezTo>
                  <a:lnTo>
                    <a:pt x="609241" y="662402"/>
                  </a:lnTo>
                  <a:cubicBezTo>
                    <a:pt x="561058" y="687751"/>
                    <a:pt x="506044" y="701318"/>
                    <a:pt x="450670" y="701318"/>
                  </a:cubicBezTo>
                  <a:cubicBezTo>
                    <a:pt x="395297" y="701318"/>
                    <a:pt x="340642" y="687751"/>
                    <a:pt x="292100" y="662402"/>
                  </a:cubicBezTo>
                  <a:lnTo>
                    <a:pt x="318349" y="612775"/>
                  </a:lnTo>
                  <a:close/>
                  <a:moveTo>
                    <a:pt x="732270" y="504825"/>
                  </a:moveTo>
                  <a:cubicBezTo>
                    <a:pt x="778892" y="504825"/>
                    <a:pt x="817201" y="542542"/>
                    <a:pt x="817201" y="588881"/>
                  </a:cubicBezTo>
                  <a:lnTo>
                    <a:pt x="817201" y="616900"/>
                  </a:lnTo>
                  <a:cubicBezTo>
                    <a:pt x="817201" y="663598"/>
                    <a:pt x="778892" y="701316"/>
                    <a:pt x="732270" y="701316"/>
                  </a:cubicBezTo>
                  <a:cubicBezTo>
                    <a:pt x="685648" y="701316"/>
                    <a:pt x="647700" y="663598"/>
                    <a:pt x="647700" y="616900"/>
                  </a:cubicBezTo>
                  <a:lnTo>
                    <a:pt x="647700" y="588881"/>
                  </a:lnTo>
                  <a:cubicBezTo>
                    <a:pt x="647700" y="542542"/>
                    <a:pt x="685648" y="504825"/>
                    <a:pt x="732270" y="504825"/>
                  </a:cubicBezTo>
                  <a:close/>
                  <a:moveTo>
                    <a:pt x="168095" y="504825"/>
                  </a:moveTo>
                  <a:cubicBezTo>
                    <a:pt x="214739" y="504825"/>
                    <a:pt x="252053" y="542542"/>
                    <a:pt x="252053" y="588881"/>
                  </a:cubicBezTo>
                  <a:lnTo>
                    <a:pt x="252053" y="616900"/>
                  </a:lnTo>
                  <a:cubicBezTo>
                    <a:pt x="252053" y="663598"/>
                    <a:pt x="214739" y="701316"/>
                    <a:pt x="168095" y="701316"/>
                  </a:cubicBezTo>
                  <a:cubicBezTo>
                    <a:pt x="121811" y="701316"/>
                    <a:pt x="84137" y="663598"/>
                    <a:pt x="84137" y="616900"/>
                  </a:cubicBezTo>
                  <a:lnTo>
                    <a:pt x="84137" y="588881"/>
                  </a:lnTo>
                  <a:cubicBezTo>
                    <a:pt x="84137" y="542542"/>
                    <a:pt x="121811" y="504825"/>
                    <a:pt x="168095" y="504825"/>
                  </a:cubicBezTo>
                  <a:close/>
                  <a:moveTo>
                    <a:pt x="337524" y="223837"/>
                  </a:moveTo>
                  <a:lnTo>
                    <a:pt x="562589" y="223837"/>
                  </a:lnTo>
                  <a:cubicBezTo>
                    <a:pt x="584555" y="245803"/>
                    <a:pt x="596799" y="258407"/>
                    <a:pt x="618765" y="280013"/>
                  </a:cubicBezTo>
                  <a:lnTo>
                    <a:pt x="618765" y="336190"/>
                  </a:lnTo>
                  <a:lnTo>
                    <a:pt x="280987" y="336190"/>
                  </a:lnTo>
                  <a:lnTo>
                    <a:pt x="280987" y="280013"/>
                  </a:lnTo>
                  <a:cubicBezTo>
                    <a:pt x="302954" y="258407"/>
                    <a:pt x="315557" y="245803"/>
                    <a:pt x="337524" y="223837"/>
                  </a:cubicBezTo>
                  <a:close/>
                  <a:moveTo>
                    <a:pt x="637877" y="142875"/>
                  </a:moveTo>
                  <a:cubicBezTo>
                    <a:pt x="732230" y="205605"/>
                    <a:pt x="788626" y="309794"/>
                    <a:pt x="788626" y="421914"/>
                  </a:cubicBezTo>
                  <a:lnTo>
                    <a:pt x="732230" y="421914"/>
                  </a:lnTo>
                  <a:cubicBezTo>
                    <a:pt x="732230" y="328901"/>
                    <a:pt x="685234" y="242017"/>
                    <a:pt x="606425" y="189742"/>
                  </a:cubicBezTo>
                  <a:lnTo>
                    <a:pt x="637877" y="142875"/>
                  </a:lnTo>
                  <a:close/>
                  <a:moveTo>
                    <a:pt x="261899" y="142875"/>
                  </a:moveTo>
                  <a:lnTo>
                    <a:pt x="293326" y="189657"/>
                  </a:lnTo>
                  <a:cubicBezTo>
                    <a:pt x="215301" y="241477"/>
                    <a:pt x="169064" y="327843"/>
                    <a:pt x="169064" y="420327"/>
                  </a:cubicBezTo>
                  <a:lnTo>
                    <a:pt x="112712" y="420327"/>
                  </a:lnTo>
                  <a:cubicBezTo>
                    <a:pt x="112712" y="309130"/>
                    <a:pt x="168341" y="205491"/>
                    <a:pt x="261899" y="142875"/>
                  </a:cubicBezTo>
                  <a:close/>
                  <a:moveTo>
                    <a:pt x="450670" y="0"/>
                  </a:moveTo>
                  <a:cubicBezTo>
                    <a:pt x="496955" y="0"/>
                    <a:pt x="534628" y="37717"/>
                    <a:pt x="534628" y="84415"/>
                  </a:cubicBezTo>
                  <a:lnTo>
                    <a:pt x="534628" y="112434"/>
                  </a:lnTo>
                  <a:cubicBezTo>
                    <a:pt x="534628" y="158773"/>
                    <a:pt x="496955" y="196491"/>
                    <a:pt x="450670" y="196491"/>
                  </a:cubicBezTo>
                  <a:cubicBezTo>
                    <a:pt x="404386" y="196491"/>
                    <a:pt x="366712" y="158773"/>
                    <a:pt x="366712" y="112434"/>
                  </a:cubicBezTo>
                  <a:lnTo>
                    <a:pt x="366712" y="84415"/>
                  </a:lnTo>
                  <a:cubicBezTo>
                    <a:pt x="366712" y="37717"/>
                    <a:pt x="404386" y="0"/>
                    <a:pt x="45067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6BD80FBC-0DB4-7612-8873-FB8B246E7FEE}"/>
                </a:ext>
              </a:extLst>
            </p:cNvPr>
            <p:cNvSpPr txBox="1"/>
            <p:nvPr/>
          </p:nvSpPr>
          <p:spPr>
            <a:xfrm>
              <a:off x="1333366" y="4175711"/>
              <a:ext cx="175080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ANALIZA 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STRATEGICZNA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B32326CC-3494-62F8-E821-3D26262B9C02}"/>
                </a:ext>
              </a:extLst>
            </p:cNvPr>
            <p:cNvSpPr txBox="1"/>
            <p:nvPr/>
          </p:nvSpPr>
          <p:spPr>
            <a:xfrm>
              <a:off x="4143828" y="4175711"/>
              <a:ext cx="131318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WARTOŚĆI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7766A149-DB30-976C-5E6C-9D672456170F}"/>
                </a:ext>
              </a:extLst>
            </p:cNvPr>
            <p:cNvSpPr txBox="1"/>
            <p:nvPr/>
          </p:nvSpPr>
          <p:spPr>
            <a:xfrm>
              <a:off x="6536910" y="4175711"/>
              <a:ext cx="1710725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CELE 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STRATEGICZNE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D616EDDF-4FCB-CD30-F39B-0026D3C03B46}"/>
                </a:ext>
              </a:extLst>
            </p:cNvPr>
            <p:cNvSpPr txBox="1"/>
            <p:nvPr/>
          </p:nvSpPr>
          <p:spPr>
            <a:xfrm>
              <a:off x="2680270" y="5060294"/>
              <a:ext cx="16466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MISJA I WIZJA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573B5A84-529A-B94B-3932-CFDD3E8FE09E}"/>
                </a:ext>
              </a:extLst>
            </p:cNvPr>
            <p:cNvSpPr txBox="1"/>
            <p:nvPr/>
          </p:nvSpPr>
          <p:spPr>
            <a:xfrm>
              <a:off x="5328528" y="5060294"/>
              <a:ext cx="1529586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OBSZARY 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STRAGICZNE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(FILARY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PRIORYTETY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A4673D41-0487-FBFF-5F23-5BF8885CA75C}"/>
                </a:ext>
              </a:extLst>
            </p:cNvPr>
            <p:cNvSpPr txBox="1"/>
            <p:nvPr/>
          </p:nvSpPr>
          <p:spPr>
            <a:xfrm>
              <a:off x="7579914" y="5060294"/>
              <a:ext cx="222208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CELE 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OPERACYJNE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(+WSKAŹNIKI - KPI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E22D2790-38E8-ADB8-CD15-0775181A2470}"/>
                </a:ext>
              </a:extLst>
            </p:cNvPr>
            <p:cNvSpPr txBox="1"/>
            <p:nvPr/>
          </p:nvSpPr>
          <p:spPr>
            <a:xfrm>
              <a:off x="8863383" y="4175711"/>
              <a:ext cx="2239716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HARMONOGRAM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(KAMIENIE MILOWE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044C09F1-86A3-9107-069E-C6548C733073}"/>
              </a:ext>
            </a:extLst>
          </p:cNvPr>
          <p:cNvSpPr txBox="1"/>
          <p:nvPr/>
        </p:nvSpPr>
        <p:spPr>
          <a:xfrm>
            <a:off x="359151" y="4543502"/>
            <a:ext cx="1418184" cy="260654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naliza </a:t>
            </a:r>
            <a:r>
              <a:rPr kumimoji="0" lang="pl-PL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krootoczenia</a:t>
            </a: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PEST)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naliza mikrootoczenia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5 sił portera)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naliza organizacji/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yscypliny </a:t>
            </a: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SWOT)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3942">
                  <a:lumMod val="50000"/>
                </a:srgbClr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5803E92D-784B-534A-7A67-92B87E8048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4890" y="2182203"/>
            <a:ext cx="1859598" cy="1859598"/>
          </a:xfrm>
          <a:prstGeom prst="rect">
            <a:avLst/>
          </a:prstGeom>
        </p:spPr>
      </p:pic>
      <p:pic>
        <p:nvPicPr>
          <p:cNvPr id="4" name="Obraz 3">
            <a:extLst>
              <a:ext uri="{FF2B5EF4-FFF2-40B4-BE49-F238E27FC236}">
                <a16:creationId xmlns:a16="http://schemas.microsoft.com/office/drawing/2014/main" id="{E9F42069-9ABB-8F30-720E-6D5C0B64B7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99187" y="4865988"/>
            <a:ext cx="174852" cy="174852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3CAD4DDF-95D7-9C9D-5CC9-320253777C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05959" y="2843993"/>
            <a:ext cx="725487" cy="774259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3F9B66D9-841A-F0FB-3B34-9ED51BC35526}"/>
              </a:ext>
            </a:extLst>
          </p:cNvPr>
          <p:cNvSpPr txBox="1"/>
          <p:nvPr/>
        </p:nvSpPr>
        <p:spPr>
          <a:xfrm>
            <a:off x="10050999" y="5194727"/>
            <a:ext cx="1646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UNIKACJA</a:t>
            </a:r>
          </a:p>
        </p:txBody>
      </p:sp>
      <p:pic>
        <p:nvPicPr>
          <p:cNvPr id="22" name="Obraz 21">
            <a:extLst>
              <a:ext uri="{FF2B5EF4-FFF2-40B4-BE49-F238E27FC236}">
                <a16:creationId xmlns:a16="http://schemas.microsoft.com/office/drawing/2014/main" id="{37AB5E8B-5A08-E611-E240-0081AA2A83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80556" y="6334789"/>
            <a:ext cx="3176291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2509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12D54C4-9912-169B-C4D6-A1468372BA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ADF2C05F-31CF-11A0-AD6C-0D31705692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5B9F2039-EA95-7F2C-EDEF-A7883B7AE1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1269336" cy="2008639"/>
          </a:xfrm>
          <a:custGeom>
            <a:avLst/>
            <a:gdLst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296127 w 11269336"/>
              <a:gd name="connsiteY139" fmla="*/ 2023208 h 2323145"/>
              <a:gd name="connsiteX140" fmla="*/ 5174645 w 11269336"/>
              <a:gd name="connsiteY140" fmla="*/ 2088358 h 2323145"/>
              <a:gd name="connsiteX141" fmla="*/ 5092476 w 11269336"/>
              <a:gd name="connsiteY141" fmla="*/ 2100737 h 2323145"/>
              <a:gd name="connsiteX142" fmla="*/ 5060738 w 11269336"/>
              <a:gd name="connsiteY142" fmla="*/ 2083274 h 2323145"/>
              <a:gd name="connsiteX143" fmla="*/ 4860988 w 11269336"/>
              <a:gd name="connsiteY143" fmla="*/ 2135698 h 2323145"/>
              <a:gd name="connsiteX144" fmla="*/ 4807902 w 11269336"/>
              <a:gd name="connsiteY144" fmla="*/ 2138894 h 2323145"/>
              <a:gd name="connsiteX145" fmla="*/ 4765388 w 11269336"/>
              <a:gd name="connsiteY145" fmla="*/ 2162525 h 2323145"/>
              <a:gd name="connsiteX146" fmla="*/ 4745033 w 11269336"/>
              <a:gd name="connsiteY146" fmla="*/ 2158859 h 2323145"/>
              <a:gd name="connsiteX147" fmla="*/ 4741475 w 11269336"/>
              <a:gd name="connsiteY147" fmla="*/ 2157998 h 2323145"/>
              <a:gd name="connsiteX148" fmla="*/ 4728247 w 11269336"/>
              <a:gd name="connsiteY148" fmla="*/ 2159526 h 2323145"/>
              <a:gd name="connsiteX149" fmla="*/ 4723263 w 11269336"/>
              <a:gd name="connsiteY149" fmla="*/ 2153742 h 2323145"/>
              <a:gd name="connsiteX150" fmla="*/ 4702453 w 11269336"/>
              <a:gd name="connsiteY150" fmla="*/ 2151586 h 2323145"/>
              <a:gd name="connsiteX151" fmla="*/ 4678455 w 11269336"/>
              <a:gd name="connsiteY151" fmla="*/ 2156131 h 2323145"/>
              <a:gd name="connsiteX152" fmla="*/ 4593061 w 11269336"/>
              <a:gd name="connsiteY152" fmla="*/ 2171597 h 2323145"/>
              <a:gd name="connsiteX153" fmla="*/ 4579902 w 11269336"/>
              <a:gd name="connsiteY153" fmla="*/ 2177927 h 2323145"/>
              <a:gd name="connsiteX154" fmla="*/ 4533444 w 11269336"/>
              <a:gd name="connsiteY154" fmla="*/ 2181200 h 2323145"/>
              <a:gd name="connsiteX155" fmla="*/ 4492832 w 11269336"/>
              <a:gd name="connsiteY155" fmla="*/ 2188033 h 2323145"/>
              <a:gd name="connsiteX156" fmla="*/ 4467257 w 11269336"/>
              <a:gd name="connsiteY156" fmla="*/ 2196121 h 2323145"/>
              <a:gd name="connsiteX157" fmla="*/ 4459937 w 11269336"/>
              <a:gd name="connsiteY157" fmla="*/ 2195182 h 2323145"/>
              <a:gd name="connsiteX158" fmla="*/ 4433312 w 11269336"/>
              <a:gd name="connsiteY158" fmla="*/ 2199004 h 2323145"/>
              <a:gd name="connsiteX159" fmla="*/ 4420601 w 11269336"/>
              <a:gd name="connsiteY159" fmla="*/ 2205158 h 2323145"/>
              <a:gd name="connsiteX160" fmla="*/ 4405765 w 11269336"/>
              <a:gd name="connsiteY160" fmla="*/ 2199902 h 2323145"/>
              <a:gd name="connsiteX161" fmla="*/ 4401354 w 11269336"/>
              <a:gd name="connsiteY161" fmla="*/ 2194745 h 2323145"/>
              <a:gd name="connsiteX162" fmla="*/ 4383151 w 11269336"/>
              <a:gd name="connsiteY162" fmla="*/ 2201140 h 2323145"/>
              <a:gd name="connsiteX163" fmla="*/ 4366646 w 11269336"/>
              <a:gd name="connsiteY163" fmla="*/ 2198564 h 2323145"/>
              <a:gd name="connsiteX164" fmla="*/ 4354009 w 11269336"/>
              <a:gd name="connsiteY164" fmla="*/ 2204984 h 2323145"/>
              <a:gd name="connsiteX165" fmla="*/ 4348284 w 11269336"/>
              <a:gd name="connsiteY165" fmla="*/ 2205270 h 2323145"/>
              <a:gd name="connsiteX166" fmla="*/ 4333906 w 11269336"/>
              <a:gd name="connsiteY166" fmla="*/ 2205251 h 2323145"/>
              <a:gd name="connsiteX167" fmla="*/ 4308819 w 11269336"/>
              <a:gd name="connsiteY167" fmla="*/ 2203822 h 2323145"/>
              <a:gd name="connsiteX168" fmla="*/ 4301210 w 11269336"/>
              <a:gd name="connsiteY168" fmla="*/ 2204456 h 2323145"/>
              <a:gd name="connsiteX169" fmla="*/ 4283095 w 11269336"/>
              <a:gd name="connsiteY169" fmla="*/ 2198177 h 2323145"/>
              <a:gd name="connsiteX170" fmla="*/ 4250119 w 11269336"/>
              <a:gd name="connsiteY170" fmla="*/ 2196342 h 2323145"/>
              <a:gd name="connsiteX171" fmla="*/ 4189203 w 11269336"/>
              <a:gd name="connsiteY171" fmla="*/ 2178994 h 2323145"/>
              <a:gd name="connsiteX172" fmla="*/ 4154035 w 11269336"/>
              <a:gd name="connsiteY172" fmla="*/ 2171950 h 2323145"/>
              <a:gd name="connsiteX173" fmla="*/ 4129569 w 11269336"/>
              <a:gd name="connsiteY173" fmla="*/ 2163850 h 2323145"/>
              <a:gd name="connsiteX174" fmla="*/ 4061250 w 11269336"/>
              <a:gd name="connsiteY174" fmla="*/ 2159236 h 2323145"/>
              <a:gd name="connsiteX175" fmla="*/ 3945480 w 11269336"/>
              <a:gd name="connsiteY175" fmla="*/ 2158279 h 2323145"/>
              <a:gd name="connsiteX176" fmla="*/ 3921468 w 11269336"/>
              <a:gd name="connsiteY176" fmla="*/ 2156588 h 2323145"/>
              <a:gd name="connsiteX177" fmla="*/ 3903348 w 11269336"/>
              <a:gd name="connsiteY177" fmla="*/ 2149220 h 2323145"/>
              <a:gd name="connsiteX178" fmla="*/ 3901342 w 11269336"/>
              <a:gd name="connsiteY178" fmla="*/ 2142355 h 2323145"/>
              <a:gd name="connsiteX179" fmla="*/ 3888539 w 11269336"/>
              <a:gd name="connsiteY179" fmla="*/ 2140476 h 2323145"/>
              <a:gd name="connsiteX180" fmla="*/ 3885662 w 11269336"/>
              <a:gd name="connsiteY180" fmla="*/ 2138740 h 2323145"/>
              <a:gd name="connsiteX181" fmla="*/ 3868627 w 11269336"/>
              <a:gd name="connsiteY181" fmla="*/ 2130023 h 2323145"/>
              <a:gd name="connsiteX182" fmla="*/ 3819177 w 11269336"/>
              <a:gd name="connsiteY182" fmla="*/ 2142111 h 2323145"/>
              <a:gd name="connsiteX183" fmla="*/ 3769100 w 11269336"/>
              <a:gd name="connsiteY183" fmla="*/ 2131731 h 2323145"/>
              <a:gd name="connsiteX184" fmla="*/ 3562752 w 11269336"/>
              <a:gd name="connsiteY184" fmla="*/ 2131785 h 2323145"/>
              <a:gd name="connsiteX185" fmla="*/ 3541402 w 11269336"/>
              <a:gd name="connsiteY185" fmla="*/ 2106821 h 2323145"/>
              <a:gd name="connsiteX186" fmla="*/ 3460591 w 11269336"/>
              <a:gd name="connsiteY186" fmla="*/ 2097951 h 2323145"/>
              <a:gd name="connsiteX187" fmla="*/ 3320348 w 11269336"/>
              <a:gd name="connsiteY187" fmla="*/ 2130191 h 2323145"/>
              <a:gd name="connsiteX188" fmla="*/ 3170922 w 11269336"/>
              <a:gd name="connsiteY188" fmla="*/ 2115957 h 2323145"/>
              <a:gd name="connsiteX189" fmla="*/ 3156256 w 11269336"/>
              <a:gd name="connsiteY189" fmla="*/ 2124773 h 2323145"/>
              <a:gd name="connsiteX190" fmla="*/ 3140298 w 11269336"/>
              <a:gd name="connsiteY190" fmla="*/ 2129182 h 2323145"/>
              <a:gd name="connsiteX191" fmla="*/ 3138514 w 11269336"/>
              <a:gd name="connsiteY191" fmla="*/ 2128069 h 2323145"/>
              <a:gd name="connsiteX192" fmla="*/ 3120467 w 11269336"/>
              <a:gd name="connsiteY192" fmla="*/ 2128281 h 2323145"/>
              <a:gd name="connsiteX193" fmla="*/ 3116175 w 11269336"/>
              <a:gd name="connsiteY193" fmla="*/ 2131633 h 2323145"/>
              <a:gd name="connsiteX194" fmla="*/ 3103685 w 11269336"/>
              <a:gd name="connsiteY194" fmla="*/ 2132814 h 2323145"/>
              <a:gd name="connsiteX195" fmla="*/ 3078794 w 11269336"/>
              <a:gd name="connsiteY195" fmla="*/ 2137935 h 2323145"/>
              <a:gd name="connsiteX196" fmla="*/ 3074407 w 11269336"/>
              <a:gd name="connsiteY196" fmla="*/ 2136274 h 2323145"/>
              <a:gd name="connsiteX197" fmla="*/ 3037285 w 11269336"/>
              <a:gd name="connsiteY197" fmla="*/ 2139919 h 2323145"/>
              <a:gd name="connsiteX198" fmla="*/ 3036901 w 11269336"/>
              <a:gd name="connsiteY198" fmla="*/ 2138726 h 2323145"/>
              <a:gd name="connsiteX199" fmla="*/ 3026996 w 11269336"/>
              <a:gd name="connsiteY199" fmla="*/ 2134322 h 2323145"/>
              <a:gd name="connsiteX200" fmla="*/ 3007772 w 11269336"/>
              <a:gd name="connsiteY200" fmla="*/ 2128742 h 2323145"/>
              <a:gd name="connsiteX201" fmla="*/ 2965030 w 11269336"/>
              <a:gd name="connsiteY201" fmla="*/ 2100494 h 2323145"/>
              <a:gd name="connsiteX202" fmla="*/ 2926342 w 11269336"/>
              <a:gd name="connsiteY202" fmla="*/ 2104155 h 2323145"/>
              <a:gd name="connsiteX203" fmla="*/ 2918608 w 11269336"/>
              <a:gd name="connsiteY203" fmla="*/ 2104215 h 2323145"/>
              <a:gd name="connsiteX204" fmla="*/ 2918475 w 11269336"/>
              <a:gd name="connsiteY204" fmla="*/ 2103937 h 2323145"/>
              <a:gd name="connsiteX205" fmla="*/ 2910360 w 11269336"/>
              <a:gd name="connsiteY205" fmla="*/ 2103444 h 2323145"/>
              <a:gd name="connsiteX206" fmla="*/ 2904507 w 11269336"/>
              <a:gd name="connsiteY206" fmla="*/ 2104326 h 2323145"/>
              <a:gd name="connsiteX207" fmla="*/ 2889503 w 11269336"/>
              <a:gd name="connsiteY207" fmla="*/ 2104443 h 2323145"/>
              <a:gd name="connsiteX208" fmla="*/ 2884480 w 11269336"/>
              <a:gd name="connsiteY208" fmla="*/ 2102626 h 2323145"/>
              <a:gd name="connsiteX209" fmla="*/ 2882689 w 11269336"/>
              <a:gd name="connsiteY209" fmla="*/ 2099228 h 2323145"/>
              <a:gd name="connsiteX210" fmla="*/ 2881291 w 11269336"/>
              <a:gd name="connsiteY210" fmla="*/ 2099618 h 2323145"/>
              <a:gd name="connsiteX211" fmla="*/ 2853979 w 11269336"/>
              <a:gd name="connsiteY211" fmla="*/ 2090388 h 2323145"/>
              <a:gd name="connsiteX212" fmla="*/ 2791790 w 11269336"/>
              <a:gd name="connsiteY212" fmla="*/ 2080332 h 2323145"/>
              <a:gd name="connsiteX213" fmla="*/ 2755844 w 11269336"/>
              <a:gd name="connsiteY213" fmla="*/ 2078874 h 2323145"/>
              <a:gd name="connsiteX214" fmla="*/ 2657742 w 11269336"/>
              <a:gd name="connsiteY214" fmla="*/ 2070179 h 2323145"/>
              <a:gd name="connsiteX215" fmla="*/ 2559549 w 11269336"/>
              <a:gd name="connsiteY215" fmla="*/ 2057873 h 2323145"/>
              <a:gd name="connsiteX216" fmla="*/ 2512054 w 11269336"/>
              <a:gd name="connsiteY216" fmla="*/ 2031671 h 2323145"/>
              <a:gd name="connsiteX217" fmla="*/ 2506437 w 11269336"/>
              <a:gd name="connsiteY217" fmla="*/ 2030918 h 2323145"/>
              <a:gd name="connsiteX218" fmla="*/ 2491752 w 11269336"/>
              <a:gd name="connsiteY218" fmla="*/ 2033906 h 2323145"/>
              <a:gd name="connsiteX219" fmla="*/ 2486338 w 11269336"/>
              <a:gd name="connsiteY219" fmla="*/ 2035862 h 2323145"/>
              <a:gd name="connsiteX220" fmla="*/ 2478186 w 11269336"/>
              <a:gd name="connsiteY220" fmla="*/ 2036953 h 2323145"/>
              <a:gd name="connsiteX221" fmla="*/ 2477950 w 11269336"/>
              <a:gd name="connsiteY221" fmla="*/ 2036715 h 2323145"/>
              <a:gd name="connsiteX222" fmla="*/ 2470381 w 11269336"/>
              <a:gd name="connsiteY222" fmla="*/ 2038256 h 2323145"/>
              <a:gd name="connsiteX223" fmla="*/ 2433781 w 11269336"/>
              <a:gd name="connsiteY223" fmla="*/ 2049140 h 2323145"/>
              <a:gd name="connsiteX224" fmla="*/ 2381172 w 11269336"/>
              <a:gd name="connsiteY224" fmla="*/ 2030645 h 2323145"/>
              <a:gd name="connsiteX225" fmla="*/ 2360198 w 11269336"/>
              <a:gd name="connsiteY225" fmla="*/ 2029059 h 2323145"/>
              <a:gd name="connsiteX226" fmla="*/ 2348815 w 11269336"/>
              <a:gd name="connsiteY226" fmla="*/ 2026798 h 2323145"/>
              <a:gd name="connsiteX227" fmla="*/ 2347988 w 11269336"/>
              <a:gd name="connsiteY227" fmla="*/ 2025745 h 2323145"/>
              <a:gd name="connsiteX228" fmla="*/ 2312920 w 11269336"/>
              <a:gd name="connsiteY228" fmla="*/ 2036311 h 2323145"/>
              <a:gd name="connsiteX229" fmla="*/ 2307986 w 11269336"/>
              <a:gd name="connsiteY229" fmla="*/ 2035583 h 2323145"/>
              <a:gd name="connsiteX230" fmla="*/ 2285481 w 11269336"/>
              <a:gd name="connsiteY230" fmla="*/ 2045197 h 2323145"/>
              <a:gd name="connsiteX231" fmla="*/ 2273666 w 11269336"/>
              <a:gd name="connsiteY231" fmla="*/ 2048710 h 2323145"/>
              <a:gd name="connsiteX232" fmla="*/ 2270719 w 11269336"/>
              <a:gd name="connsiteY232" fmla="*/ 2052702 h 2323145"/>
              <a:gd name="connsiteX233" fmla="*/ 2253080 w 11269336"/>
              <a:gd name="connsiteY233" fmla="*/ 2056363 h 2323145"/>
              <a:gd name="connsiteX234" fmla="*/ 2250906 w 11269336"/>
              <a:gd name="connsiteY234" fmla="*/ 2055654 h 2323145"/>
              <a:gd name="connsiteX235" fmla="*/ 2236905 w 11269336"/>
              <a:gd name="connsiteY235" fmla="*/ 2062882 h 2323145"/>
              <a:gd name="connsiteX236" fmla="*/ 2225830 w 11269336"/>
              <a:gd name="connsiteY236" fmla="*/ 2074027 h 2323145"/>
              <a:gd name="connsiteX237" fmla="*/ 2073776 w 11269336"/>
              <a:gd name="connsiteY237" fmla="*/ 2089244 h 2323145"/>
              <a:gd name="connsiteX238" fmla="*/ 1948256 w 11269336"/>
              <a:gd name="connsiteY238" fmla="*/ 2146616 h 2323145"/>
              <a:gd name="connsiteX239" fmla="*/ 1865582 w 11269336"/>
              <a:gd name="connsiteY239" fmla="*/ 2153738 h 2323145"/>
              <a:gd name="connsiteX240" fmla="*/ 1835210 w 11269336"/>
              <a:gd name="connsiteY240" fmla="*/ 2134244 h 2323145"/>
              <a:gd name="connsiteX241" fmla="*/ 1632661 w 11269336"/>
              <a:gd name="connsiteY241" fmla="*/ 2173882 h 2323145"/>
              <a:gd name="connsiteX242" fmla="*/ 1579590 w 11269336"/>
              <a:gd name="connsiteY242" fmla="*/ 2173680 h 2323145"/>
              <a:gd name="connsiteX243" fmla="*/ 1535601 w 11269336"/>
              <a:gd name="connsiteY243" fmla="*/ 2194590 h 2323145"/>
              <a:gd name="connsiteX244" fmla="*/ 1515594 w 11269336"/>
              <a:gd name="connsiteY244" fmla="*/ 2189622 h 2323145"/>
              <a:gd name="connsiteX245" fmla="*/ 1512113 w 11269336"/>
              <a:gd name="connsiteY245" fmla="*/ 2188534 h 2323145"/>
              <a:gd name="connsiteX246" fmla="*/ 1498838 w 11269336"/>
              <a:gd name="connsiteY246" fmla="*/ 2189213 h 2323145"/>
              <a:gd name="connsiteX247" fmla="*/ 1494279 w 11269336"/>
              <a:gd name="connsiteY247" fmla="*/ 2183112 h 2323145"/>
              <a:gd name="connsiteX248" fmla="*/ 1473714 w 11269336"/>
              <a:gd name="connsiteY248" fmla="*/ 2179625 h 2323145"/>
              <a:gd name="connsiteX249" fmla="*/ 1449503 w 11269336"/>
              <a:gd name="connsiteY249" fmla="*/ 2182633 h 2323145"/>
              <a:gd name="connsiteX250" fmla="*/ 1335495 w 11269336"/>
              <a:gd name="connsiteY250" fmla="*/ 2203940 h 2323145"/>
              <a:gd name="connsiteX251" fmla="*/ 1266687 w 11269336"/>
              <a:gd name="connsiteY251" fmla="*/ 2212688 h 2323145"/>
              <a:gd name="connsiteX252" fmla="*/ 1239614 w 11269336"/>
              <a:gd name="connsiteY252" fmla="*/ 2209727 h 2323145"/>
              <a:gd name="connsiteX253" fmla="*/ 1202436 w 11269336"/>
              <a:gd name="connsiteY253" fmla="*/ 2209817 h 2323145"/>
              <a:gd name="connsiteX254" fmla="*/ 1136097 w 11269336"/>
              <a:gd name="connsiteY254" fmla="*/ 2205112 h 2323145"/>
              <a:gd name="connsiteX255" fmla="*/ 1048229 w 11269336"/>
              <a:gd name="connsiteY255" fmla="*/ 2207249 h 2323145"/>
              <a:gd name="connsiteX256" fmla="*/ 988232 w 11269336"/>
              <a:gd name="connsiteY256" fmla="*/ 2235635 h 2323145"/>
              <a:gd name="connsiteX257" fmla="*/ 981959 w 11269336"/>
              <a:gd name="connsiteY257" fmla="*/ 2231607 h 2323145"/>
              <a:gd name="connsiteX258" fmla="*/ 938600 w 11269336"/>
              <a:gd name="connsiteY258" fmla="*/ 2238113 h 2323145"/>
              <a:gd name="connsiteX259" fmla="*/ 791788 w 11269336"/>
              <a:gd name="connsiteY259" fmla="*/ 2293224 h 2323145"/>
              <a:gd name="connsiteX260" fmla="*/ 706914 w 11269336"/>
              <a:gd name="connsiteY260" fmla="*/ 2305046 h 2323145"/>
              <a:gd name="connsiteX261" fmla="*/ 675971 w 11269336"/>
              <a:gd name="connsiteY261" fmla="*/ 2304030 h 2323145"/>
              <a:gd name="connsiteX262" fmla="*/ 624180 w 11269336"/>
              <a:gd name="connsiteY262" fmla="*/ 2302650 h 2323145"/>
              <a:gd name="connsiteX263" fmla="*/ 583453 w 11269336"/>
              <a:gd name="connsiteY263" fmla="*/ 2288788 h 2323145"/>
              <a:gd name="connsiteX264" fmla="*/ 540946 w 11269336"/>
              <a:gd name="connsiteY264" fmla="*/ 2292721 h 2323145"/>
              <a:gd name="connsiteX265" fmla="*/ 533680 w 11269336"/>
              <a:gd name="connsiteY265" fmla="*/ 2310233 h 2323145"/>
              <a:gd name="connsiteX266" fmla="*/ 487366 w 11269336"/>
              <a:gd name="connsiteY266" fmla="*/ 2309053 h 2323145"/>
              <a:gd name="connsiteX267" fmla="*/ 416820 w 11269336"/>
              <a:gd name="connsiteY267" fmla="*/ 2305443 h 2323145"/>
              <a:gd name="connsiteX268" fmla="*/ 376805 w 11269336"/>
              <a:gd name="connsiteY268" fmla="*/ 2307647 h 2323145"/>
              <a:gd name="connsiteX269" fmla="*/ 266777 w 11269336"/>
              <a:gd name="connsiteY269" fmla="*/ 2309012 h 2323145"/>
              <a:gd name="connsiteX270" fmla="*/ 156013 w 11269336"/>
              <a:gd name="connsiteY270" fmla="*/ 2306832 h 2323145"/>
              <a:gd name="connsiteX271" fmla="*/ 87258 w 11269336"/>
              <a:gd name="connsiteY271" fmla="*/ 2285511 h 2323145"/>
              <a:gd name="connsiteX272" fmla="*/ 23798 w 11269336"/>
              <a:gd name="connsiteY272" fmla="*/ 2281822 h 2323145"/>
              <a:gd name="connsiteX273" fmla="*/ 0 w 11269336"/>
              <a:gd name="connsiteY273" fmla="*/ 2285369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296127 w 11269336"/>
              <a:gd name="connsiteY139" fmla="*/ 2023208 h 2323145"/>
              <a:gd name="connsiteX140" fmla="*/ 5092476 w 11269336"/>
              <a:gd name="connsiteY140" fmla="*/ 2100737 h 2323145"/>
              <a:gd name="connsiteX141" fmla="*/ 5060738 w 11269336"/>
              <a:gd name="connsiteY141" fmla="*/ 2083274 h 2323145"/>
              <a:gd name="connsiteX142" fmla="*/ 4860988 w 11269336"/>
              <a:gd name="connsiteY142" fmla="*/ 2135698 h 2323145"/>
              <a:gd name="connsiteX143" fmla="*/ 4807902 w 11269336"/>
              <a:gd name="connsiteY143" fmla="*/ 2138894 h 2323145"/>
              <a:gd name="connsiteX144" fmla="*/ 4765388 w 11269336"/>
              <a:gd name="connsiteY144" fmla="*/ 2162525 h 2323145"/>
              <a:gd name="connsiteX145" fmla="*/ 4745033 w 11269336"/>
              <a:gd name="connsiteY145" fmla="*/ 2158859 h 2323145"/>
              <a:gd name="connsiteX146" fmla="*/ 4741475 w 11269336"/>
              <a:gd name="connsiteY146" fmla="*/ 2157998 h 2323145"/>
              <a:gd name="connsiteX147" fmla="*/ 4728247 w 11269336"/>
              <a:gd name="connsiteY147" fmla="*/ 2159526 h 2323145"/>
              <a:gd name="connsiteX148" fmla="*/ 4723263 w 11269336"/>
              <a:gd name="connsiteY148" fmla="*/ 2153742 h 2323145"/>
              <a:gd name="connsiteX149" fmla="*/ 4702453 w 11269336"/>
              <a:gd name="connsiteY149" fmla="*/ 2151586 h 2323145"/>
              <a:gd name="connsiteX150" fmla="*/ 4678455 w 11269336"/>
              <a:gd name="connsiteY150" fmla="*/ 2156131 h 2323145"/>
              <a:gd name="connsiteX151" fmla="*/ 4593061 w 11269336"/>
              <a:gd name="connsiteY151" fmla="*/ 2171597 h 2323145"/>
              <a:gd name="connsiteX152" fmla="*/ 4579902 w 11269336"/>
              <a:gd name="connsiteY152" fmla="*/ 2177927 h 2323145"/>
              <a:gd name="connsiteX153" fmla="*/ 4533444 w 11269336"/>
              <a:gd name="connsiteY153" fmla="*/ 2181200 h 2323145"/>
              <a:gd name="connsiteX154" fmla="*/ 4492832 w 11269336"/>
              <a:gd name="connsiteY154" fmla="*/ 2188033 h 2323145"/>
              <a:gd name="connsiteX155" fmla="*/ 4467257 w 11269336"/>
              <a:gd name="connsiteY155" fmla="*/ 2196121 h 2323145"/>
              <a:gd name="connsiteX156" fmla="*/ 4459937 w 11269336"/>
              <a:gd name="connsiteY156" fmla="*/ 2195182 h 2323145"/>
              <a:gd name="connsiteX157" fmla="*/ 4433312 w 11269336"/>
              <a:gd name="connsiteY157" fmla="*/ 2199004 h 2323145"/>
              <a:gd name="connsiteX158" fmla="*/ 4420601 w 11269336"/>
              <a:gd name="connsiteY158" fmla="*/ 2205158 h 2323145"/>
              <a:gd name="connsiteX159" fmla="*/ 4405765 w 11269336"/>
              <a:gd name="connsiteY159" fmla="*/ 2199902 h 2323145"/>
              <a:gd name="connsiteX160" fmla="*/ 4401354 w 11269336"/>
              <a:gd name="connsiteY160" fmla="*/ 2194745 h 2323145"/>
              <a:gd name="connsiteX161" fmla="*/ 4383151 w 11269336"/>
              <a:gd name="connsiteY161" fmla="*/ 2201140 h 2323145"/>
              <a:gd name="connsiteX162" fmla="*/ 4366646 w 11269336"/>
              <a:gd name="connsiteY162" fmla="*/ 2198564 h 2323145"/>
              <a:gd name="connsiteX163" fmla="*/ 4354009 w 11269336"/>
              <a:gd name="connsiteY163" fmla="*/ 2204984 h 2323145"/>
              <a:gd name="connsiteX164" fmla="*/ 4348284 w 11269336"/>
              <a:gd name="connsiteY164" fmla="*/ 2205270 h 2323145"/>
              <a:gd name="connsiteX165" fmla="*/ 4333906 w 11269336"/>
              <a:gd name="connsiteY165" fmla="*/ 2205251 h 2323145"/>
              <a:gd name="connsiteX166" fmla="*/ 4308819 w 11269336"/>
              <a:gd name="connsiteY166" fmla="*/ 2203822 h 2323145"/>
              <a:gd name="connsiteX167" fmla="*/ 4301210 w 11269336"/>
              <a:gd name="connsiteY167" fmla="*/ 2204456 h 2323145"/>
              <a:gd name="connsiteX168" fmla="*/ 4283095 w 11269336"/>
              <a:gd name="connsiteY168" fmla="*/ 2198177 h 2323145"/>
              <a:gd name="connsiteX169" fmla="*/ 4250119 w 11269336"/>
              <a:gd name="connsiteY169" fmla="*/ 2196342 h 2323145"/>
              <a:gd name="connsiteX170" fmla="*/ 4189203 w 11269336"/>
              <a:gd name="connsiteY170" fmla="*/ 2178994 h 2323145"/>
              <a:gd name="connsiteX171" fmla="*/ 4154035 w 11269336"/>
              <a:gd name="connsiteY171" fmla="*/ 2171950 h 2323145"/>
              <a:gd name="connsiteX172" fmla="*/ 4129569 w 11269336"/>
              <a:gd name="connsiteY172" fmla="*/ 2163850 h 2323145"/>
              <a:gd name="connsiteX173" fmla="*/ 4061250 w 11269336"/>
              <a:gd name="connsiteY173" fmla="*/ 2159236 h 2323145"/>
              <a:gd name="connsiteX174" fmla="*/ 3945480 w 11269336"/>
              <a:gd name="connsiteY174" fmla="*/ 2158279 h 2323145"/>
              <a:gd name="connsiteX175" fmla="*/ 3921468 w 11269336"/>
              <a:gd name="connsiteY175" fmla="*/ 2156588 h 2323145"/>
              <a:gd name="connsiteX176" fmla="*/ 3903348 w 11269336"/>
              <a:gd name="connsiteY176" fmla="*/ 2149220 h 2323145"/>
              <a:gd name="connsiteX177" fmla="*/ 3901342 w 11269336"/>
              <a:gd name="connsiteY177" fmla="*/ 2142355 h 2323145"/>
              <a:gd name="connsiteX178" fmla="*/ 3888539 w 11269336"/>
              <a:gd name="connsiteY178" fmla="*/ 2140476 h 2323145"/>
              <a:gd name="connsiteX179" fmla="*/ 3885662 w 11269336"/>
              <a:gd name="connsiteY179" fmla="*/ 2138740 h 2323145"/>
              <a:gd name="connsiteX180" fmla="*/ 3868627 w 11269336"/>
              <a:gd name="connsiteY180" fmla="*/ 2130023 h 2323145"/>
              <a:gd name="connsiteX181" fmla="*/ 3819177 w 11269336"/>
              <a:gd name="connsiteY181" fmla="*/ 2142111 h 2323145"/>
              <a:gd name="connsiteX182" fmla="*/ 3769100 w 11269336"/>
              <a:gd name="connsiteY182" fmla="*/ 2131731 h 2323145"/>
              <a:gd name="connsiteX183" fmla="*/ 3562752 w 11269336"/>
              <a:gd name="connsiteY183" fmla="*/ 2131785 h 2323145"/>
              <a:gd name="connsiteX184" fmla="*/ 3541402 w 11269336"/>
              <a:gd name="connsiteY184" fmla="*/ 2106821 h 2323145"/>
              <a:gd name="connsiteX185" fmla="*/ 3460591 w 11269336"/>
              <a:gd name="connsiteY185" fmla="*/ 2097951 h 2323145"/>
              <a:gd name="connsiteX186" fmla="*/ 3320348 w 11269336"/>
              <a:gd name="connsiteY186" fmla="*/ 2130191 h 2323145"/>
              <a:gd name="connsiteX187" fmla="*/ 3170922 w 11269336"/>
              <a:gd name="connsiteY187" fmla="*/ 2115957 h 2323145"/>
              <a:gd name="connsiteX188" fmla="*/ 3156256 w 11269336"/>
              <a:gd name="connsiteY188" fmla="*/ 2124773 h 2323145"/>
              <a:gd name="connsiteX189" fmla="*/ 3140298 w 11269336"/>
              <a:gd name="connsiteY189" fmla="*/ 2129182 h 2323145"/>
              <a:gd name="connsiteX190" fmla="*/ 3138514 w 11269336"/>
              <a:gd name="connsiteY190" fmla="*/ 2128069 h 2323145"/>
              <a:gd name="connsiteX191" fmla="*/ 3120467 w 11269336"/>
              <a:gd name="connsiteY191" fmla="*/ 2128281 h 2323145"/>
              <a:gd name="connsiteX192" fmla="*/ 3116175 w 11269336"/>
              <a:gd name="connsiteY192" fmla="*/ 2131633 h 2323145"/>
              <a:gd name="connsiteX193" fmla="*/ 3103685 w 11269336"/>
              <a:gd name="connsiteY193" fmla="*/ 2132814 h 2323145"/>
              <a:gd name="connsiteX194" fmla="*/ 3078794 w 11269336"/>
              <a:gd name="connsiteY194" fmla="*/ 2137935 h 2323145"/>
              <a:gd name="connsiteX195" fmla="*/ 3074407 w 11269336"/>
              <a:gd name="connsiteY195" fmla="*/ 2136274 h 2323145"/>
              <a:gd name="connsiteX196" fmla="*/ 3037285 w 11269336"/>
              <a:gd name="connsiteY196" fmla="*/ 2139919 h 2323145"/>
              <a:gd name="connsiteX197" fmla="*/ 3036901 w 11269336"/>
              <a:gd name="connsiteY197" fmla="*/ 2138726 h 2323145"/>
              <a:gd name="connsiteX198" fmla="*/ 3026996 w 11269336"/>
              <a:gd name="connsiteY198" fmla="*/ 2134322 h 2323145"/>
              <a:gd name="connsiteX199" fmla="*/ 3007772 w 11269336"/>
              <a:gd name="connsiteY199" fmla="*/ 2128742 h 2323145"/>
              <a:gd name="connsiteX200" fmla="*/ 2965030 w 11269336"/>
              <a:gd name="connsiteY200" fmla="*/ 2100494 h 2323145"/>
              <a:gd name="connsiteX201" fmla="*/ 2926342 w 11269336"/>
              <a:gd name="connsiteY201" fmla="*/ 2104155 h 2323145"/>
              <a:gd name="connsiteX202" fmla="*/ 2918608 w 11269336"/>
              <a:gd name="connsiteY202" fmla="*/ 2104215 h 2323145"/>
              <a:gd name="connsiteX203" fmla="*/ 2918475 w 11269336"/>
              <a:gd name="connsiteY203" fmla="*/ 2103937 h 2323145"/>
              <a:gd name="connsiteX204" fmla="*/ 2910360 w 11269336"/>
              <a:gd name="connsiteY204" fmla="*/ 2103444 h 2323145"/>
              <a:gd name="connsiteX205" fmla="*/ 2904507 w 11269336"/>
              <a:gd name="connsiteY205" fmla="*/ 2104326 h 2323145"/>
              <a:gd name="connsiteX206" fmla="*/ 2889503 w 11269336"/>
              <a:gd name="connsiteY206" fmla="*/ 2104443 h 2323145"/>
              <a:gd name="connsiteX207" fmla="*/ 2884480 w 11269336"/>
              <a:gd name="connsiteY207" fmla="*/ 2102626 h 2323145"/>
              <a:gd name="connsiteX208" fmla="*/ 2882689 w 11269336"/>
              <a:gd name="connsiteY208" fmla="*/ 2099228 h 2323145"/>
              <a:gd name="connsiteX209" fmla="*/ 2881291 w 11269336"/>
              <a:gd name="connsiteY209" fmla="*/ 2099618 h 2323145"/>
              <a:gd name="connsiteX210" fmla="*/ 2853979 w 11269336"/>
              <a:gd name="connsiteY210" fmla="*/ 2090388 h 2323145"/>
              <a:gd name="connsiteX211" fmla="*/ 2791790 w 11269336"/>
              <a:gd name="connsiteY211" fmla="*/ 2080332 h 2323145"/>
              <a:gd name="connsiteX212" fmla="*/ 2755844 w 11269336"/>
              <a:gd name="connsiteY212" fmla="*/ 2078874 h 2323145"/>
              <a:gd name="connsiteX213" fmla="*/ 2657742 w 11269336"/>
              <a:gd name="connsiteY213" fmla="*/ 2070179 h 2323145"/>
              <a:gd name="connsiteX214" fmla="*/ 2559549 w 11269336"/>
              <a:gd name="connsiteY214" fmla="*/ 2057873 h 2323145"/>
              <a:gd name="connsiteX215" fmla="*/ 2512054 w 11269336"/>
              <a:gd name="connsiteY215" fmla="*/ 2031671 h 2323145"/>
              <a:gd name="connsiteX216" fmla="*/ 2506437 w 11269336"/>
              <a:gd name="connsiteY216" fmla="*/ 2030918 h 2323145"/>
              <a:gd name="connsiteX217" fmla="*/ 2491752 w 11269336"/>
              <a:gd name="connsiteY217" fmla="*/ 2033906 h 2323145"/>
              <a:gd name="connsiteX218" fmla="*/ 2486338 w 11269336"/>
              <a:gd name="connsiteY218" fmla="*/ 2035862 h 2323145"/>
              <a:gd name="connsiteX219" fmla="*/ 2478186 w 11269336"/>
              <a:gd name="connsiteY219" fmla="*/ 2036953 h 2323145"/>
              <a:gd name="connsiteX220" fmla="*/ 2477950 w 11269336"/>
              <a:gd name="connsiteY220" fmla="*/ 2036715 h 2323145"/>
              <a:gd name="connsiteX221" fmla="*/ 2470381 w 11269336"/>
              <a:gd name="connsiteY221" fmla="*/ 2038256 h 2323145"/>
              <a:gd name="connsiteX222" fmla="*/ 2433781 w 11269336"/>
              <a:gd name="connsiteY222" fmla="*/ 2049140 h 2323145"/>
              <a:gd name="connsiteX223" fmla="*/ 2381172 w 11269336"/>
              <a:gd name="connsiteY223" fmla="*/ 2030645 h 2323145"/>
              <a:gd name="connsiteX224" fmla="*/ 2360198 w 11269336"/>
              <a:gd name="connsiteY224" fmla="*/ 2029059 h 2323145"/>
              <a:gd name="connsiteX225" fmla="*/ 2348815 w 11269336"/>
              <a:gd name="connsiteY225" fmla="*/ 2026798 h 2323145"/>
              <a:gd name="connsiteX226" fmla="*/ 2347988 w 11269336"/>
              <a:gd name="connsiteY226" fmla="*/ 2025745 h 2323145"/>
              <a:gd name="connsiteX227" fmla="*/ 2312920 w 11269336"/>
              <a:gd name="connsiteY227" fmla="*/ 2036311 h 2323145"/>
              <a:gd name="connsiteX228" fmla="*/ 2307986 w 11269336"/>
              <a:gd name="connsiteY228" fmla="*/ 2035583 h 2323145"/>
              <a:gd name="connsiteX229" fmla="*/ 2285481 w 11269336"/>
              <a:gd name="connsiteY229" fmla="*/ 2045197 h 2323145"/>
              <a:gd name="connsiteX230" fmla="*/ 2273666 w 11269336"/>
              <a:gd name="connsiteY230" fmla="*/ 2048710 h 2323145"/>
              <a:gd name="connsiteX231" fmla="*/ 2270719 w 11269336"/>
              <a:gd name="connsiteY231" fmla="*/ 2052702 h 2323145"/>
              <a:gd name="connsiteX232" fmla="*/ 2253080 w 11269336"/>
              <a:gd name="connsiteY232" fmla="*/ 2056363 h 2323145"/>
              <a:gd name="connsiteX233" fmla="*/ 2250906 w 11269336"/>
              <a:gd name="connsiteY233" fmla="*/ 2055654 h 2323145"/>
              <a:gd name="connsiteX234" fmla="*/ 2236905 w 11269336"/>
              <a:gd name="connsiteY234" fmla="*/ 2062882 h 2323145"/>
              <a:gd name="connsiteX235" fmla="*/ 2225830 w 11269336"/>
              <a:gd name="connsiteY235" fmla="*/ 2074027 h 2323145"/>
              <a:gd name="connsiteX236" fmla="*/ 2073776 w 11269336"/>
              <a:gd name="connsiteY236" fmla="*/ 2089244 h 2323145"/>
              <a:gd name="connsiteX237" fmla="*/ 1948256 w 11269336"/>
              <a:gd name="connsiteY237" fmla="*/ 2146616 h 2323145"/>
              <a:gd name="connsiteX238" fmla="*/ 1865582 w 11269336"/>
              <a:gd name="connsiteY238" fmla="*/ 2153738 h 2323145"/>
              <a:gd name="connsiteX239" fmla="*/ 1835210 w 11269336"/>
              <a:gd name="connsiteY239" fmla="*/ 2134244 h 2323145"/>
              <a:gd name="connsiteX240" fmla="*/ 1632661 w 11269336"/>
              <a:gd name="connsiteY240" fmla="*/ 2173882 h 2323145"/>
              <a:gd name="connsiteX241" fmla="*/ 1579590 w 11269336"/>
              <a:gd name="connsiteY241" fmla="*/ 2173680 h 2323145"/>
              <a:gd name="connsiteX242" fmla="*/ 1535601 w 11269336"/>
              <a:gd name="connsiteY242" fmla="*/ 2194590 h 2323145"/>
              <a:gd name="connsiteX243" fmla="*/ 1515594 w 11269336"/>
              <a:gd name="connsiteY243" fmla="*/ 2189622 h 2323145"/>
              <a:gd name="connsiteX244" fmla="*/ 1512113 w 11269336"/>
              <a:gd name="connsiteY244" fmla="*/ 2188534 h 2323145"/>
              <a:gd name="connsiteX245" fmla="*/ 1498838 w 11269336"/>
              <a:gd name="connsiteY245" fmla="*/ 2189213 h 2323145"/>
              <a:gd name="connsiteX246" fmla="*/ 1494279 w 11269336"/>
              <a:gd name="connsiteY246" fmla="*/ 2183112 h 2323145"/>
              <a:gd name="connsiteX247" fmla="*/ 1473714 w 11269336"/>
              <a:gd name="connsiteY247" fmla="*/ 2179625 h 2323145"/>
              <a:gd name="connsiteX248" fmla="*/ 1449503 w 11269336"/>
              <a:gd name="connsiteY248" fmla="*/ 2182633 h 2323145"/>
              <a:gd name="connsiteX249" fmla="*/ 1335495 w 11269336"/>
              <a:gd name="connsiteY249" fmla="*/ 2203940 h 2323145"/>
              <a:gd name="connsiteX250" fmla="*/ 1266687 w 11269336"/>
              <a:gd name="connsiteY250" fmla="*/ 2212688 h 2323145"/>
              <a:gd name="connsiteX251" fmla="*/ 1239614 w 11269336"/>
              <a:gd name="connsiteY251" fmla="*/ 2209727 h 2323145"/>
              <a:gd name="connsiteX252" fmla="*/ 1202436 w 11269336"/>
              <a:gd name="connsiteY252" fmla="*/ 2209817 h 2323145"/>
              <a:gd name="connsiteX253" fmla="*/ 1136097 w 11269336"/>
              <a:gd name="connsiteY253" fmla="*/ 2205112 h 2323145"/>
              <a:gd name="connsiteX254" fmla="*/ 1048229 w 11269336"/>
              <a:gd name="connsiteY254" fmla="*/ 2207249 h 2323145"/>
              <a:gd name="connsiteX255" fmla="*/ 988232 w 11269336"/>
              <a:gd name="connsiteY255" fmla="*/ 2235635 h 2323145"/>
              <a:gd name="connsiteX256" fmla="*/ 981959 w 11269336"/>
              <a:gd name="connsiteY256" fmla="*/ 2231607 h 2323145"/>
              <a:gd name="connsiteX257" fmla="*/ 938600 w 11269336"/>
              <a:gd name="connsiteY257" fmla="*/ 2238113 h 2323145"/>
              <a:gd name="connsiteX258" fmla="*/ 791788 w 11269336"/>
              <a:gd name="connsiteY258" fmla="*/ 2293224 h 2323145"/>
              <a:gd name="connsiteX259" fmla="*/ 706914 w 11269336"/>
              <a:gd name="connsiteY259" fmla="*/ 2305046 h 2323145"/>
              <a:gd name="connsiteX260" fmla="*/ 675971 w 11269336"/>
              <a:gd name="connsiteY260" fmla="*/ 2304030 h 2323145"/>
              <a:gd name="connsiteX261" fmla="*/ 624180 w 11269336"/>
              <a:gd name="connsiteY261" fmla="*/ 2302650 h 2323145"/>
              <a:gd name="connsiteX262" fmla="*/ 583453 w 11269336"/>
              <a:gd name="connsiteY262" fmla="*/ 2288788 h 2323145"/>
              <a:gd name="connsiteX263" fmla="*/ 540946 w 11269336"/>
              <a:gd name="connsiteY263" fmla="*/ 2292721 h 2323145"/>
              <a:gd name="connsiteX264" fmla="*/ 533680 w 11269336"/>
              <a:gd name="connsiteY264" fmla="*/ 2310233 h 2323145"/>
              <a:gd name="connsiteX265" fmla="*/ 487366 w 11269336"/>
              <a:gd name="connsiteY265" fmla="*/ 2309053 h 2323145"/>
              <a:gd name="connsiteX266" fmla="*/ 416820 w 11269336"/>
              <a:gd name="connsiteY266" fmla="*/ 2305443 h 2323145"/>
              <a:gd name="connsiteX267" fmla="*/ 376805 w 11269336"/>
              <a:gd name="connsiteY267" fmla="*/ 2307647 h 2323145"/>
              <a:gd name="connsiteX268" fmla="*/ 266777 w 11269336"/>
              <a:gd name="connsiteY268" fmla="*/ 2309012 h 2323145"/>
              <a:gd name="connsiteX269" fmla="*/ 156013 w 11269336"/>
              <a:gd name="connsiteY269" fmla="*/ 2306832 h 2323145"/>
              <a:gd name="connsiteX270" fmla="*/ 87258 w 11269336"/>
              <a:gd name="connsiteY270" fmla="*/ 2285511 h 2323145"/>
              <a:gd name="connsiteX271" fmla="*/ 23798 w 11269336"/>
              <a:gd name="connsiteY271" fmla="*/ 2281822 h 2323145"/>
              <a:gd name="connsiteX272" fmla="*/ 0 w 11269336"/>
              <a:gd name="connsiteY272" fmla="*/ 2285369 h 2323145"/>
              <a:gd name="connsiteX273" fmla="*/ 0 w 11269336"/>
              <a:gd name="connsiteY27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092476 w 11269336"/>
              <a:gd name="connsiteY139" fmla="*/ 2100737 h 2323145"/>
              <a:gd name="connsiteX140" fmla="*/ 5060738 w 11269336"/>
              <a:gd name="connsiteY140" fmla="*/ 208327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60738 w 11269336"/>
              <a:gd name="connsiteY140" fmla="*/ 208327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1048229 w 11269336"/>
              <a:gd name="connsiteY252" fmla="*/ 2207249 h 2323145"/>
              <a:gd name="connsiteX253" fmla="*/ 988232 w 11269336"/>
              <a:gd name="connsiteY253" fmla="*/ 2235635 h 2323145"/>
              <a:gd name="connsiteX254" fmla="*/ 981959 w 11269336"/>
              <a:gd name="connsiteY254" fmla="*/ 2231607 h 2323145"/>
              <a:gd name="connsiteX255" fmla="*/ 938600 w 11269336"/>
              <a:gd name="connsiteY255" fmla="*/ 2238113 h 2323145"/>
              <a:gd name="connsiteX256" fmla="*/ 791788 w 11269336"/>
              <a:gd name="connsiteY256" fmla="*/ 2293224 h 2323145"/>
              <a:gd name="connsiteX257" fmla="*/ 706914 w 11269336"/>
              <a:gd name="connsiteY257" fmla="*/ 2305046 h 2323145"/>
              <a:gd name="connsiteX258" fmla="*/ 675971 w 11269336"/>
              <a:gd name="connsiteY258" fmla="*/ 2304030 h 2323145"/>
              <a:gd name="connsiteX259" fmla="*/ 624180 w 11269336"/>
              <a:gd name="connsiteY259" fmla="*/ 2302650 h 2323145"/>
              <a:gd name="connsiteX260" fmla="*/ 583453 w 11269336"/>
              <a:gd name="connsiteY260" fmla="*/ 2288788 h 2323145"/>
              <a:gd name="connsiteX261" fmla="*/ 540946 w 11269336"/>
              <a:gd name="connsiteY261" fmla="*/ 2292721 h 2323145"/>
              <a:gd name="connsiteX262" fmla="*/ 533680 w 11269336"/>
              <a:gd name="connsiteY262" fmla="*/ 2310233 h 2323145"/>
              <a:gd name="connsiteX263" fmla="*/ 487366 w 11269336"/>
              <a:gd name="connsiteY263" fmla="*/ 2309053 h 2323145"/>
              <a:gd name="connsiteX264" fmla="*/ 416820 w 11269336"/>
              <a:gd name="connsiteY264" fmla="*/ 2305443 h 2323145"/>
              <a:gd name="connsiteX265" fmla="*/ 376805 w 11269336"/>
              <a:gd name="connsiteY265" fmla="*/ 2307647 h 2323145"/>
              <a:gd name="connsiteX266" fmla="*/ 266777 w 11269336"/>
              <a:gd name="connsiteY266" fmla="*/ 2309012 h 2323145"/>
              <a:gd name="connsiteX267" fmla="*/ 156013 w 11269336"/>
              <a:gd name="connsiteY267" fmla="*/ 2306832 h 2323145"/>
              <a:gd name="connsiteX268" fmla="*/ 87258 w 11269336"/>
              <a:gd name="connsiteY268" fmla="*/ 2285511 h 2323145"/>
              <a:gd name="connsiteX269" fmla="*/ 23798 w 11269336"/>
              <a:gd name="connsiteY269" fmla="*/ 2281822 h 2323145"/>
              <a:gd name="connsiteX270" fmla="*/ 0 w 11269336"/>
              <a:gd name="connsiteY270" fmla="*/ 2285369 h 2323145"/>
              <a:gd name="connsiteX271" fmla="*/ 0 w 11269336"/>
              <a:gd name="connsiteY27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1048229 w 11269336"/>
              <a:gd name="connsiteY252" fmla="*/ 2207249 h 2323145"/>
              <a:gd name="connsiteX253" fmla="*/ 988232 w 11269336"/>
              <a:gd name="connsiteY253" fmla="*/ 2235635 h 2323145"/>
              <a:gd name="connsiteX254" fmla="*/ 981959 w 11269336"/>
              <a:gd name="connsiteY254" fmla="*/ 2231607 h 2323145"/>
              <a:gd name="connsiteX255" fmla="*/ 938600 w 11269336"/>
              <a:gd name="connsiteY255" fmla="*/ 2238113 h 2323145"/>
              <a:gd name="connsiteX256" fmla="*/ 791788 w 11269336"/>
              <a:gd name="connsiteY256" fmla="*/ 2293224 h 2323145"/>
              <a:gd name="connsiteX257" fmla="*/ 706914 w 11269336"/>
              <a:gd name="connsiteY257" fmla="*/ 2305046 h 2323145"/>
              <a:gd name="connsiteX258" fmla="*/ 675971 w 11269336"/>
              <a:gd name="connsiteY258" fmla="*/ 2304030 h 2323145"/>
              <a:gd name="connsiteX259" fmla="*/ 624180 w 11269336"/>
              <a:gd name="connsiteY259" fmla="*/ 2302650 h 2323145"/>
              <a:gd name="connsiteX260" fmla="*/ 583453 w 11269336"/>
              <a:gd name="connsiteY260" fmla="*/ 2288788 h 2323145"/>
              <a:gd name="connsiteX261" fmla="*/ 540946 w 11269336"/>
              <a:gd name="connsiteY261" fmla="*/ 2292721 h 2323145"/>
              <a:gd name="connsiteX262" fmla="*/ 533680 w 11269336"/>
              <a:gd name="connsiteY262" fmla="*/ 2310233 h 2323145"/>
              <a:gd name="connsiteX263" fmla="*/ 487366 w 11269336"/>
              <a:gd name="connsiteY263" fmla="*/ 2309053 h 2323145"/>
              <a:gd name="connsiteX264" fmla="*/ 416820 w 11269336"/>
              <a:gd name="connsiteY264" fmla="*/ 2305443 h 2323145"/>
              <a:gd name="connsiteX265" fmla="*/ 376805 w 11269336"/>
              <a:gd name="connsiteY265" fmla="*/ 2307647 h 2323145"/>
              <a:gd name="connsiteX266" fmla="*/ 266777 w 11269336"/>
              <a:gd name="connsiteY266" fmla="*/ 2309012 h 2323145"/>
              <a:gd name="connsiteX267" fmla="*/ 156013 w 11269336"/>
              <a:gd name="connsiteY267" fmla="*/ 2306832 h 2323145"/>
              <a:gd name="connsiteX268" fmla="*/ 87258 w 11269336"/>
              <a:gd name="connsiteY268" fmla="*/ 2285511 h 2323145"/>
              <a:gd name="connsiteX269" fmla="*/ 23798 w 11269336"/>
              <a:gd name="connsiteY269" fmla="*/ 2281822 h 2323145"/>
              <a:gd name="connsiteX270" fmla="*/ 0 w 11269336"/>
              <a:gd name="connsiteY270" fmla="*/ 2285369 h 2323145"/>
              <a:gd name="connsiteX271" fmla="*/ 0 w 11269336"/>
              <a:gd name="connsiteY27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988232 w 11269336"/>
              <a:gd name="connsiteY252" fmla="*/ 2235635 h 2323145"/>
              <a:gd name="connsiteX253" fmla="*/ 981959 w 11269336"/>
              <a:gd name="connsiteY253" fmla="*/ 2231607 h 2323145"/>
              <a:gd name="connsiteX254" fmla="*/ 938600 w 11269336"/>
              <a:gd name="connsiteY254" fmla="*/ 2238113 h 2323145"/>
              <a:gd name="connsiteX255" fmla="*/ 791788 w 11269336"/>
              <a:gd name="connsiteY255" fmla="*/ 2293224 h 2323145"/>
              <a:gd name="connsiteX256" fmla="*/ 706914 w 11269336"/>
              <a:gd name="connsiteY256" fmla="*/ 2305046 h 2323145"/>
              <a:gd name="connsiteX257" fmla="*/ 675971 w 11269336"/>
              <a:gd name="connsiteY257" fmla="*/ 2304030 h 2323145"/>
              <a:gd name="connsiteX258" fmla="*/ 624180 w 11269336"/>
              <a:gd name="connsiteY258" fmla="*/ 2302650 h 2323145"/>
              <a:gd name="connsiteX259" fmla="*/ 583453 w 11269336"/>
              <a:gd name="connsiteY259" fmla="*/ 2288788 h 2323145"/>
              <a:gd name="connsiteX260" fmla="*/ 540946 w 11269336"/>
              <a:gd name="connsiteY260" fmla="*/ 2292721 h 2323145"/>
              <a:gd name="connsiteX261" fmla="*/ 533680 w 11269336"/>
              <a:gd name="connsiteY261" fmla="*/ 2310233 h 2323145"/>
              <a:gd name="connsiteX262" fmla="*/ 487366 w 11269336"/>
              <a:gd name="connsiteY262" fmla="*/ 2309053 h 2323145"/>
              <a:gd name="connsiteX263" fmla="*/ 416820 w 11269336"/>
              <a:gd name="connsiteY263" fmla="*/ 2305443 h 2323145"/>
              <a:gd name="connsiteX264" fmla="*/ 376805 w 11269336"/>
              <a:gd name="connsiteY264" fmla="*/ 2307647 h 2323145"/>
              <a:gd name="connsiteX265" fmla="*/ 266777 w 11269336"/>
              <a:gd name="connsiteY265" fmla="*/ 2309012 h 2323145"/>
              <a:gd name="connsiteX266" fmla="*/ 156013 w 11269336"/>
              <a:gd name="connsiteY266" fmla="*/ 2306832 h 2323145"/>
              <a:gd name="connsiteX267" fmla="*/ 87258 w 11269336"/>
              <a:gd name="connsiteY267" fmla="*/ 2285511 h 2323145"/>
              <a:gd name="connsiteX268" fmla="*/ 23798 w 11269336"/>
              <a:gd name="connsiteY268" fmla="*/ 2281822 h 2323145"/>
              <a:gd name="connsiteX269" fmla="*/ 0 w 11269336"/>
              <a:gd name="connsiteY269" fmla="*/ 2285369 h 2323145"/>
              <a:gd name="connsiteX270" fmla="*/ 0 w 11269336"/>
              <a:gd name="connsiteY270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266687 w 11269336"/>
              <a:gd name="connsiteY247" fmla="*/ 2212688 h 2323145"/>
              <a:gd name="connsiteX248" fmla="*/ 1239614 w 11269336"/>
              <a:gd name="connsiteY248" fmla="*/ 2209727 h 2323145"/>
              <a:gd name="connsiteX249" fmla="*/ 1202436 w 11269336"/>
              <a:gd name="connsiteY249" fmla="*/ 2209817 h 2323145"/>
              <a:gd name="connsiteX250" fmla="*/ 1136097 w 11269336"/>
              <a:gd name="connsiteY250" fmla="*/ 2205112 h 2323145"/>
              <a:gd name="connsiteX251" fmla="*/ 988232 w 11269336"/>
              <a:gd name="connsiteY251" fmla="*/ 2235635 h 2323145"/>
              <a:gd name="connsiteX252" fmla="*/ 981959 w 11269336"/>
              <a:gd name="connsiteY252" fmla="*/ 2231607 h 2323145"/>
              <a:gd name="connsiteX253" fmla="*/ 938600 w 11269336"/>
              <a:gd name="connsiteY253" fmla="*/ 2238113 h 2323145"/>
              <a:gd name="connsiteX254" fmla="*/ 791788 w 11269336"/>
              <a:gd name="connsiteY254" fmla="*/ 2293224 h 2323145"/>
              <a:gd name="connsiteX255" fmla="*/ 706914 w 11269336"/>
              <a:gd name="connsiteY255" fmla="*/ 2305046 h 2323145"/>
              <a:gd name="connsiteX256" fmla="*/ 675971 w 11269336"/>
              <a:gd name="connsiteY256" fmla="*/ 2304030 h 2323145"/>
              <a:gd name="connsiteX257" fmla="*/ 624180 w 11269336"/>
              <a:gd name="connsiteY257" fmla="*/ 2302650 h 2323145"/>
              <a:gd name="connsiteX258" fmla="*/ 583453 w 11269336"/>
              <a:gd name="connsiteY258" fmla="*/ 2288788 h 2323145"/>
              <a:gd name="connsiteX259" fmla="*/ 540946 w 11269336"/>
              <a:gd name="connsiteY259" fmla="*/ 2292721 h 2323145"/>
              <a:gd name="connsiteX260" fmla="*/ 533680 w 11269336"/>
              <a:gd name="connsiteY260" fmla="*/ 2310233 h 2323145"/>
              <a:gd name="connsiteX261" fmla="*/ 487366 w 11269336"/>
              <a:gd name="connsiteY261" fmla="*/ 2309053 h 2323145"/>
              <a:gd name="connsiteX262" fmla="*/ 416820 w 11269336"/>
              <a:gd name="connsiteY262" fmla="*/ 2305443 h 2323145"/>
              <a:gd name="connsiteX263" fmla="*/ 376805 w 11269336"/>
              <a:gd name="connsiteY263" fmla="*/ 2307647 h 2323145"/>
              <a:gd name="connsiteX264" fmla="*/ 266777 w 11269336"/>
              <a:gd name="connsiteY264" fmla="*/ 2309012 h 2323145"/>
              <a:gd name="connsiteX265" fmla="*/ 156013 w 11269336"/>
              <a:gd name="connsiteY265" fmla="*/ 2306832 h 2323145"/>
              <a:gd name="connsiteX266" fmla="*/ 87258 w 11269336"/>
              <a:gd name="connsiteY266" fmla="*/ 2285511 h 2323145"/>
              <a:gd name="connsiteX267" fmla="*/ 23798 w 11269336"/>
              <a:gd name="connsiteY267" fmla="*/ 2281822 h 2323145"/>
              <a:gd name="connsiteX268" fmla="*/ 0 w 11269336"/>
              <a:gd name="connsiteY268" fmla="*/ 2285369 h 2323145"/>
              <a:gd name="connsiteX269" fmla="*/ 0 w 11269336"/>
              <a:gd name="connsiteY269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197391 w 11269336"/>
              <a:gd name="connsiteY54" fmla="*/ 1107746 h 2323145"/>
              <a:gd name="connsiteX55" fmla="*/ 8081474 w 11269336"/>
              <a:gd name="connsiteY55" fmla="*/ 1130125 h 2323145"/>
              <a:gd name="connsiteX56" fmla="*/ 8053585 w 11269336"/>
              <a:gd name="connsiteY56" fmla="*/ 1129169 h 2323145"/>
              <a:gd name="connsiteX57" fmla="*/ 8038422 w 11269336"/>
              <a:gd name="connsiteY57" fmla="*/ 1119092 h 2323145"/>
              <a:gd name="connsiteX58" fmla="*/ 8029450 w 11269336"/>
              <a:gd name="connsiteY58" fmla="*/ 1125592 h 2323145"/>
              <a:gd name="connsiteX59" fmla="*/ 7959552 w 11269336"/>
              <a:gd name="connsiteY59" fmla="*/ 1140188 h 2323145"/>
              <a:gd name="connsiteX60" fmla="*/ 7914188 w 11269336"/>
              <a:gd name="connsiteY60" fmla="*/ 1150862 h 2323145"/>
              <a:gd name="connsiteX61" fmla="*/ 7914918 w 11269336"/>
              <a:gd name="connsiteY61" fmla="*/ 1168758 h 2323145"/>
              <a:gd name="connsiteX62" fmla="*/ 7875510 w 11269336"/>
              <a:gd name="connsiteY62" fmla="*/ 1183153 h 2323145"/>
              <a:gd name="connsiteX63" fmla="*/ 7829932 w 11269336"/>
              <a:gd name="connsiteY63" fmla="*/ 1180782 h 2323145"/>
              <a:gd name="connsiteX64" fmla="*/ 7779182 w 11269336"/>
              <a:gd name="connsiteY64" fmla="*/ 1192665 h 2323145"/>
              <a:gd name="connsiteX65" fmla="*/ 7748774 w 11269336"/>
              <a:gd name="connsiteY65" fmla="*/ 1199586 h 2323145"/>
              <a:gd name="connsiteX66" fmla="*/ 7671846 w 11269336"/>
              <a:gd name="connsiteY66" fmla="*/ 1231966 h 2323145"/>
              <a:gd name="connsiteX67" fmla="*/ 7554146 w 11269336"/>
              <a:gd name="connsiteY67" fmla="*/ 1319748 h 2323145"/>
              <a:gd name="connsiteX68" fmla="*/ 7515052 w 11269336"/>
              <a:gd name="connsiteY68" fmla="*/ 1336718 h 2323145"/>
              <a:gd name="connsiteX69" fmla="*/ 7507193 w 11269336"/>
              <a:gd name="connsiteY69" fmla="*/ 1334617 h 2323145"/>
              <a:gd name="connsiteX70" fmla="*/ 7461694 w 11269336"/>
              <a:gd name="connsiteY70" fmla="*/ 1375866 h 2323145"/>
              <a:gd name="connsiteX71" fmla="*/ 7377571 w 11269336"/>
              <a:gd name="connsiteY71" fmla="*/ 1400128 h 2323145"/>
              <a:gd name="connsiteX72" fmla="*/ 7311261 w 11269336"/>
              <a:gd name="connsiteY72" fmla="*/ 1412652 h 2323145"/>
              <a:gd name="connsiteX73" fmla="*/ 7275307 w 11269336"/>
              <a:gd name="connsiteY73" fmla="*/ 1422171 h 2323145"/>
              <a:gd name="connsiteX74" fmla="*/ 7247783 w 11269336"/>
              <a:gd name="connsiteY74" fmla="*/ 1426330 h 2323145"/>
              <a:gd name="connsiteX75" fmla="*/ 7185047 w 11269336"/>
              <a:gd name="connsiteY75" fmla="*/ 1451812 h 2323145"/>
              <a:gd name="connsiteX76" fmla="*/ 7084117 w 11269336"/>
              <a:gd name="connsiteY76" fmla="*/ 1500281 h 2323145"/>
              <a:gd name="connsiteX77" fmla="*/ 7062011 w 11269336"/>
              <a:gd name="connsiteY77" fmla="*/ 1509183 h 2323145"/>
              <a:gd name="connsiteX78" fmla="*/ 7040555 w 11269336"/>
              <a:gd name="connsiteY78" fmla="*/ 1511207 h 2323145"/>
              <a:gd name="connsiteX79" fmla="*/ 7033438 w 11269336"/>
              <a:gd name="connsiteY79" fmla="*/ 1506772 h 2323145"/>
              <a:gd name="connsiteX80" fmla="*/ 7020886 w 11269336"/>
              <a:gd name="connsiteY80" fmla="*/ 1510764 h 2323145"/>
              <a:gd name="connsiteX81" fmla="*/ 7017033 w 11269336"/>
              <a:gd name="connsiteY81" fmla="*/ 1510650 h 2323145"/>
              <a:gd name="connsiteX82" fmla="*/ 6995460 w 11269336"/>
              <a:gd name="connsiteY82" fmla="*/ 1511173 h 2323145"/>
              <a:gd name="connsiteX83" fmla="*/ 6962144 w 11269336"/>
              <a:gd name="connsiteY83" fmla="*/ 1541508 h 2323145"/>
              <a:gd name="connsiteX84" fmla="*/ 6910674 w 11269336"/>
              <a:gd name="connsiteY84" fmla="*/ 1554793 h 2323145"/>
              <a:gd name="connsiteX85" fmla="*/ 6732152 w 11269336"/>
              <a:gd name="connsiteY85" fmla="*/ 1642538 h 2323145"/>
              <a:gd name="connsiteX86" fmla="*/ 6694106 w 11269336"/>
              <a:gd name="connsiteY86" fmla="*/ 1632377 h 2323145"/>
              <a:gd name="connsiteX87" fmla="*/ 6617223 w 11269336"/>
              <a:gd name="connsiteY87" fmla="*/ 1659889 h 2323145"/>
              <a:gd name="connsiteX88" fmla="*/ 6521138 w 11269336"/>
              <a:gd name="connsiteY88" fmla="*/ 1744340 h 2323145"/>
              <a:gd name="connsiteX89" fmla="*/ 6380677 w 11269336"/>
              <a:gd name="connsiteY89" fmla="*/ 1796883 h 2323145"/>
              <a:gd name="connsiteX90" fmla="*/ 6374897 w 11269336"/>
              <a:gd name="connsiteY90" fmla="*/ 1809910 h 2323145"/>
              <a:gd name="connsiteX91" fmla="*/ 6364545 w 11269336"/>
              <a:gd name="connsiteY91" fmla="*/ 1820090 h 2323145"/>
              <a:gd name="connsiteX92" fmla="*/ 6362126 w 11269336"/>
              <a:gd name="connsiteY92" fmla="*/ 1819991 h 2323145"/>
              <a:gd name="connsiteX93" fmla="*/ 6346673 w 11269336"/>
              <a:gd name="connsiteY93" fmla="*/ 1827824 h 2323145"/>
              <a:gd name="connsiteX94" fmla="*/ 6345588 w 11269336"/>
              <a:gd name="connsiteY94" fmla="*/ 1832232 h 2323145"/>
              <a:gd name="connsiteX95" fmla="*/ 6335708 w 11269336"/>
              <a:gd name="connsiteY95" fmla="*/ 1838451 h 2323145"/>
              <a:gd name="connsiteX96" fmla="*/ 6318182 w 11269336"/>
              <a:gd name="connsiteY96" fmla="*/ 1852975 h 2323145"/>
              <a:gd name="connsiteX97" fmla="*/ 6313084 w 11269336"/>
              <a:gd name="connsiteY97" fmla="*/ 1853561 h 2323145"/>
              <a:gd name="connsiteX98" fmla="*/ 6283816 w 11269336"/>
              <a:gd name="connsiteY98" fmla="*/ 1872148 h 2323145"/>
              <a:gd name="connsiteX99" fmla="*/ 6282550 w 11269336"/>
              <a:gd name="connsiteY99" fmla="*/ 1871392 h 2323145"/>
              <a:gd name="connsiteX100" fmla="*/ 6270527 w 11269336"/>
              <a:gd name="connsiteY100" fmla="*/ 1872208 h 2323145"/>
              <a:gd name="connsiteX101" fmla="*/ 6249518 w 11269336"/>
              <a:gd name="connsiteY101" fmla="*/ 1876079 h 2323145"/>
              <a:gd name="connsiteX102" fmla="*/ 6190386 w 11269336"/>
              <a:gd name="connsiteY102" fmla="*/ 1872478 h 2323145"/>
              <a:gd name="connsiteX103" fmla="*/ 6159777 w 11269336"/>
              <a:gd name="connsiteY103" fmla="*/ 1891745 h 2323145"/>
              <a:gd name="connsiteX104" fmla="*/ 6153131 w 11269336"/>
              <a:gd name="connsiteY104" fmla="*/ 1895079 h 2323145"/>
              <a:gd name="connsiteX105" fmla="*/ 6152798 w 11269336"/>
              <a:gd name="connsiteY105" fmla="*/ 1894920 h 2323145"/>
              <a:gd name="connsiteX106" fmla="*/ 6145388 w 11269336"/>
              <a:gd name="connsiteY106" fmla="*/ 1897990 h 2323145"/>
              <a:gd name="connsiteX107" fmla="*/ 6141014 w 11269336"/>
              <a:gd name="connsiteY107" fmla="*/ 1901155 h 2323145"/>
              <a:gd name="connsiteX108" fmla="*/ 6128122 w 11269336"/>
              <a:gd name="connsiteY108" fmla="*/ 1907623 h 2323145"/>
              <a:gd name="connsiteX109" fmla="*/ 6122351 w 11269336"/>
              <a:gd name="connsiteY109" fmla="*/ 1908359 h 2323145"/>
              <a:gd name="connsiteX110" fmla="*/ 6064750 w 11269336"/>
              <a:gd name="connsiteY110" fmla="*/ 1896394 h 2323145"/>
              <a:gd name="connsiteX111" fmla="*/ 5964230 w 11269336"/>
              <a:gd name="connsiteY111" fmla="*/ 1910038 h 2323145"/>
              <a:gd name="connsiteX112" fmla="*/ 5865399 w 11269336"/>
              <a:gd name="connsiteY112" fmla="*/ 1926966 h 2323145"/>
              <a:gd name="connsiteX113" fmla="*/ 5829951 w 11269336"/>
              <a:gd name="connsiteY113" fmla="*/ 1934755 h 2323145"/>
              <a:gd name="connsiteX114" fmla="*/ 5765285 w 11269336"/>
              <a:gd name="connsiteY114" fmla="*/ 1941322 h 2323145"/>
              <a:gd name="connsiteX115" fmla="*/ 5734750 w 11269336"/>
              <a:gd name="connsiteY115" fmla="*/ 1939793 h 2323145"/>
              <a:gd name="connsiteX116" fmla="*/ 5733569 w 11269336"/>
              <a:gd name="connsiteY116" fmla="*/ 1940505 h 2323145"/>
              <a:gd name="connsiteX117" fmla="*/ 5730329 w 11269336"/>
              <a:gd name="connsiteY117" fmla="*/ 1937845 h 2323145"/>
              <a:gd name="connsiteX118" fmla="*/ 5724661 w 11269336"/>
              <a:gd name="connsiteY118" fmla="*/ 1937455 h 2323145"/>
              <a:gd name="connsiteX119" fmla="*/ 5710186 w 11269336"/>
              <a:gd name="connsiteY119" fmla="*/ 1941370 h 2323145"/>
              <a:gd name="connsiteX120" fmla="*/ 5704910 w 11269336"/>
              <a:gd name="connsiteY120" fmla="*/ 1943663 h 2323145"/>
              <a:gd name="connsiteX121" fmla="*/ 5696836 w 11269336"/>
              <a:gd name="connsiteY121" fmla="*/ 1945271 h 2323145"/>
              <a:gd name="connsiteX122" fmla="*/ 5696583 w 11269336"/>
              <a:gd name="connsiteY122" fmla="*/ 1945050 h 2323145"/>
              <a:gd name="connsiteX123" fmla="*/ 5689123 w 11269336"/>
              <a:gd name="connsiteY123" fmla="*/ 1947067 h 2323145"/>
              <a:gd name="connsiteX124" fmla="*/ 5653291 w 11269336"/>
              <a:gd name="connsiteY124" fmla="*/ 1960245 h 2323145"/>
              <a:gd name="connsiteX125" fmla="*/ 5599385 w 11269336"/>
              <a:gd name="connsiteY125" fmla="*/ 1945198 h 2323145"/>
              <a:gd name="connsiteX126" fmla="*/ 5578300 w 11269336"/>
              <a:gd name="connsiteY126" fmla="*/ 1944963 h 2323145"/>
              <a:gd name="connsiteX127" fmla="*/ 5566758 w 11269336"/>
              <a:gd name="connsiteY127" fmla="*/ 1943441 h 2323145"/>
              <a:gd name="connsiteX128" fmla="*/ 5565857 w 11269336"/>
              <a:gd name="connsiteY128" fmla="*/ 1942445 h 2323145"/>
              <a:gd name="connsiteX129" fmla="*/ 5531534 w 11269336"/>
              <a:gd name="connsiteY129" fmla="*/ 1955208 h 2323145"/>
              <a:gd name="connsiteX130" fmla="*/ 5526552 w 11269336"/>
              <a:gd name="connsiteY130" fmla="*/ 1954799 h 2323145"/>
              <a:gd name="connsiteX131" fmla="*/ 5504723 w 11269336"/>
              <a:gd name="connsiteY131" fmla="*/ 1965811 h 2323145"/>
              <a:gd name="connsiteX132" fmla="*/ 5493156 w 11269336"/>
              <a:gd name="connsiteY132" fmla="*/ 1970063 h 2323145"/>
              <a:gd name="connsiteX133" fmla="*/ 5490486 w 11269336"/>
              <a:gd name="connsiteY133" fmla="*/ 1974227 h 2323145"/>
              <a:gd name="connsiteX134" fmla="*/ 5473107 w 11269336"/>
              <a:gd name="connsiteY134" fmla="*/ 1979001 h 2323145"/>
              <a:gd name="connsiteX135" fmla="*/ 5470885 w 11269336"/>
              <a:gd name="connsiteY135" fmla="*/ 1978432 h 2323145"/>
              <a:gd name="connsiteX136" fmla="*/ 5457393 w 11269336"/>
              <a:gd name="connsiteY136" fmla="*/ 1986525 h 2323145"/>
              <a:gd name="connsiteX137" fmla="*/ 5447102 w 11269336"/>
              <a:gd name="connsiteY137" fmla="*/ 1998329 h 2323145"/>
              <a:gd name="connsiteX138" fmla="*/ 5159151 w 11269336"/>
              <a:gd name="connsiteY138" fmla="*/ 2029640 h 2323145"/>
              <a:gd name="connsiteX139" fmla="*/ 5041688 w 11269336"/>
              <a:gd name="connsiteY139" fmla="*/ 2022334 h 2323145"/>
              <a:gd name="connsiteX140" fmla="*/ 4860988 w 11269336"/>
              <a:gd name="connsiteY140" fmla="*/ 2135698 h 2323145"/>
              <a:gd name="connsiteX141" fmla="*/ 4807902 w 11269336"/>
              <a:gd name="connsiteY141" fmla="*/ 2138894 h 2323145"/>
              <a:gd name="connsiteX142" fmla="*/ 4765388 w 11269336"/>
              <a:gd name="connsiteY142" fmla="*/ 2162525 h 2323145"/>
              <a:gd name="connsiteX143" fmla="*/ 4745033 w 11269336"/>
              <a:gd name="connsiteY143" fmla="*/ 2158859 h 2323145"/>
              <a:gd name="connsiteX144" fmla="*/ 4741475 w 11269336"/>
              <a:gd name="connsiteY144" fmla="*/ 2157998 h 2323145"/>
              <a:gd name="connsiteX145" fmla="*/ 4728247 w 11269336"/>
              <a:gd name="connsiteY145" fmla="*/ 2159526 h 2323145"/>
              <a:gd name="connsiteX146" fmla="*/ 4723263 w 11269336"/>
              <a:gd name="connsiteY146" fmla="*/ 2153742 h 2323145"/>
              <a:gd name="connsiteX147" fmla="*/ 4702453 w 11269336"/>
              <a:gd name="connsiteY147" fmla="*/ 2151586 h 2323145"/>
              <a:gd name="connsiteX148" fmla="*/ 4678455 w 11269336"/>
              <a:gd name="connsiteY148" fmla="*/ 2156131 h 2323145"/>
              <a:gd name="connsiteX149" fmla="*/ 4593061 w 11269336"/>
              <a:gd name="connsiteY149" fmla="*/ 2171597 h 2323145"/>
              <a:gd name="connsiteX150" fmla="*/ 4579902 w 11269336"/>
              <a:gd name="connsiteY150" fmla="*/ 2177927 h 2323145"/>
              <a:gd name="connsiteX151" fmla="*/ 4533444 w 11269336"/>
              <a:gd name="connsiteY151" fmla="*/ 2181200 h 2323145"/>
              <a:gd name="connsiteX152" fmla="*/ 4492832 w 11269336"/>
              <a:gd name="connsiteY152" fmla="*/ 2188033 h 2323145"/>
              <a:gd name="connsiteX153" fmla="*/ 4467257 w 11269336"/>
              <a:gd name="connsiteY153" fmla="*/ 2196121 h 2323145"/>
              <a:gd name="connsiteX154" fmla="*/ 4459937 w 11269336"/>
              <a:gd name="connsiteY154" fmla="*/ 2195182 h 2323145"/>
              <a:gd name="connsiteX155" fmla="*/ 4433312 w 11269336"/>
              <a:gd name="connsiteY155" fmla="*/ 2199004 h 2323145"/>
              <a:gd name="connsiteX156" fmla="*/ 4420601 w 11269336"/>
              <a:gd name="connsiteY156" fmla="*/ 2205158 h 2323145"/>
              <a:gd name="connsiteX157" fmla="*/ 4405765 w 11269336"/>
              <a:gd name="connsiteY157" fmla="*/ 2199902 h 2323145"/>
              <a:gd name="connsiteX158" fmla="*/ 4401354 w 11269336"/>
              <a:gd name="connsiteY158" fmla="*/ 2194745 h 2323145"/>
              <a:gd name="connsiteX159" fmla="*/ 4383151 w 11269336"/>
              <a:gd name="connsiteY159" fmla="*/ 2201140 h 2323145"/>
              <a:gd name="connsiteX160" fmla="*/ 4366646 w 11269336"/>
              <a:gd name="connsiteY160" fmla="*/ 2198564 h 2323145"/>
              <a:gd name="connsiteX161" fmla="*/ 4354009 w 11269336"/>
              <a:gd name="connsiteY161" fmla="*/ 2204984 h 2323145"/>
              <a:gd name="connsiteX162" fmla="*/ 4348284 w 11269336"/>
              <a:gd name="connsiteY162" fmla="*/ 2205270 h 2323145"/>
              <a:gd name="connsiteX163" fmla="*/ 4333906 w 11269336"/>
              <a:gd name="connsiteY163" fmla="*/ 2205251 h 2323145"/>
              <a:gd name="connsiteX164" fmla="*/ 4308819 w 11269336"/>
              <a:gd name="connsiteY164" fmla="*/ 2203822 h 2323145"/>
              <a:gd name="connsiteX165" fmla="*/ 4301210 w 11269336"/>
              <a:gd name="connsiteY165" fmla="*/ 2204456 h 2323145"/>
              <a:gd name="connsiteX166" fmla="*/ 4283095 w 11269336"/>
              <a:gd name="connsiteY166" fmla="*/ 2198177 h 2323145"/>
              <a:gd name="connsiteX167" fmla="*/ 4250119 w 11269336"/>
              <a:gd name="connsiteY167" fmla="*/ 2196342 h 2323145"/>
              <a:gd name="connsiteX168" fmla="*/ 4189203 w 11269336"/>
              <a:gd name="connsiteY168" fmla="*/ 2178994 h 2323145"/>
              <a:gd name="connsiteX169" fmla="*/ 4154035 w 11269336"/>
              <a:gd name="connsiteY169" fmla="*/ 2171950 h 2323145"/>
              <a:gd name="connsiteX170" fmla="*/ 4129569 w 11269336"/>
              <a:gd name="connsiteY170" fmla="*/ 2163850 h 2323145"/>
              <a:gd name="connsiteX171" fmla="*/ 4061250 w 11269336"/>
              <a:gd name="connsiteY171" fmla="*/ 2159236 h 2323145"/>
              <a:gd name="connsiteX172" fmla="*/ 3945480 w 11269336"/>
              <a:gd name="connsiteY172" fmla="*/ 2158279 h 2323145"/>
              <a:gd name="connsiteX173" fmla="*/ 3921468 w 11269336"/>
              <a:gd name="connsiteY173" fmla="*/ 2156588 h 2323145"/>
              <a:gd name="connsiteX174" fmla="*/ 3903348 w 11269336"/>
              <a:gd name="connsiteY174" fmla="*/ 2149220 h 2323145"/>
              <a:gd name="connsiteX175" fmla="*/ 3901342 w 11269336"/>
              <a:gd name="connsiteY175" fmla="*/ 2142355 h 2323145"/>
              <a:gd name="connsiteX176" fmla="*/ 3888539 w 11269336"/>
              <a:gd name="connsiteY176" fmla="*/ 2140476 h 2323145"/>
              <a:gd name="connsiteX177" fmla="*/ 3885662 w 11269336"/>
              <a:gd name="connsiteY177" fmla="*/ 2138740 h 2323145"/>
              <a:gd name="connsiteX178" fmla="*/ 3868627 w 11269336"/>
              <a:gd name="connsiteY178" fmla="*/ 2130023 h 2323145"/>
              <a:gd name="connsiteX179" fmla="*/ 3819177 w 11269336"/>
              <a:gd name="connsiteY179" fmla="*/ 2142111 h 2323145"/>
              <a:gd name="connsiteX180" fmla="*/ 3769100 w 11269336"/>
              <a:gd name="connsiteY180" fmla="*/ 2131731 h 2323145"/>
              <a:gd name="connsiteX181" fmla="*/ 3562752 w 11269336"/>
              <a:gd name="connsiteY181" fmla="*/ 2131785 h 2323145"/>
              <a:gd name="connsiteX182" fmla="*/ 3541402 w 11269336"/>
              <a:gd name="connsiteY182" fmla="*/ 2106821 h 2323145"/>
              <a:gd name="connsiteX183" fmla="*/ 3365341 w 11269336"/>
              <a:gd name="connsiteY183" fmla="*/ 2077638 h 2323145"/>
              <a:gd name="connsiteX184" fmla="*/ 3170922 w 11269336"/>
              <a:gd name="connsiteY184" fmla="*/ 2115957 h 2323145"/>
              <a:gd name="connsiteX185" fmla="*/ 3156256 w 11269336"/>
              <a:gd name="connsiteY185" fmla="*/ 2124773 h 2323145"/>
              <a:gd name="connsiteX186" fmla="*/ 3140298 w 11269336"/>
              <a:gd name="connsiteY186" fmla="*/ 2129182 h 2323145"/>
              <a:gd name="connsiteX187" fmla="*/ 3138514 w 11269336"/>
              <a:gd name="connsiteY187" fmla="*/ 2128069 h 2323145"/>
              <a:gd name="connsiteX188" fmla="*/ 3120467 w 11269336"/>
              <a:gd name="connsiteY188" fmla="*/ 2128281 h 2323145"/>
              <a:gd name="connsiteX189" fmla="*/ 3116175 w 11269336"/>
              <a:gd name="connsiteY189" fmla="*/ 2131633 h 2323145"/>
              <a:gd name="connsiteX190" fmla="*/ 3103685 w 11269336"/>
              <a:gd name="connsiteY190" fmla="*/ 2132814 h 2323145"/>
              <a:gd name="connsiteX191" fmla="*/ 3078794 w 11269336"/>
              <a:gd name="connsiteY191" fmla="*/ 2137935 h 2323145"/>
              <a:gd name="connsiteX192" fmla="*/ 3074407 w 11269336"/>
              <a:gd name="connsiteY192" fmla="*/ 2136274 h 2323145"/>
              <a:gd name="connsiteX193" fmla="*/ 3037285 w 11269336"/>
              <a:gd name="connsiteY193" fmla="*/ 2139919 h 2323145"/>
              <a:gd name="connsiteX194" fmla="*/ 3036901 w 11269336"/>
              <a:gd name="connsiteY194" fmla="*/ 2138726 h 2323145"/>
              <a:gd name="connsiteX195" fmla="*/ 3026996 w 11269336"/>
              <a:gd name="connsiteY195" fmla="*/ 2134322 h 2323145"/>
              <a:gd name="connsiteX196" fmla="*/ 3007772 w 11269336"/>
              <a:gd name="connsiteY196" fmla="*/ 2128742 h 2323145"/>
              <a:gd name="connsiteX197" fmla="*/ 2965030 w 11269336"/>
              <a:gd name="connsiteY197" fmla="*/ 2100494 h 2323145"/>
              <a:gd name="connsiteX198" fmla="*/ 2926342 w 11269336"/>
              <a:gd name="connsiteY198" fmla="*/ 2104155 h 2323145"/>
              <a:gd name="connsiteX199" fmla="*/ 2918608 w 11269336"/>
              <a:gd name="connsiteY199" fmla="*/ 2104215 h 2323145"/>
              <a:gd name="connsiteX200" fmla="*/ 2918475 w 11269336"/>
              <a:gd name="connsiteY200" fmla="*/ 2103937 h 2323145"/>
              <a:gd name="connsiteX201" fmla="*/ 2910360 w 11269336"/>
              <a:gd name="connsiteY201" fmla="*/ 2103444 h 2323145"/>
              <a:gd name="connsiteX202" fmla="*/ 2904507 w 11269336"/>
              <a:gd name="connsiteY202" fmla="*/ 2104326 h 2323145"/>
              <a:gd name="connsiteX203" fmla="*/ 2889503 w 11269336"/>
              <a:gd name="connsiteY203" fmla="*/ 2104443 h 2323145"/>
              <a:gd name="connsiteX204" fmla="*/ 2884480 w 11269336"/>
              <a:gd name="connsiteY204" fmla="*/ 2102626 h 2323145"/>
              <a:gd name="connsiteX205" fmla="*/ 2882689 w 11269336"/>
              <a:gd name="connsiteY205" fmla="*/ 2099228 h 2323145"/>
              <a:gd name="connsiteX206" fmla="*/ 2881291 w 11269336"/>
              <a:gd name="connsiteY206" fmla="*/ 2099618 h 2323145"/>
              <a:gd name="connsiteX207" fmla="*/ 2853979 w 11269336"/>
              <a:gd name="connsiteY207" fmla="*/ 2090388 h 2323145"/>
              <a:gd name="connsiteX208" fmla="*/ 2791790 w 11269336"/>
              <a:gd name="connsiteY208" fmla="*/ 2080332 h 2323145"/>
              <a:gd name="connsiteX209" fmla="*/ 2755844 w 11269336"/>
              <a:gd name="connsiteY209" fmla="*/ 2078874 h 2323145"/>
              <a:gd name="connsiteX210" fmla="*/ 2657742 w 11269336"/>
              <a:gd name="connsiteY210" fmla="*/ 2070179 h 2323145"/>
              <a:gd name="connsiteX211" fmla="*/ 2559549 w 11269336"/>
              <a:gd name="connsiteY211" fmla="*/ 2057873 h 2323145"/>
              <a:gd name="connsiteX212" fmla="*/ 2512054 w 11269336"/>
              <a:gd name="connsiteY212" fmla="*/ 2031671 h 2323145"/>
              <a:gd name="connsiteX213" fmla="*/ 2506437 w 11269336"/>
              <a:gd name="connsiteY213" fmla="*/ 2030918 h 2323145"/>
              <a:gd name="connsiteX214" fmla="*/ 2491752 w 11269336"/>
              <a:gd name="connsiteY214" fmla="*/ 2033906 h 2323145"/>
              <a:gd name="connsiteX215" fmla="*/ 2486338 w 11269336"/>
              <a:gd name="connsiteY215" fmla="*/ 2035862 h 2323145"/>
              <a:gd name="connsiteX216" fmla="*/ 2478186 w 11269336"/>
              <a:gd name="connsiteY216" fmla="*/ 2036953 h 2323145"/>
              <a:gd name="connsiteX217" fmla="*/ 2477950 w 11269336"/>
              <a:gd name="connsiteY217" fmla="*/ 2036715 h 2323145"/>
              <a:gd name="connsiteX218" fmla="*/ 2470381 w 11269336"/>
              <a:gd name="connsiteY218" fmla="*/ 2038256 h 2323145"/>
              <a:gd name="connsiteX219" fmla="*/ 2433781 w 11269336"/>
              <a:gd name="connsiteY219" fmla="*/ 2049140 h 2323145"/>
              <a:gd name="connsiteX220" fmla="*/ 2381172 w 11269336"/>
              <a:gd name="connsiteY220" fmla="*/ 2030645 h 2323145"/>
              <a:gd name="connsiteX221" fmla="*/ 2360198 w 11269336"/>
              <a:gd name="connsiteY221" fmla="*/ 2029059 h 2323145"/>
              <a:gd name="connsiteX222" fmla="*/ 2348815 w 11269336"/>
              <a:gd name="connsiteY222" fmla="*/ 2026798 h 2323145"/>
              <a:gd name="connsiteX223" fmla="*/ 2347988 w 11269336"/>
              <a:gd name="connsiteY223" fmla="*/ 2025745 h 2323145"/>
              <a:gd name="connsiteX224" fmla="*/ 2312920 w 11269336"/>
              <a:gd name="connsiteY224" fmla="*/ 2036311 h 2323145"/>
              <a:gd name="connsiteX225" fmla="*/ 2307986 w 11269336"/>
              <a:gd name="connsiteY225" fmla="*/ 2035583 h 2323145"/>
              <a:gd name="connsiteX226" fmla="*/ 2285481 w 11269336"/>
              <a:gd name="connsiteY226" fmla="*/ 2045197 h 2323145"/>
              <a:gd name="connsiteX227" fmla="*/ 2273666 w 11269336"/>
              <a:gd name="connsiteY227" fmla="*/ 2048710 h 2323145"/>
              <a:gd name="connsiteX228" fmla="*/ 2270719 w 11269336"/>
              <a:gd name="connsiteY228" fmla="*/ 2052702 h 2323145"/>
              <a:gd name="connsiteX229" fmla="*/ 2253080 w 11269336"/>
              <a:gd name="connsiteY229" fmla="*/ 2056363 h 2323145"/>
              <a:gd name="connsiteX230" fmla="*/ 2250906 w 11269336"/>
              <a:gd name="connsiteY230" fmla="*/ 2055654 h 2323145"/>
              <a:gd name="connsiteX231" fmla="*/ 2236905 w 11269336"/>
              <a:gd name="connsiteY231" fmla="*/ 2062882 h 2323145"/>
              <a:gd name="connsiteX232" fmla="*/ 2225830 w 11269336"/>
              <a:gd name="connsiteY232" fmla="*/ 2074027 h 2323145"/>
              <a:gd name="connsiteX233" fmla="*/ 2073776 w 11269336"/>
              <a:gd name="connsiteY233" fmla="*/ 2089244 h 2323145"/>
              <a:gd name="connsiteX234" fmla="*/ 1948256 w 11269336"/>
              <a:gd name="connsiteY234" fmla="*/ 2146616 h 2323145"/>
              <a:gd name="connsiteX235" fmla="*/ 1865582 w 11269336"/>
              <a:gd name="connsiteY235" fmla="*/ 2153738 h 2323145"/>
              <a:gd name="connsiteX236" fmla="*/ 1835210 w 11269336"/>
              <a:gd name="connsiteY236" fmla="*/ 2134244 h 2323145"/>
              <a:gd name="connsiteX237" fmla="*/ 1632661 w 11269336"/>
              <a:gd name="connsiteY237" fmla="*/ 2173882 h 2323145"/>
              <a:gd name="connsiteX238" fmla="*/ 1579590 w 11269336"/>
              <a:gd name="connsiteY238" fmla="*/ 2173680 h 2323145"/>
              <a:gd name="connsiteX239" fmla="*/ 1535601 w 11269336"/>
              <a:gd name="connsiteY239" fmla="*/ 2194590 h 2323145"/>
              <a:gd name="connsiteX240" fmla="*/ 1515594 w 11269336"/>
              <a:gd name="connsiteY240" fmla="*/ 2189622 h 2323145"/>
              <a:gd name="connsiteX241" fmla="*/ 1512113 w 11269336"/>
              <a:gd name="connsiteY241" fmla="*/ 2188534 h 2323145"/>
              <a:gd name="connsiteX242" fmla="*/ 1498838 w 11269336"/>
              <a:gd name="connsiteY242" fmla="*/ 2189213 h 2323145"/>
              <a:gd name="connsiteX243" fmla="*/ 1494279 w 11269336"/>
              <a:gd name="connsiteY243" fmla="*/ 2183112 h 2323145"/>
              <a:gd name="connsiteX244" fmla="*/ 1473714 w 11269336"/>
              <a:gd name="connsiteY244" fmla="*/ 2179625 h 2323145"/>
              <a:gd name="connsiteX245" fmla="*/ 1449503 w 11269336"/>
              <a:gd name="connsiteY245" fmla="*/ 2182633 h 2323145"/>
              <a:gd name="connsiteX246" fmla="*/ 1266687 w 11269336"/>
              <a:gd name="connsiteY246" fmla="*/ 2212688 h 2323145"/>
              <a:gd name="connsiteX247" fmla="*/ 1239614 w 11269336"/>
              <a:gd name="connsiteY247" fmla="*/ 2209727 h 2323145"/>
              <a:gd name="connsiteX248" fmla="*/ 1202436 w 11269336"/>
              <a:gd name="connsiteY248" fmla="*/ 2209817 h 2323145"/>
              <a:gd name="connsiteX249" fmla="*/ 1136097 w 11269336"/>
              <a:gd name="connsiteY249" fmla="*/ 2205112 h 2323145"/>
              <a:gd name="connsiteX250" fmla="*/ 988232 w 11269336"/>
              <a:gd name="connsiteY250" fmla="*/ 2235635 h 2323145"/>
              <a:gd name="connsiteX251" fmla="*/ 981959 w 11269336"/>
              <a:gd name="connsiteY251" fmla="*/ 2231607 h 2323145"/>
              <a:gd name="connsiteX252" fmla="*/ 938600 w 11269336"/>
              <a:gd name="connsiteY252" fmla="*/ 2238113 h 2323145"/>
              <a:gd name="connsiteX253" fmla="*/ 791788 w 11269336"/>
              <a:gd name="connsiteY253" fmla="*/ 2293224 h 2323145"/>
              <a:gd name="connsiteX254" fmla="*/ 706914 w 11269336"/>
              <a:gd name="connsiteY254" fmla="*/ 2305046 h 2323145"/>
              <a:gd name="connsiteX255" fmla="*/ 675971 w 11269336"/>
              <a:gd name="connsiteY255" fmla="*/ 2304030 h 2323145"/>
              <a:gd name="connsiteX256" fmla="*/ 624180 w 11269336"/>
              <a:gd name="connsiteY256" fmla="*/ 2302650 h 2323145"/>
              <a:gd name="connsiteX257" fmla="*/ 583453 w 11269336"/>
              <a:gd name="connsiteY257" fmla="*/ 2288788 h 2323145"/>
              <a:gd name="connsiteX258" fmla="*/ 540946 w 11269336"/>
              <a:gd name="connsiteY258" fmla="*/ 2292721 h 2323145"/>
              <a:gd name="connsiteX259" fmla="*/ 533680 w 11269336"/>
              <a:gd name="connsiteY259" fmla="*/ 2310233 h 2323145"/>
              <a:gd name="connsiteX260" fmla="*/ 487366 w 11269336"/>
              <a:gd name="connsiteY260" fmla="*/ 2309053 h 2323145"/>
              <a:gd name="connsiteX261" fmla="*/ 416820 w 11269336"/>
              <a:gd name="connsiteY261" fmla="*/ 2305443 h 2323145"/>
              <a:gd name="connsiteX262" fmla="*/ 376805 w 11269336"/>
              <a:gd name="connsiteY262" fmla="*/ 2307647 h 2323145"/>
              <a:gd name="connsiteX263" fmla="*/ 266777 w 11269336"/>
              <a:gd name="connsiteY263" fmla="*/ 2309012 h 2323145"/>
              <a:gd name="connsiteX264" fmla="*/ 156013 w 11269336"/>
              <a:gd name="connsiteY264" fmla="*/ 2306832 h 2323145"/>
              <a:gd name="connsiteX265" fmla="*/ 87258 w 11269336"/>
              <a:gd name="connsiteY265" fmla="*/ 2285511 h 2323145"/>
              <a:gd name="connsiteX266" fmla="*/ 23798 w 11269336"/>
              <a:gd name="connsiteY266" fmla="*/ 2281822 h 2323145"/>
              <a:gd name="connsiteX267" fmla="*/ 0 w 11269336"/>
              <a:gd name="connsiteY267" fmla="*/ 2285369 h 2323145"/>
              <a:gd name="connsiteX268" fmla="*/ 0 w 11269336"/>
              <a:gd name="connsiteY268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795998 w 11269336"/>
              <a:gd name="connsiteY32" fmla="*/ 863337 h 2323145"/>
              <a:gd name="connsiteX33" fmla="*/ 8776970 w 11269336"/>
              <a:gd name="connsiteY33" fmla="*/ 885177 h 2323145"/>
              <a:gd name="connsiteX34" fmla="*/ 8755719 w 11269336"/>
              <a:gd name="connsiteY34" fmla="*/ 889754 h 2323145"/>
              <a:gd name="connsiteX35" fmla="*/ 8743257 w 11269336"/>
              <a:gd name="connsiteY35" fmla="*/ 904723 h 2323145"/>
              <a:gd name="connsiteX36" fmla="*/ 8721366 w 11269336"/>
              <a:gd name="connsiteY36" fmla="*/ 904711 h 2323145"/>
              <a:gd name="connsiteX37" fmla="*/ 8678353 w 11269336"/>
              <a:gd name="connsiteY37" fmla="*/ 926318 h 2323145"/>
              <a:gd name="connsiteX38" fmla="*/ 8636849 w 11269336"/>
              <a:gd name="connsiteY38" fmla="*/ 937900 h 2323145"/>
              <a:gd name="connsiteX39" fmla="*/ 8620213 w 11269336"/>
              <a:gd name="connsiteY39" fmla="*/ 943068 h 2323145"/>
              <a:gd name="connsiteX40" fmla="*/ 8612581 w 11269336"/>
              <a:gd name="connsiteY40" fmla="*/ 952695 h 2323145"/>
              <a:gd name="connsiteX41" fmla="*/ 8589038 w 11269336"/>
              <a:gd name="connsiteY41" fmla="*/ 963892 h 2323145"/>
              <a:gd name="connsiteX42" fmla="*/ 8579950 w 11269336"/>
              <a:gd name="connsiteY42" fmla="*/ 960899 h 2323145"/>
              <a:gd name="connsiteX43" fmla="*/ 8579319 w 11269336"/>
              <a:gd name="connsiteY43" fmla="*/ 965630 h 2323145"/>
              <a:gd name="connsiteX44" fmla="*/ 8547429 w 11269336"/>
              <a:gd name="connsiteY44" fmla="*/ 984506 h 2323145"/>
              <a:gd name="connsiteX45" fmla="*/ 8478704 w 11269336"/>
              <a:gd name="connsiteY45" fmla="*/ 1025490 h 2323145"/>
              <a:gd name="connsiteX46" fmla="*/ 8461421 w 11269336"/>
              <a:gd name="connsiteY46" fmla="*/ 1035512 h 2323145"/>
              <a:gd name="connsiteX47" fmla="*/ 8445003 w 11269336"/>
              <a:gd name="connsiteY47" fmla="*/ 1036851 h 2323145"/>
              <a:gd name="connsiteX48" fmla="*/ 8357350 w 11269336"/>
              <a:gd name="connsiteY48" fmla="*/ 1060213 h 2323145"/>
              <a:gd name="connsiteX49" fmla="*/ 8335565 w 11269336"/>
              <a:gd name="connsiteY49" fmla="*/ 1061151 h 2323145"/>
              <a:gd name="connsiteX50" fmla="*/ 8325267 w 11269336"/>
              <a:gd name="connsiteY50" fmla="*/ 1055919 h 2323145"/>
              <a:gd name="connsiteX51" fmla="*/ 8293586 w 11269336"/>
              <a:gd name="connsiteY51" fmla="*/ 1076144 h 2323145"/>
              <a:gd name="connsiteX52" fmla="*/ 8242405 w 11269336"/>
              <a:gd name="connsiteY52" fmla="*/ 1095960 h 2323145"/>
              <a:gd name="connsiteX53" fmla="*/ 8197391 w 11269336"/>
              <a:gd name="connsiteY53" fmla="*/ 1107746 h 2323145"/>
              <a:gd name="connsiteX54" fmla="*/ 8081474 w 11269336"/>
              <a:gd name="connsiteY54" fmla="*/ 1130125 h 2323145"/>
              <a:gd name="connsiteX55" fmla="*/ 8053585 w 11269336"/>
              <a:gd name="connsiteY55" fmla="*/ 1129169 h 2323145"/>
              <a:gd name="connsiteX56" fmla="*/ 8038422 w 11269336"/>
              <a:gd name="connsiteY56" fmla="*/ 1119092 h 2323145"/>
              <a:gd name="connsiteX57" fmla="*/ 8029450 w 11269336"/>
              <a:gd name="connsiteY57" fmla="*/ 1125592 h 2323145"/>
              <a:gd name="connsiteX58" fmla="*/ 7959552 w 11269336"/>
              <a:gd name="connsiteY58" fmla="*/ 1140188 h 2323145"/>
              <a:gd name="connsiteX59" fmla="*/ 7914188 w 11269336"/>
              <a:gd name="connsiteY59" fmla="*/ 1150862 h 2323145"/>
              <a:gd name="connsiteX60" fmla="*/ 7914918 w 11269336"/>
              <a:gd name="connsiteY60" fmla="*/ 1168758 h 2323145"/>
              <a:gd name="connsiteX61" fmla="*/ 7875510 w 11269336"/>
              <a:gd name="connsiteY61" fmla="*/ 1183153 h 2323145"/>
              <a:gd name="connsiteX62" fmla="*/ 7829932 w 11269336"/>
              <a:gd name="connsiteY62" fmla="*/ 1180782 h 2323145"/>
              <a:gd name="connsiteX63" fmla="*/ 7779182 w 11269336"/>
              <a:gd name="connsiteY63" fmla="*/ 1192665 h 2323145"/>
              <a:gd name="connsiteX64" fmla="*/ 7748774 w 11269336"/>
              <a:gd name="connsiteY64" fmla="*/ 1199586 h 2323145"/>
              <a:gd name="connsiteX65" fmla="*/ 7671846 w 11269336"/>
              <a:gd name="connsiteY65" fmla="*/ 1231966 h 2323145"/>
              <a:gd name="connsiteX66" fmla="*/ 7554146 w 11269336"/>
              <a:gd name="connsiteY66" fmla="*/ 1319748 h 2323145"/>
              <a:gd name="connsiteX67" fmla="*/ 7515052 w 11269336"/>
              <a:gd name="connsiteY67" fmla="*/ 1336718 h 2323145"/>
              <a:gd name="connsiteX68" fmla="*/ 7507193 w 11269336"/>
              <a:gd name="connsiteY68" fmla="*/ 1334617 h 2323145"/>
              <a:gd name="connsiteX69" fmla="*/ 7461694 w 11269336"/>
              <a:gd name="connsiteY69" fmla="*/ 1375866 h 2323145"/>
              <a:gd name="connsiteX70" fmla="*/ 7377571 w 11269336"/>
              <a:gd name="connsiteY70" fmla="*/ 1400128 h 2323145"/>
              <a:gd name="connsiteX71" fmla="*/ 7311261 w 11269336"/>
              <a:gd name="connsiteY71" fmla="*/ 1412652 h 2323145"/>
              <a:gd name="connsiteX72" fmla="*/ 7275307 w 11269336"/>
              <a:gd name="connsiteY72" fmla="*/ 1422171 h 2323145"/>
              <a:gd name="connsiteX73" fmla="*/ 7247783 w 11269336"/>
              <a:gd name="connsiteY73" fmla="*/ 1426330 h 2323145"/>
              <a:gd name="connsiteX74" fmla="*/ 7185047 w 11269336"/>
              <a:gd name="connsiteY74" fmla="*/ 1451812 h 2323145"/>
              <a:gd name="connsiteX75" fmla="*/ 7084117 w 11269336"/>
              <a:gd name="connsiteY75" fmla="*/ 1500281 h 2323145"/>
              <a:gd name="connsiteX76" fmla="*/ 7062011 w 11269336"/>
              <a:gd name="connsiteY76" fmla="*/ 1509183 h 2323145"/>
              <a:gd name="connsiteX77" fmla="*/ 7040555 w 11269336"/>
              <a:gd name="connsiteY77" fmla="*/ 1511207 h 2323145"/>
              <a:gd name="connsiteX78" fmla="*/ 7033438 w 11269336"/>
              <a:gd name="connsiteY78" fmla="*/ 1506772 h 2323145"/>
              <a:gd name="connsiteX79" fmla="*/ 7020886 w 11269336"/>
              <a:gd name="connsiteY79" fmla="*/ 1510764 h 2323145"/>
              <a:gd name="connsiteX80" fmla="*/ 7017033 w 11269336"/>
              <a:gd name="connsiteY80" fmla="*/ 1510650 h 2323145"/>
              <a:gd name="connsiteX81" fmla="*/ 6995460 w 11269336"/>
              <a:gd name="connsiteY81" fmla="*/ 1511173 h 2323145"/>
              <a:gd name="connsiteX82" fmla="*/ 6962144 w 11269336"/>
              <a:gd name="connsiteY82" fmla="*/ 1541508 h 2323145"/>
              <a:gd name="connsiteX83" fmla="*/ 6910674 w 11269336"/>
              <a:gd name="connsiteY83" fmla="*/ 1554793 h 2323145"/>
              <a:gd name="connsiteX84" fmla="*/ 6732152 w 11269336"/>
              <a:gd name="connsiteY84" fmla="*/ 1642538 h 2323145"/>
              <a:gd name="connsiteX85" fmla="*/ 6694106 w 11269336"/>
              <a:gd name="connsiteY85" fmla="*/ 1632377 h 2323145"/>
              <a:gd name="connsiteX86" fmla="*/ 6617223 w 11269336"/>
              <a:gd name="connsiteY86" fmla="*/ 1659889 h 2323145"/>
              <a:gd name="connsiteX87" fmla="*/ 6521138 w 11269336"/>
              <a:gd name="connsiteY87" fmla="*/ 1744340 h 2323145"/>
              <a:gd name="connsiteX88" fmla="*/ 6380677 w 11269336"/>
              <a:gd name="connsiteY88" fmla="*/ 1796883 h 2323145"/>
              <a:gd name="connsiteX89" fmla="*/ 6374897 w 11269336"/>
              <a:gd name="connsiteY89" fmla="*/ 1809910 h 2323145"/>
              <a:gd name="connsiteX90" fmla="*/ 6364545 w 11269336"/>
              <a:gd name="connsiteY90" fmla="*/ 1820090 h 2323145"/>
              <a:gd name="connsiteX91" fmla="*/ 6362126 w 11269336"/>
              <a:gd name="connsiteY91" fmla="*/ 1819991 h 2323145"/>
              <a:gd name="connsiteX92" fmla="*/ 6346673 w 11269336"/>
              <a:gd name="connsiteY92" fmla="*/ 1827824 h 2323145"/>
              <a:gd name="connsiteX93" fmla="*/ 6345588 w 11269336"/>
              <a:gd name="connsiteY93" fmla="*/ 1832232 h 2323145"/>
              <a:gd name="connsiteX94" fmla="*/ 6335708 w 11269336"/>
              <a:gd name="connsiteY94" fmla="*/ 1838451 h 2323145"/>
              <a:gd name="connsiteX95" fmla="*/ 6318182 w 11269336"/>
              <a:gd name="connsiteY95" fmla="*/ 1852975 h 2323145"/>
              <a:gd name="connsiteX96" fmla="*/ 6313084 w 11269336"/>
              <a:gd name="connsiteY96" fmla="*/ 1853561 h 2323145"/>
              <a:gd name="connsiteX97" fmla="*/ 6283816 w 11269336"/>
              <a:gd name="connsiteY97" fmla="*/ 1872148 h 2323145"/>
              <a:gd name="connsiteX98" fmla="*/ 6282550 w 11269336"/>
              <a:gd name="connsiteY98" fmla="*/ 1871392 h 2323145"/>
              <a:gd name="connsiteX99" fmla="*/ 6270527 w 11269336"/>
              <a:gd name="connsiteY99" fmla="*/ 1872208 h 2323145"/>
              <a:gd name="connsiteX100" fmla="*/ 6249518 w 11269336"/>
              <a:gd name="connsiteY100" fmla="*/ 1876079 h 2323145"/>
              <a:gd name="connsiteX101" fmla="*/ 6190386 w 11269336"/>
              <a:gd name="connsiteY101" fmla="*/ 1872478 h 2323145"/>
              <a:gd name="connsiteX102" fmla="*/ 6159777 w 11269336"/>
              <a:gd name="connsiteY102" fmla="*/ 1891745 h 2323145"/>
              <a:gd name="connsiteX103" fmla="*/ 6153131 w 11269336"/>
              <a:gd name="connsiteY103" fmla="*/ 1895079 h 2323145"/>
              <a:gd name="connsiteX104" fmla="*/ 6152798 w 11269336"/>
              <a:gd name="connsiteY104" fmla="*/ 1894920 h 2323145"/>
              <a:gd name="connsiteX105" fmla="*/ 6145388 w 11269336"/>
              <a:gd name="connsiteY105" fmla="*/ 1897990 h 2323145"/>
              <a:gd name="connsiteX106" fmla="*/ 6141014 w 11269336"/>
              <a:gd name="connsiteY106" fmla="*/ 1901155 h 2323145"/>
              <a:gd name="connsiteX107" fmla="*/ 6128122 w 11269336"/>
              <a:gd name="connsiteY107" fmla="*/ 1907623 h 2323145"/>
              <a:gd name="connsiteX108" fmla="*/ 6122351 w 11269336"/>
              <a:gd name="connsiteY108" fmla="*/ 1908359 h 2323145"/>
              <a:gd name="connsiteX109" fmla="*/ 6064750 w 11269336"/>
              <a:gd name="connsiteY109" fmla="*/ 1896394 h 2323145"/>
              <a:gd name="connsiteX110" fmla="*/ 5964230 w 11269336"/>
              <a:gd name="connsiteY110" fmla="*/ 1910038 h 2323145"/>
              <a:gd name="connsiteX111" fmla="*/ 5865399 w 11269336"/>
              <a:gd name="connsiteY111" fmla="*/ 1926966 h 2323145"/>
              <a:gd name="connsiteX112" fmla="*/ 5829951 w 11269336"/>
              <a:gd name="connsiteY112" fmla="*/ 1934755 h 2323145"/>
              <a:gd name="connsiteX113" fmla="*/ 5765285 w 11269336"/>
              <a:gd name="connsiteY113" fmla="*/ 1941322 h 2323145"/>
              <a:gd name="connsiteX114" fmla="*/ 5734750 w 11269336"/>
              <a:gd name="connsiteY114" fmla="*/ 1939793 h 2323145"/>
              <a:gd name="connsiteX115" fmla="*/ 5733569 w 11269336"/>
              <a:gd name="connsiteY115" fmla="*/ 1940505 h 2323145"/>
              <a:gd name="connsiteX116" fmla="*/ 5730329 w 11269336"/>
              <a:gd name="connsiteY116" fmla="*/ 1937845 h 2323145"/>
              <a:gd name="connsiteX117" fmla="*/ 5724661 w 11269336"/>
              <a:gd name="connsiteY117" fmla="*/ 1937455 h 2323145"/>
              <a:gd name="connsiteX118" fmla="*/ 5710186 w 11269336"/>
              <a:gd name="connsiteY118" fmla="*/ 1941370 h 2323145"/>
              <a:gd name="connsiteX119" fmla="*/ 5704910 w 11269336"/>
              <a:gd name="connsiteY119" fmla="*/ 1943663 h 2323145"/>
              <a:gd name="connsiteX120" fmla="*/ 5696836 w 11269336"/>
              <a:gd name="connsiteY120" fmla="*/ 1945271 h 2323145"/>
              <a:gd name="connsiteX121" fmla="*/ 5696583 w 11269336"/>
              <a:gd name="connsiteY121" fmla="*/ 1945050 h 2323145"/>
              <a:gd name="connsiteX122" fmla="*/ 5689123 w 11269336"/>
              <a:gd name="connsiteY122" fmla="*/ 1947067 h 2323145"/>
              <a:gd name="connsiteX123" fmla="*/ 5653291 w 11269336"/>
              <a:gd name="connsiteY123" fmla="*/ 1960245 h 2323145"/>
              <a:gd name="connsiteX124" fmla="*/ 5599385 w 11269336"/>
              <a:gd name="connsiteY124" fmla="*/ 1945198 h 2323145"/>
              <a:gd name="connsiteX125" fmla="*/ 5578300 w 11269336"/>
              <a:gd name="connsiteY125" fmla="*/ 1944963 h 2323145"/>
              <a:gd name="connsiteX126" fmla="*/ 5566758 w 11269336"/>
              <a:gd name="connsiteY126" fmla="*/ 1943441 h 2323145"/>
              <a:gd name="connsiteX127" fmla="*/ 5565857 w 11269336"/>
              <a:gd name="connsiteY127" fmla="*/ 1942445 h 2323145"/>
              <a:gd name="connsiteX128" fmla="*/ 5531534 w 11269336"/>
              <a:gd name="connsiteY128" fmla="*/ 1955208 h 2323145"/>
              <a:gd name="connsiteX129" fmla="*/ 5526552 w 11269336"/>
              <a:gd name="connsiteY129" fmla="*/ 1954799 h 2323145"/>
              <a:gd name="connsiteX130" fmla="*/ 5504723 w 11269336"/>
              <a:gd name="connsiteY130" fmla="*/ 1965811 h 2323145"/>
              <a:gd name="connsiteX131" fmla="*/ 5493156 w 11269336"/>
              <a:gd name="connsiteY131" fmla="*/ 1970063 h 2323145"/>
              <a:gd name="connsiteX132" fmla="*/ 5490486 w 11269336"/>
              <a:gd name="connsiteY132" fmla="*/ 1974227 h 2323145"/>
              <a:gd name="connsiteX133" fmla="*/ 5473107 w 11269336"/>
              <a:gd name="connsiteY133" fmla="*/ 1979001 h 2323145"/>
              <a:gd name="connsiteX134" fmla="*/ 5470885 w 11269336"/>
              <a:gd name="connsiteY134" fmla="*/ 1978432 h 2323145"/>
              <a:gd name="connsiteX135" fmla="*/ 5457393 w 11269336"/>
              <a:gd name="connsiteY135" fmla="*/ 1986525 h 2323145"/>
              <a:gd name="connsiteX136" fmla="*/ 5447102 w 11269336"/>
              <a:gd name="connsiteY136" fmla="*/ 1998329 h 2323145"/>
              <a:gd name="connsiteX137" fmla="*/ 5159151 w 11269336"/>
              <a:gd name="connsiteY137" fmla="*/ 2029640 h 2323145"/>
              <a:gd name="connsiteX138" fmla="*/ 5041688 w 11269336"/>
              <a:gd name="connsiteY138" fmla="*/ 2022334 h 2323145"/>
              <a:gd name="connsiteX139" fmla="*/ 4860988 w 11269336"/>
              <a:gd name="connsiteY139" fmla="*/ 2135698 h 2323145"/>
              <a:gd name="connsiteX140" fmla="*/ 4807902 w 11269336"/>
              <a:gd name="connsiteY140" fmla="*/ 2138894 h 2323145"/>
              <a:gd name="connsiteX141" fmla="*/ 4765388 w 11269336"/>
              <a:gd name="connsiteY141" fmla="*/ 2162525 h 2323145"/>
              <a:gd name="connsiteX142" fmla="*/ 4745033 w 11269336"/>
              <a:gd name="connsiteY142" fmla="*/ 2158859 h 2323145"/>
              <a:gd name="connsiteX143" fmla="*/ 4741475 w 11269336"/>
              <a:gd name="connsiteY143" fmla="*/ 2157998 h 2323145"/>
              <a:gd name="connsiteX144" fmla="*/ 4728247 w 11269336"/>
              <a:gd name="connsiteY144" fmla="*/ 2159526 h 2323145"/>
              <a:gd name="connsiteX145" fmla="*/ 4723263 w 11269336"/>
              <a:gd name="connsiteY145" fmla="*/ 2153742 h 2323145"/>
              <a:gd name="connsiteX146" fmla="*/ 4702453 w 11269336"/>
              <a:gd name="connsiteY146" fmla="*/ 2151586 h 2323145"/>
              <a:gd name="connsiteX147" fmla="*/ 4678455 w 11269336"/>
              <a:gd name="connsiteY147" fmla="*/ 2156131 h 2323145"/>
              <a:gd name="connsiteX148" fmla="*/ 4593061 w 11269336"/>
              <a:gd name="connsiteY148" fmla="*/ 2171597 h 2323145"/>
              <a:gd name="connsiteX149" fmla="*/ 4579902 w 11269336"/>
              <a:gd name="connsiteY149" fmla="*/ 2177927 h 2323145"/>
              <a:gd name="connsiteX150" fmla="*/ 4533444 w 11269336"/>
              <a:gd name="connsiteY150" fmla="*/ 2181200 h 2323145"/>
              <a:gd name="connsiteX151" fmla="*/ 4492832 w 11269336"/>
              <a:gd name="connsiteY151" fmla="*/ 2188033 h 2323145"/>
              <a:gd name="connsiteX152" fmla="*/ 4467257 w 11269336"/>
              <a:gd name="connsiteY152" fmla="*/ 2196121 h 2323145"/>
              <a:gd name="connsiteX153" fmla="*/ 4459937 w 11269336"/>
              <a:gd name="connsiteY153" fmla="*/ 2195182 h 2323145"/>
              <a:gd name="connsiteX154" fmla="*/ 4433312 w 11269336"/>
              <a:gd name="connsiteY154" fmla="*/ 2199004 h 2323145"/>
              <a:gd name="connsiteX155" fmla="*/ 4420601 w 11269336"/>
              <a:gd name="connsiteY155" fmla="*/ 2205158 h 2323145"/>
              <a:gd name="connsiteX156" fmla="*/ 4405765 w 11269336"/>
              <a:gd name="connsiteY156" fmla="*/ 2199902 h 2323145"/>
              <a:gd name="connsiteX157" fmla="*/ 4401354 w 11269336"/>
              <a:gd name="connsiteY157" fmla="*/ 2194745 h 2323145"/>
              <a:gd name="connsiteX158" fmla="*/ 4383151 w 11269336"/>
              <a:gd name="connsiteY158" fmla="*/ 2201140 h 2323145"/>
              <a:gd name="connsiteX159" fmla="*/ 4366646 w 11269336"/>
              <a:gd name="connsiteY159" fmla="*/ 2198564 h 2323145"/>
              <a:gd name="connsiteX160" fmla="*/ 4354009 w 11269336"/>
              <a:gd name="connsiteY160" fmla="*/ 2204984 h 2323145"/>
              <a:gd name="connsiteX161" fmla="*/ 4348284 w 11269336"/>
              <a:gd name="connsiteY161" fmla="*/ 2205270 h 2323145"/>
              <a:gd name="connsiteX162" fmla="*/ 4333906 w 11269336"/>
              <a:gd name="connsiteY162" fmla="*/ 2205251 h 2323145"/>
              <a:gd name="connsiteX163" fmla="*/ 4308819 w 11269336"/>
              <a:gd name="connsiteY163" fmla="*/ 2203822 h 2323145"/>
              <a:gd name="connsiteX164" fmla="*/ 4301210 w 11269336"/>
              <a:gd name="connsiteY164" fmla="*/ 2204456 h 2323145"/>
              <a:gd name="connsiteX165" fmla="*/ 4283095 w 11269336"/>
              <a:gd name="connsiteY165" fmla="*/ 2198177 h 2323145"/>
              <a:gd name="connsiteX166" fmla="*/ 4250119 w 11269336"/>
              <a:gd name="connsiteY166" fmla="*/ 2196342 h 2323145"/>
              <a:gd name="connsiteX167" fmla="*/ 4189203 w 11269336"/>
              <a:gd name="connsiteY167" fmla="*/ 2178994 h 2323145"/>
              <a:gd name="connsiteX168" fmla="*/ 4154035 w 11269336"/>
              <a:gd name="connsiteY168" fmla="*/ 2171950 h 2323145"/>
              <a:gd name="connsiteX169" fmla="*/ 4129569 w 11269336"/>
              <a:gd name="connsiteY169" fmla="*/ 2163850 h 2323145"/>
              <a:gd name="connsiteX170" fmla="*/ 4061250 w 11269336"/>
              <a:gd name="connsiteY170" fmla="*/ 2159236 h 2323145"/>
              <a:gd name="connsiteX171" fmla="*/ 3945480 w 11269336"/>
              <a:gd name="connsiteY171" fmla="*/ 2158279 h 2323145"/>
              <a:gd name="connsiteX172" fmla="*/ 3921468 w 11269336"/>
              <a:gd name="connsiteY172" fmla="*/ 2156588 h 2323145"/>
              <a:gd name="connsiteX173" fmla="*/ 3903348 w 11269336"/>
              <a:gd name="connsiteY173" fmla="*/ 2149220 h 2323145"/>
              <a:gd name="connsiteX174" fmla="*/ 3901342 w 11269336"/>
              <a:gd name="connsiteY174" fmla="*/ 2142355 h 2323145"/>
              <a:gd name="connsiteX175" fmla="*/ 3888539 w 11269336"/>
              <a:gd name="connsiteY175" fmla="*/ 2140476 h 2323145"/>
              <a:gd name="connsiteX176" fmla="*/ 3885662 w 11269336"/>
              <a:gd name="connsiteY176" fmla="*/ 2138740 h 2323145"/>
              <a:gd name="connsiteX177" fmla="*/ 3868627 w 11269336"/>
              <a:gd name="connsiteY177" fmla="*/ 2130023 h 2323145"/>
              <a:gd name="connsiteX178" fmla="*/ 3819177 w 11269336"/>
              <a:gd name="connsiteY178" fmla="*/ 2142111 h 2323145"/>
              <a:gd name="connsiteX179" fmla="*/ 3769100 w 11269336"/>
              <a:gd name="connsiteY179" fmla="*/ 2131731 h 2323145"/>
              <a:gd name="connsiteX180" fmla="*/ 3562752 w 11269336"/>
              <a:gd name="connsiteY180" fmla="*/ 2131785 h 2323145"/>
              <a:gd name="connsiteX181" fmla="*/ 3541402 w 11269336"/>
              <a:gd name="connsiteY181" fmla="*/ 2106821 h 2323145"/>
              <a:gd name="connsiteX182" fmla="*/ 3365341 w 11269336"/>
              <a:gd name="connsiteY182" fmla="*/ 2077638 h 2323145"/>
              <a:gd name="connsiteX183" fmla="*/ 3170922 w 11269336"/>
              <a:gd name="connsiteY183" fmla="*/ 2115957 h 2323145"/>
              <a:gd name="connsiteX184" fmla="*/ 3156256 w 11269336"/>
              <a:gd name="connsiteY184" fmla="*/ 2124773 h 2323145"/>
              <a:gd name="connsiteX185" fmla="*/ 3140298 w 11269336"/>
              <a:gd name="connsiteY185" fmla="*/ 2129182 h 2323145"/>
              <a:gd name="connsiteX186" fmla="*/ 3138514 w 11269336"/>
              <a:gd name="connsiteY186" fmla="*/ 2128069 h 2323145"/>
              <a:gd name="connsiteX187" fmla="*/ 3120467 w 11269336"/>
              <a:gd name="connsiteY187" fmla="*/ 2128281 h 2323145"/>
              <a:gd name="connsiteX188" fmla="*/ 3116175 w 11269336"/>
              <a:gd name="connsiteY188" fmla="*/ 2131633 h 2323145"/>
              <a:gd name="connsiteX189" fmla="*/ 3103685 w 11269336"/>
              <a:gd name="connsiteY189" fmla="*/ 2132814 h 2323145"/>
              <a:gd name="connsiteX190" fmla="*/ 3078794 w 11269336"/>
              <a:gd name="connsiteY190" fmla="*/ 2137935 h 2323145"/>
              <a:gd name="connsiteX191" fmla="*/ 3074407 w 11269336"/>
              <a:gd name="connsiteY191" fmla="*/ 2136274 h 2323145"/>
              <a:gd name="connsiteX192" fmla="*/ 3037285 w 11269336"/>
              <a:gd name="connsiteY192" fmla="*/ 2139919 h 2323145"/>
              <a:gd name="connsiteX193" fmla="*/ 3036901 w 11269336"/>
              <a:gd name="connsiteY193" fmla="*/ 2138726 h 2323145"/>
              <a:gd name="connsiteX194" fmla="*/ 3026996 w 11269336"/>
              <a:gd name="connsiteY194" fmla="*/ 2134322 h 2323145"/>
              <a:gd name="connsiteX195" fmla="*/ 3007772 w 11269336"/>
              <a:gd name="connsiteY195" fmla="*/ 2128742 h 2323145"/>
              <a:gd name="connsiteX196" fmla="*/ 2965030 w 11269336"/>
              <a:gd name="connsiteY196" fmla="*/ 2100494 h 2323145"/>
              <a:gd name="connsiteX197" fmla="*/ 2926342 w 11269336"/>
              <a:gd name="connsiteY197" fmla="*/ 2104155 h 2323145"/>
              <a:gd name="connsiteX198" fmla="*/ 2918608 w 11269336"/>
              <a:gd name="connsiteY198" fmla="*/ 2104215 h 2323145"/>
              <a:gd name="connsiteX199" fmla="*/ 2918475 w 11269336"/>
              <a:gd name="connsiteY199" fmla="*/ 2103937 h 2323145"/>
              <a:gd name="connsiteX200" fmla="*/ 2910360 w 11269336"/>
              <a:gd name="connsiteY200" fmla="*/ 2103444 h 2323145"/>
              <a:gd name="connsiteX201" fmla="*/ 2904507 w 11269336"/>
              <a:gd name="connsiteY201" fmla="*/ 2104326 h 2323145"/>
              <a:gd name="connsiteX202" fmla="*/ 2889503 w 11269336"/>
              <a:gd name="connsiteY202" fmla="*/ 2104443 h 2323145"/>
              <a:gd name="connsiteX203" fmla="*/ 2884480 w 11269336"/>
              <a:gd name="connsiteY203" fmla="*/ 2102626 h 2323145"/>
              <a:gd name="connsiteX204" fmla="*/ 2882689 w 11269336"/>
              <a:gd name="connsiteY204" fmla="*/ 2099228 h 2323145"/>
              <a:gd name="connsiteX205" fmla="*/ 2881291 w 11269336"/>
              <a:gd name="connsiteY205" fmla="*/ 2099618 h 2323145"/>
              <a:gd name="connsiteX206" fmla="*/ 2853979 w 11269336"/>
              <a:gd name="connsiteY206" fmla="*/ 2090388 h 2323145"/>
              <a:gd name="connsiteX207" fmla="*/ 2791790 w 11269336"/>
              <a:gd name="connsiteY207" fmla="*/ 2080332 h 2323145"/>
              <a:gd name="connsiteX208" fmla="*/ 2755844 w 11269336"/>
              <a:gd name="connsiteY208" fmla="*/ 2078874 h 2323145"/>
              <a:gd name="connsiteX209" fmla="*/ 2657742 w 11269336"/>
              <a:gd name="connsiteY209" fmla="*/ 2070179 h 2323145"/>
              <a:gd name="connsiteX210" fmla="*/ 2559549 w 11269336"/>
              <a:gd name="connsiteY210" fmla="*/ 2057873 h 2323145"/>
              <a:gd name="connsiteX211" fmla="*/ 2512054 w 11269336"/>
              <a:gd name="connsiteY211" fmla="*/ 2031671 h 2323145"/>
              <a:gd name="connsiteX212" fmla="*/ 2506437 w 11269336"/>
              <a:gd name="connsiteY212" fmla="*/ 2030918 h 2323145"/>
              <a:gd name="connsiteX213" fmla="*/ 2491752 w 11269336"/>
              <a:gd name="connsiteY213" fmla="*/ 2033906 h 2323145"/>
              <a:gd name="connsiteX214" fmla="*/ 2486338 w 11269336"/>
              <a:gd name="connsiteY214" fmla="*/ 2035862 h 2323145"/>
              <a:gd name="connsiteX215" fmla="*/ 2478186 w 11269336"/>
              <a:gd name="connsiteY215" fmla="*/ 2036953 h 2323145"/>
              <a:gd name="connsiteX216" fmla="*/ 2477950 w 11269336"/>
              <a:gd name="connsiteY216" fmla="*/ 2036715 h 2323145"/>
              <a:gd name="connsiteX217" fmla="*/ 2470381 w 11269336"/>
              <a:gd name="connsiteY217" fmla="*/ 2038256 h 2323145"/>
              <a:gd name="connsiteX218" fmla="*/ 2433781 w 11269336"/>
              <a:gd name="connsiteY218" fmla="*/ 2049140 h 2323145"/>
              <a:gd name="connsiteX219" fmla="*/ 2381172 w 11269336"/>
              <a:gd name="connsiteY219" fmla="*/ 2030645 h 2323145"/>
              <a:gd name="connsiteX220" fmla="*/ 2360198 w 11269336"/>
              <a:gd name="connsiteY220" fmla="*/ 2029059 h 2323145"/>
              <a:gd name="connsiteX221" fmla="*/ 2348815 w 11269336"/>
              <a:gd name="connsiteY221" fmla="*/ 2026798 h 2323145"/>
              <a:gd name="connsiteX222" fmla="*/ 2347988 w 11269336"/>
              <a:gd name="connsiteY222" fmla="*/ 2025745 h 2323145"/>
              <a:gd name="connsiteX223" fmla="*/ 2312920 w 11269336"/>
              <a:gd name="connsiteY223" fmla="*/ 2036311 h 2323145"/>
              <a:gd name="connsiteX224" fmla="*/ 2307986 w 11269336"/>
              <a:gd name="connsiteY224" fmla="*/ 2035583 h 2323145"/>
              <a:gd name="connsiteX225" fmla="*/ 2285481 w 11269336"/>
              <a:gd name="connsiteY225" fmla="*/ 2045197 h 2323145"/>
              <a:gd name="connsiteX226" fmla="*/ 2273666 w 11269336"/>
              <a:gd name="connsiteY226" fmla="*/ 2048710 h 2323145"/>
              <a:gd name="connsiteX227" fmla="*/ 2270719 w 11269336"/>
              <a:gd name="connsiteY227" fmla="*/ 2052702 h 2323145"/>
              <a:gd name="connsiteX228" fmla="*/ 2253080 w 11269336"/>
              <a:gd name="connsiteY228" fmla="*/ 2056363 h 2323145"/>
              <a:gd name="connsiteX229" fmla="*/ 2250906 w 11269336"/>
              <a:gd name="connsiteY229" fmla="*/ 2055654 h 2323145"/>
              <a:gd name="connsiteX230" fmla="*/ 2236905 w 11269336"/>
              <a:gd name="connsiteY230" fmla="*/ 2062882 h 2323145"/>
              <a:gd name="connsiteX231" fmla="*/ 2225830 w 11269336"/>
              <a:gd name="connsiteY231" fmla="*/ 2074027 h 2323145"/>
              <a:gd name="connsiteX232" fmla="*/ 2073776 w 11269336"/>
              <a:gd name="connsiteY232" fmla="*/ 2089244 h 2323145"/>
              <a:gd name="connsiteX233" fmla="*/ 1948256 w 11269336"/>
              <a:gd name="connsiteY233" fmla="*/ 2146616 h 2323145"/>
              <a:gd name="connsiteX234" fmla="*/ 1865582 w 11269336"/>
              <a:gd name="connsiteY234" fmla="*/ 2153738 h 2323145"/>
              <a:gd name="connsiteX235" fmla="*/ 1835210 w 11269336"/>
              <a:gd name="connsiteY235" fmla="*/ 2134244 h 2323145"/>
              <a:gd name="connsiteX236" fmla="*/ 1632661 w 11269336"/>
              <a:gd name="connsiteY236" fmla="*/ 2173882 h 2323145"/>
              <a:gd name="connsiteX237" fmla="*/ 1579590 w 11269336"/>
              <a:gd name="connsiteY237" fmla="*/ 2173680 h 2323145"/>
              <a:gd name="connsiteX238" fmla="*/ 1535601 w 11269336"/>
              <a:gd name="connsiteY238" fmla="*/ 2194590 h 2323145"/>
              <a:gd name="connsiteX239" fmla="*/ 1515594 w 11269336"/>
              <a:gd name="connsiteY239" fmla="*/ 2189622 h 2323145"/>
              <a:gd name="connsiteX240" fmla="*/ 1512113 w 11269336"/>
              <a:gd name="connsiteY240" fmla="*/ 2188534 h 2323145"/>
              <a:gd name="connsiteX241" fmla="*/ 1498838 w 11269336"/>
              <a:gd name="connsiteY241" fmla="*/ 2189213 h 2323145"/>
              <a:gd name="connsiteX242" fmla="*/ 1494279 w 11269336"/>
              <a:gd name="connsiteY242" fmla="*/ 2183112 h 2323145"/>
              <a:gd name="connsiteX243" fmla="*/ 1473714 w 11269336"/>
              <a:gd name="connsiteY243" fmla="*/ 2179625 h 2323145"/>
              <a:gd name="connsiteX244" fmla="*/ 1449503 w 11269336"/>
              <a:gd name="connsiteY244" fmla="*/ 2182633 h 2323145"/>
              <a:gd name="connsiteX245" fmla="*/ 1266687 w 11269336"/>
              <a:gd name="connsiteY245" fmla="*/ 2212688 h 2323145"/>
              <a:gd name="connsiteX246" fmla="*/ 1239614 w 11269336"/>
              <a:gd name="connsiteY246" fmla="*/ 2209727 h 2323145"/>
              <a:gd name="connsiteX247" fmla="*/ 1202436 w 11269336"/>
              <a:gd name="connsiteY247" fmla="*/ 2209817 h 2323145"/>
              <a:gd name="connsiteX248" fmla="*/ 1136097 w 11269336"/>
              <a:gd name="connsiteY248" fmla="*/ 2205112 h 2323145"/>
              <a:gd name="connsiteX249" fmla="*/ 988232 w 11269336"/>
              <a:gd name="connsiteY249" fmla="*/ 2235635 h 2323145"/>
              <a:gd name="connsiteX250" fmla="*/ 981959 w 11269336"/>
              <a:gd name="connsiteY250" fmla="*/ 2231607 h 2323145"/>
              <a:gd name="connsiteX251" fmla="*/ 938600 w 11269336"/>
              <a:gd name="connsiteY251" fmla="*/ 2238113 h 2323145"/>
              <a:gd name="connsiteX252" fmla="*/ 791788 w 11269336"/>
              <a:gd name="connsiteY252" fmla="*/ 2293224 h 2323145"/>
              <a:gd name="connsiteX253" fmla="*/ 706914 w 11269336"/>
              <a:gd name="connsiteY253" fmla="*/ 2305046 h 2323145"/>
              <a:gd name="connsiteX254" fmla="*/ 675971 w 11269336"/>
              <a:gd name="connsiteY254" fmla="*/ 2304030 h 2323145"/>
              <a:gd name="connsiteX255" fmla="*/ 624180 w 11269336"/>
              <a:gd name="connsiteY255" fmla="*/ 2302650 h 2323145"/>
              <a:gd name="connsiteX256" fmla="*/ 583453 w 11269336"/>
              <a:gd name="connsiteY256" fmla="*/ 2288788 h 2323145"/>
              <a:gd name="connsiteX257" fmla="*/ 540946 w 11269336"/>
              <a:gd name="connsiteY257" fmla="*/ 2292721 h 2323145"/>
              <a:gd name="connsiteX258" fmla="*/ 533680 w 11269336"/>
              <a:gd name="connsiteY258" fmla="*/ 2310233 h 2323145"/>
              <a:gd name="connsiteX259" fmla="*/ 487366 w 11269336"/>
              <a:gd name="connsiteY259" fmla="*/ 2309053 h 2323145"/>
              <a:gd name="connsiteX260" fmla="*/ 416820 w 11269336"/>
              <a:gd name="connsiteY260" fmla="*/ 2305443 h 2323145"/>
              <a:gd name="connsiteX261" fmla="*/ 376805 w 11269336"/>
              <a:gd name="connsiteY261" fmla="*/ 2307647 h 2323145"/>
              <a:gd name="connsiteX262" fmla="*/ 266777 w 11269336"/>
              <a:gd name="connsiteY262" fmla="*/ 2309012 h 2323145"/>
              <a:gd name="connsiteX263" fmla="*/ 156013 w 11269336"/>
              <a:gd name="connsiteY263" fmla="*/ 2306832 h 2323145"/>
              <a:gd name="connsiteX264" fmla="*/ 87258 w 11269336"/>
              <a:gd name="connsiteY264" fmla="*/ 2285511 h 2323145"/>
              <a:gd name="connsiteX265" fmla="*/ 23798 w 11269336"/>
              <a:gd name="connsiteY265" fmla="*/ 2281822 h 2323145"/>
              <a:gd name="connsiteX266" fmla="*/ 0 w 11269336"/>
              <a:gd name="connsiteY266" fmla="*/ 2285369 h 2323145"/>
              <a:gd name="connsiteX267" fmla="*/ 0 w 11269336"/>
              <a:gd name="connsiteY267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114263 w 11269336"/>
              <a:gd name="connsiteY21" fmla="*/ 709213 h 2323145"/>
              <a:gd name="connsiteX22" fmla="*/ 9028928 w 11269336"/>
              <a:gd name="connsiteY22" fmla="*/ 745350 h 2323145"/>
              <a:gd name="connsiteX23" fmla="*/ 8977138 w 11269336"/>
              <a:gd name="connsiteY23" fmla="*/ 774970 h 2323145"/>
              <a:gd name="connsiteX24" fmla="*/ 8947030 w 11269336"/>
              <a:gd name="connsiteY24" fmla="*/ 814934 h 2323145"/>
              <a:gd name="connsiteX25" fmla="*/ 8914746 w 11269336"/>
              <a:gd name="connsiteY25" fmla="*/ 826428 h 2323145"/>
              <a:gd name="connsiteX26" fmla="*/ 8917778 w 11269336"/>
              <a:gd name="connsiteY26" fmla="*/ 835198 h 2323145"/>
              <a:gd name="connsiteX27" fmla="*/ 8905560 w 11269336"/>
              <a:gd name="connsiteY27" fmla="*/ 838358 h 2323145"/>
              <a:gd name="connsiteX28" fmla="*/ 8897564 w 11269336"/>
              <a:gd name="connsiteY28" fmla="*/ 834287 h 2323145"/>
              <a:gd name="connsiteX29" fmla="*/ 8878040 w 11269336"/>
              <a:gd name="connsiteY29" fmla="*/ 844150 h 2323145"/>
              <a:gd name="connsiteX30" fmla="*/ 8882654 w 11269336"/>
              <a:gd name="connsiteY30" fmla="*/ 892768 h 2323145"/>
              <a:gd name="connsiteX31" fmla="*/ 8795998 w 11269336"/>
              <a:gd name="connsiteY31" fmla="*/ 863337 h 2323145"/>
              <a:gd name="connsiteX32" fmla="*/ 8776970 w 11269336"/>
              <a:gd name="connsiteY32" fmla="*/ 885177 h 2323145"/>
              <a:gd name="connsiteX33" fmla="*/ 8755719 w 11269336"/>
              <a:gd name="connsiteY33" fmla="*/ 889754 h 2323145"/>
              <a:gd name="connsiteX34" fmla="*/ 8743257 w 11269336"/>
              <a:gd name="connsiteY34" fmla="*/ 904723 h 2323145"/>
              <a:gd name="connsiteX35" fmla="*/ 8721366 w 11269336"/>
              <a:gd name="connsiteY35" fmla="*/ 904711 h 2323145"/>
              <a:gd name="connsiteX36" fmla="*/ 8678353 w 11269336"/>
              <a:gd name="connsiteY36" fmla="*/ 926318 h 2323145"/>
              <a:gd name="connsiteX37" fmla="*/ 8636849 w 11269336"/>
              <a:gd name="connsiteY37" fmla="*/ 937900 h 2323145"/>
              <a:gd name="connsiteX38" fmla="*/ 8620213 w 11269336"/>
              <a:gd name="connsiteY38" fmla="*/ 943068 h 2323145"/>
              <a:gd name="connsiteX39" fmla="*/ 8612581 w 11269336"/>
              <a:gd name="connsiteY39" fmla="*/ 952695 h 2323145"/>
              <a:gd name="connsiteX40" fmla="*/ 8589038 w 11269336"/>
              <a:gd name="connsiteY40" fmla="*/ 963892 h 2323145"/>
              <a:gd name="connsiteX41" fmla="*/ 8579950 w 11269336"/>
              <a:gd name="connsiteY41" fmla="*/ 960899 h 2323145"/>
              <a:gd name="connsiteX42" fmla="*/ 8579319 w 11269336"/>
              <a:gd name="connsiteY42" fmla="*/ 965630 h 2323145"/>
              <a:gd name="connsiteX43" fmla="*/ 8547429 w 11269336"/>
              <a:gd name="connsiteY43" fmla="*/ 984506 h 2323145"/>
              <a:gd name="connsiteX44" fmla="*/ 8478704 w 11269336"/>
              <a:gd name="connsiteY44" fmla="*/ 1025490 h 2323145"/>
              <a:gd name="connsiteX45" fmla="*/ 8461421 w 11269336"/>
              <a:gd name="connsiteY45" fmla="*/ 1035512 h 2323145"/>
              <a:gd name="connsiteX46" fmla="*/ 8445003 w 11269336"/>
              <a:gd name="connsiteY46" fmla="*/ 1036851 h 2323145"/>
              <a:gd name="connsiteX47" fmla="*/ 8357350 w 11269336"/>
              <a:gd name="connsiteY47" fmla="*/ 1060213 h 2323145"/>
              <a:gd name="connsiteX48" fmla="*/ 8335565 w 11269336"/>
              <a:gd name="connsiteY48" fmla="*/ 1061151 h 2323145"/>
              <a:gd name="connsiteX49" fmla="*/ 8325267 w 11269336"/>
              <a:gd name="connsiteY49" fmla="*/ 1055919 h 2323145"/>
              <a:gd name="connsiteX50" fmla="*/ 8293586 w 11269336"/>
              <a:gd name="connsiteY50" fmla="*/ 1076144 h 2323145"/>
              <a:gd name="connsiteX51" fmla="*/ 8242405 w 11269336"/>
              <a:gd name="connsiteY51" fmla="*/ 1095960 h 2323145"/>
              <a:gd name="connsiteX52" fmla="*/ 8197391 w 11269336"/>
              <a:gd name="connsiteY52" fmla="*/ 1107746 h 2323145"/>
              <a:gd name="connsiteX53" fmla="*/ 8081474 w 11269336"/>
              <a:gd name="connsiteY53" fmla="*/ 1130125 h 2323145"/>
              <a:gd name="connsiteX54" fmla="*/ 8053585 w 11269336"/>
              <a:gd name="connsiteY54" fmla="*/ 1129169 h 2323145"/>
              <a:gd name="connsiteX55" fmla="*/ 8038422 w 11269336"/>
              <a:gd name="connsiteY55" fmla="*/ 1119092 h 2323145"/>
              <a:gd name="connsiteX56" fmla="*/ 8029450 w 11269336"/>
              <a:gd name="connsiteY56" fmla="*/ 1125592 h 2323145"/>
              <a:gd name="connsiteX57" fmla="*/ 7959552 w 11269336"/>
              <a:gd name="connsiteY57" fmla="*/ 1140188 h 2323145"/>
              <a:gd name="connsiteX58" fmla="*/ 7914188 w 11269336"/>
              <a:gd name="connsiteY58" fmla="*/ 1150862 h 2323145"/>
              <a:gd name="connsiteX59" fmla="*/ 7914918 w 11269336"/>
              <a:gd name="connsiteY59" fmla="*/ 1168758 h 2323145"/>
              <a:gd name="connsiteX60" fmla="*/ 7875510 w 11269336"/>
              <a:gd name="connsiteY60" fmla="*/ 1183153 h 2323145"/>
              <a:gd name="connsiteX61" fmla="*/ 7829932 w 11269336"/>
              <a:gd name="connsiteY61" fmla="*/ 1180782 h 2323145"/>
              <a:gd name="connsiteX62" fmla="*/ 7779182 w 11269336"/>
              <a:gd name="connsiteY62" fmla="*/ 1192665 h 2323145"/>
              <a:gd name="connsiteX63" fmla="*/ 7748774 w 11269336"/>
              <a:gd name="connsiteY63" fmla="*/ 1199586 h 2323145"/>
              <a:gd name="connsiteX64" fmla="*/ 7671846 w 11269336"/>
              <a:gd name="connsiteY64" fmla="*/ 1231966 h 2323145"/>
              <a:gd name="connsiteX65" fmla="*/ 7554146 w 11269336"/>
              <a:gd name="connsiteY65" fmla="*/ 1319748 h 2323145"/>
              <a:gd name="connsiteX66" fmla="*/ 7515052 w 11269336"/>
              <a:gd name="connsiteY66" fmla="*/ 1336718 h 2323145"/>
              <a:gd name="connsiteX67" fmla="*/ 7507193 w 11269336"/>
              <a:gd name="connsiteY67" fmla="*/ 1334617 h 2323145"/>
              <a:gd name="connsiteX68" fmla="*/ 7461694 w 11269336"/>
              <a:gd name="connsiteY68" fmla="*/ 1375866 h 2323145"/>
              <a:gd name="connsiteX69" fmla="*/ 7377571 w 11269336"/>
              <a:gd name="connsiteY69" fmla="*/ 1400128 h 2323145"/>
              <a:gd name="connsiteX70" fmla="*/ 7311261 w 11269336"/>
              <a:gd name="connsiteY70" fmla="*/ 1412652 h 2323145"/>
              <a:gd name="connsiteX71" fmla="*/ 7275307 w 11269336"/>
              <a:gd name="connsiteY71" fmla="*/ 1422171 h 2323145"/>
              <a:gd name="connsiteX72" fmla="*/ 7247783 w 11269336"/>
              <a:gd name="connsiteY72" fmla="*/ 1426330 h 2323145"/>
              <a:gd name="connsiteX73" fmla="*/ 7185047 w 11269336"/>
              <a:gd name="connsiteY73" fmla="*/ 1451812 h 2323145"/>
              <a:gd name="connsiteX74" fmla="*/ 7084117 w 11269336"/>
              <a:gd name="connsiteY74" fmla="*/ 1500281 h 2323145"/>
              <a:gd name="connsiteX75" fmla="*/ 7062011 w 11269336"/>
              <a:gd name="connsiteY75" fmla="*/ 1509183 h 2323145"/>
              <a:gd name="connsiteX76" fmla="*/ 7040555 w 11269336"/>
              <a:gd name="connsiteY76" fmla="*/ 1511207 h 2323145"/>
              <a:gd name="connsiteX77" fmla="*/ 7033438 w 11269336"/>
              <a:gd name="connsiteY77" fmla="*/ 1506772 h 2323145"/>
              <a:gd name="connsiteX78" fmla="*/ 7020886 w 11269336"/>
              <a:gd name="connsiteY78" fmla="*/ 1510764 h 2323145"/>
              <a:gd name="connsiteX79" fmla="*/ 7017033 w 11269336"/>
              <a:gd name="connsiteY79" fmla="*/ 1510650 h 2323145"/>
              <a:gd name="connsiteX80" fmla="*/ 6995460 w 11269336"/>
              <a:gd name="connsiteY80" fmla="*/ 1511173 h 2323145"/>
              <a:gd name="connsiteX81" fmla="*/ 6962144 w 11269336"/>
              <a:gd name="connsiteY81" fmla="*/ 1541508 h 2323145"/>
              <a:gd name="connsiteX82" fmla="*/ 6910674 w 11269336"/>
              <a:gd name="connsiteY82" fmla="*/ 1554793 h 2323145"/>
              <a:gd name="connsiteX83" fmla="*/ 6732152 w 11269336"/>
              <a:gd name="connsiteY83" fmla="*/ 1642538 h 2323145"/>
              <a:gd name="connsiteX84" fmla="*/ 6694106 w 11269336"/>
              <a:gd name="connsiteY84" fmla="*/ 1632377 h 2323145"/>
              <a:gd name="connsiteX85" fmla="*/ 6617223 w 11269336"/>
              <a:gd name="connsiteY85" fmla="*/ 1659889 h 2323145"/>
              <a:gd name="connsiteX86" fmla="*/ 6521138 w 11269336"/>
              <a:gd name="connsiteY86" fmla="*/ 1744340 h 2323145"/>
              <a:gd name="connsiteX87" fmla="*/ 6380677 w 11269336"/>
              <a:gd name="connsiteY87" fmla="*/ 1796883 h 2323145"/>
              <a:gd name="connsiteX88" fmla="*/ 6374897 w 11269336"/>
              <a:gd name="connsiteY88" fmla="*/ 1809910 h 2323145"/>
              <a:gd name="connsiteX89" fmla="*/ 6364545 w 11269336"/>
              <a:gd name="connsiteY89" fmla="*/ 1820090 h 2323145"/>
              <a:gd name="connsiteX90" fmla="*/ 6362126 w 11269336"/>
              <a:gd name="connsiteY90" fmla="*/ 1819991 h 2323145"/>
              <a:gd name="connsiteX91" fmla="*/ 6346673 w 11269336"/>
              <a:gd name="connsiteY91" fmla="*/ 1827824 h 2323145"/>
              <a:gd name="connsiteX92" fmla="*/ 6345588 w 11269336"/>
              <a:gd name="connsiteY92" fmla="*/ 1832232 h 2323145"/>
              <a:gd name="connsiteX93" fmla="*/ 6335708 w 11269336"/>
              <a:gd name="connsiteY93" fmla="*/ 1838451 h 2323145"/>
              <a:gd name="connsiteX94" fmla="*/ 6318182 w 11269336"/>
              <a:gd name="connsiteY94" fmla="*/ 1852975 h 2323145"/>
              <a:gd name="connsiteX95" fmla="*/ 6313084 w 11269336"/>
              <a:gd name="connsiteY95" fmla="*/ 1853561 h 2323145"/>
              <a:gd name="connsiteX96" fmla="*/ 6283816 w 11269336"/>
              <a:gd name="connsiteY96" fmla="*/ 1872148 h 2323145"/>
              <a:gd name="connsiteX97" fmla="*/ 6282550 w 11269336"/>
              <a:gd name="connsiteY97" fmla="*/ 1871392 h 2323145"/>
              <a:gd name="connsiteX98" fmla="*/ 6270527 w 11269336"/>
              <a:gd name="connsiteY98" fmla="*/ 1872208 h 2323145"/>
              <a:gd name="connsiteX99" fmla="*/ 6249518 w 11269336"/>
              <a:gd name="connsiteY99" fmla="*/ 1876079 h 2323145"/>
              <a:gd name="connsiteX100" fmla="*/ 6190386 w 11269336"/>
              <a:gd name="connsiteY100" fmla="*/ 1872478 h 2323145"/>
              <a:gd name="connsiteX101" fmla="*/ 6159777 w 11269336"/>
              <a:gd name="connsiteY101" fmla="*/ 1891745 h 2323145"/>
              <a:gd name="connsiteX102" fmla="*/ 6153131 w 11269336"/>
              <a:gd name="connsiteY102" fmla="*/ 1895079 h 2323145"/>
              <a:gd name="connsiteX103" fmla="*/ 6152798 w 11269336"/>
              <a:gd name="connsiteY103" fmla="*/ 1894920 h 2323145"/>
              <a:gd name="connsiteX104" fmla="*/ 6145388 w 11269336"/>
              <a:gd name="connsiteY104" fmla="*/ 1897990 h 2323145"/>
              <a:gd name="connsiteX105" fmla="*/ 6141014 w 11269336"/>
              <a:gd name="connsiteY105" fmla="*/ 1901155 h 2323145"/>
              <a:gd name="connsiteX106" fmla="*/ 6128122 w 11269336"/>
              <a:gd name="connsiteY106" fmla="*/ 1907623 h 2323145"/>
              <a:gd name="connsiteX107" fmla="*/ 6122351 w 11269336"/>
              <a:gd name="connsiteY107" fmla="*/ 1908359 h 2323145"/>
              <a:gd name="connsiteX108" fmla="*/ 6064750 w 11269336"/>
              <a:gd name="connsiteY108" fmla="*/ 1896394 h 2323145"/>
              <a:gd name="connsiteX109" fmla="*/ 5964230 w 11269336"/>
              <a:gd name="connsiteY109" fmla="*/ 1910038 h 2323145"/>
              <a:gd name="connsiteX110" fmla="*/ 5865399 w 11269336"/>
              <a:gd name="connsiteY110" fmla="*/ 1926966 h 2323145"/>
              <a:gd name="connsiteX111" fmla="*/ 5829951 w 11269336"/>
              <a:gd name="connsiteY111" fmla="*/ 1934755 h 2323145"/>
              <a:gd name="connsiteX112" fmla="*/ 5765285 w 11269336"/>
              <a:gd name="connsiteY112" fmla="*/ 1941322 h 2323145"/>
              <a:gd name="connsiteX113" fmla="*/ 5734750 w 11269336"/>
              <a:gd name="connsiteY113" fmla="*/ 1939793 h 2323145"/>
              <a:gd name="connsiteX114" fmla="*/ 5733569 w 11269336"/>
              <a:gd name="connsiteY114" fmla="*/ 1940505 h 2323145"/>
              <a:gd name="connsiteX115" fmla="*/ 5730329 w 11269336"/>
              <a:gd name="connsiteY115" fmla="*/ 1937845 h 2323145"/>
              <a:gd name="connsiteX116" fmla="*/ 5724661 w 11269336"/>
              <a:gd name="connsiteY116" fmla="*/ 1937455 h 2323145"/>
              <a:gd name="connsiteX117" fmla="*/ 5710186 w 11269336"/>
              <a:gd name="connsiteY117" fmla="*/ 1941370 h 2323145"/>
              <a:gd name="connsiteX118" fmla="*/ 5704910 w 11269336"/>
              <a:gd name="connsiteY118" fmla="*/ 1943663 h 2323145"/>
              <a:gd name="connsiteX119" fmla="*/ 5696836 w 11269336"/>
              <a:gd name="connsiteY119" fmla="*/ 1945271 h 2323145"/>
              <a:gd name="connsiteX120" fmla="*/ 5696583 w 11269336"/>
              <a:gd name="connsiteY120" fmla="*/ 1945050 h 2323145"/>
              <a:gd name="connsiteX121" fmla="*/ 5689123 w 11269336"/>
              <a:gd name="connsiteY121" fmla="*/ 1947067 h 2323145"/>
              <a:gd name="connsiteX122" fmla="*/ 5653291 w 11269336"/>
              <a:gd name="connsiteY122" fmla="*/ 1960245 h 2323145"/>
              <a:gd name="connsiteX123" fmla="*/ 5599385 w 11269336"/>
              <a:gd name="connsiteY123" fmla="*/ 1945198 h 2323145"/>
              <a:gd name="connsiteX124" fmla="*/ 5578300 w 11269336"/>
              <a:gd name="connsiteY124" fmla="*/ 1944963 h 2323145"/>
              <a:gd name="connsiteX125" fmla="*/ 5566758 w 11269336"/>
              <a:gd name="connsiteY125" fmla="*/ 1943441 h 2323145"/>
              <a:gd name="connsiteX126" fmla="*/ 5565857 w 11269336"/>
              <a:gd name="connsiteY126" fmla="*/ 1942445 h 2323145"/>
              <a:gd name="connsiteX127" fmla="*/ 5531534 w 11269336"/>
              <a:gd name="connsiteY127" fmla="*/ 1955208 h 2323145"/>
              <a:gd name="connsiteX128" fmla="*/ 5526552 w 11269336"/>
              <a:gd name="connsiteY128" fmla="*/ 1954799 h 2323145"/>
              <a:gd name="connsiteX129" fmla="*/ 5504723 w 11269336"/>
              <a:gd name="connsiteY129" fmla="*/ 1965811 h 2323145"/>
              <a:gd name="connsiteX130" fmla="*/ 5493156 w 11269336"/>
              <a:gd name="connsiteY130" fmla="*/ 1970063 h 2323145"/>
              <a:gd name="connsiteX131" fmla="*/ 5490486 w 11269336"/>
              <a:gd name="connsiteY131" fmla="*/ 1974227 h 2323145"/>
              <a:gd name="connsiteX132" fmla="*/ 5473107 w 11269336"/>
              <a:gd name="connsiteY132" fmla="*/ 1979001 h 2323145"/>
              <a:gd name="connsiteX133" fmla="*/ 5470885 w 11269336"/>
              <a:gd name="connsiteY133" fmla="*/ 1978432 h 2323145"/>
              <a:gd name="connsiteX134" fmla="*/ 5457393 w 11269336"/>
              <a:gd name="connsiteY134" fmla="*/ 1986525 h 2323145"/>
              <a:gd name="connsiteX135" fmla="*/ 5447102 w 11269336"/>
              <a:gd name="connsiteY135" fmla="*/ 1998329 h 2323145"/>
              <a:gd name="connsiteX136" fmla="*/ 5159151 w 11269336"/>
              <a:gd name="connsiteY136" fmla="*/ 2029640 h 2323145"/>
              <a:gd name="connsiteX137" fmla="*/ 5041688 w 11269336"/>
              <a:gd name="connsiteY137" fmla="*/ 2022334 h 2323145"/>
              <a:gd name="connsiteX138" fmla="*/ 4860988 w 11269336"/>
              <a:gd name="connsiteY138" fmla="*/ 2135698 h 2323145"/>
              <a:gd name="connsiteX139" fmla="*/ 4807902 w 11269336"/>
              <a:gd name="connsiteY139" fmla="*/ 2138894 h 2323145"/>
              <a:gd name="connsiteX140" fmla="*/ 4765388 w 11269336"/>
              <a:gd name="connsiteY140" fmla="*/ 2162525 h 2323145"/>
              <a:gd name="connsiteX141" fmla="*/ 4745033 w 11269336"/>
              <a:gd name="connsiteY141" fmla="*/ 2158859 h 2323145"/>
              <a:gd name="connsiteX142" fmla="*/ 4741475 w 11269336"/>
              <a:gd name="connsiteY142" fmla="*/ 2157998 h 2323145"/>
              <a:gd name="connsiteX143" fmla="*/ 4728247 w 11269336"/>
              <a:gd name="connsiteY143" fmla="*/ 2159526 h 2323145"/>
              <a:gd name="connsiteX144" fmla="*/ 4723263 w 11269336"/>
              <a:gd name="connsiteY144" fmla="*/ 2153742 h 2323145"/>
              <a:gd name="connsiteX145" fmla="*/ 4702453 w 11269336"/>
              <a:gd name="connsiteY145" fmla="*/ 2151586 h 2323145"/>
              <a:gd name="connsiteX146" fmla="*/ 4678455 w 11269336"/>
              <a:gd name="connsiteY146" fmla="*/ 2156131 h 2323145"/>
              <a:gd name="connsiteX147" fmla="*/ 4593061 w 11269336"/>
              <a:gd name="connsiteY147" fmla="*/ 2171597 h 2323145"/>
              <a:gd name="connsiteX148" fmla="*/ 4579902 w 11269336"/>
              <a:gd name="connsiteY148" fmla="*/ 2177927 h 2323145"/>
              <a:gd name="connsiteX149" fmla="*/ 4533444 w 11269336"/>
              <a:gd name="connsiteY149" fmla="*/ 2181200 h 2323145"/>
              <a:gd name="connsiteX150" fmla="*/ 4492832 w 11269336"/>
              <a:gd name="connsiteY150" fmla="*/ 2188033 h 2323145"/>
              <a:gd name="connsiteX151" fmla="*/ 4467257 w 11269336"/>
              <a:gd name="connsiteY151" fmla="*/ 2196121 h 2323145"/>
              <a:gd name="connsiteX152" fmla="*/ 4459937 w 11269336"/>
              <a:gd name="connsiteY152" fmla="*/ 2195182 h 2323145"/>
              <a:gd name="connsiteX153" fmla="*/ 4433312 w 11269336"/>
              <a:gd name="connsiteY153" fmla="*/ 2199004 h 2323145"/>
              <a:gd name="connsiteX154" fmla="*/ 4420601 w 11269336"/>
              <a:gd name="connsiteY154" fmla="*/ 2205158 h 2323145"/>
              <a:gd name="connsiteX155" fmla="*/ 4405765 w 11269336"/>
              <a:gd name="connsiteY155" fmla="*/ 2199902 h 2323145"/>
              <a:gd name="connsiteX156" fmla="*/ 4401354 w 11269336"/>
              <a:gd name="connsiteY156" fmla="*/ 2194745 h 2323145"/>
              <a:gd name="connsiteX157" fmla="*/ 4383151 w 11269336"/>
              <a:gd name="connsiteY157" fmla="*/ 2201140 h 2323145"/>
              <a:gd name="connsiteX158" fmla="*/ 4366646 w 11269336"/>
              <a:gd name="connsiteY158" fmla="*/ 2198564 h 2323145"/>
              <a:gd name="connsiteX159" fmla="*/ 4354009 w 11269336"/>
              <a:gd name="connsiteY159" fmla="*/ 2204984 h 2323145"/>
              <a:gd name="connsiteX160" fmla="*/ 4348284 w 11269336"/>
              <a:gd name="connsiteY160" fmla="*/ 2205270 h 2323145"/>
              <a:gd name="connsiteX161" fmla="*/ 4333906 w 11269336"/>
              <a:gd name="connsiteY161" fmla="*/ 2205251 h 2323145"/>
              <a:gd name="connsiteX162" fmla="*/ 4308819 w 11269336"/>
              <a:gd name="connsiteY162" fmla="*/ 2203822 h 2323145"/>
              <a:gd name="connsiteX163" fmla="*/ 4301210 w 11269336"/>
              <a:gd name="connsiteY163" fmla="*/ 2204456 h 2323145"/>
              <a:gd name="connsiteX164" fmla="*/ 4283095 w 11269336"/>
              <a:gd name="connsiteY164" fmla="*/ 2198177 h 2323145"/>
              <a:gd name="connsiteX165" fmla="*/ 4250119 w 11269336"/>
              <a:gd name="connsiteY165" fmla="*/ 2196342 h 2323145"/>
              <a:gd name="connsiteX166" fmla="*/ 4189203 w 11269336"/>
              <a:gd name="connsiteY166" fmla="*/ 2178994 h 2323145"/>
              <a:gd name="connsiteX167" fmla="*/ 4154035 w 11269336"/>
              <a:gd name="connsiteY167" fmla="*/ 2171950 h 2323145"/>
              <a:gd name="connsiteX168" fmla="*/ 4129569 w 11269336"/>
              <a:gd name="connsiteY168" fmla="*/ 2163850 h 2323145"/>
              <a:gd name="connsiteX169" fmla="*/ 4061250 w 11269336"/>
              <a:gd name="connsiteY169" fmla="*/ 2159236 h 2323145"/>
              <a:gd name="connsiteX170" fmla="*/ 3945480 w 11269336"/>
              <a:gd name="connsiteY170" fmla="*/ 2158279 h 2323145"/>
              <a:gd name="connsiteX171" fmla="*/ 3921468 w 11269336"/>
              <a:gd name="connsiteY171" fmla="*/ 2156588 h 2323145"/>
              <a:gd name="connsiteX172" fmla="*/ 3903348 w 11269336"/>
              <a:gd name="connsiteY172" fmla="*/ 2149220 h 2323145"/>
              <a:gd name="connsiteX173" fmla="*/ 3901342 w 11269336"/>
              <a:gd name="connsiteY173" fmla="*/ 2142355 h 2323145"/>
              <a:gd name="connsiteX174" fmla="*/ 3888539 w 11269336"/>
              <a:gd name="connsiteY174" fmla="*/ 2140476 h 2323145"/>
              <a:gd name="connsiteX175" fmla="*/ 3885662 w 11269336"/>
              <a:gd name="connsiteY175" fmla="*/ 2138740 h 2323145"/>
              <a:gd name="connsiteX176" fmla="*/ 3868627 w 11269336"/>
              <a:gd name="connsiteY176" fmla="*/ 2130023 h 2323145"/>
              <a:gd name="connsiteX177" fmla="*/ 3819177 w 11269336"/>
              <a:gd name="connsiteY177" fmla="*/ 2142111 h 2323145"/>
              <a:gd name="connsiteX178" fmla="*/ 3769100 w 11269336"/>
              <a:gd name="connsiteY178" fmla="*/ 2131731 h 2323145"/>
              <a:gd name="connsiteX179" fmla="*/ 3562752 w 11269336"/>
              <a:gd name="connsiteY179" fmla="*/ 2131785 h 2323145"/>
              <a:gd name="connsiteX180" fmla="*/ 3541402 w 11269336"/>
              <a:gd name="connsiteY180" fmla="*/ 2106821 h 2323145"/>
              <a:gd name="connsiteX181" fmla="*/ 3365341 w 11269336"/>
              <a:gd name="connsiteY181" fmla="*/ 2077638 h 2323145"/>
              <a:gd name="connsiteX182" fmla="*/ 3170922 w 11269336"/>
              <a:gd name="connsiteY182" fmla="*/ 2115957 h 2323145"/>
              <a:gd name="connsiteX183" fmla="*/ 3156256 w 11269336"/>
              <a:gd name="connsiteY183" fmla="*/ 2124773 h 2323145"/>
              <a:gd name="connsiteX184" fmla="*/ 3140298 w 11269336"/>
              <a:gd name="connsiteY184" fmla="*/ 2129182 h 2323145"/>
              <a:gd name="connsiteX185" fmla="*/ 3138514 w 11269336"/>
              <a:gd name="connsiteY185" fmla="*/ 2128069 h 2323145"/>
              <a:gd name="connsiteX186" fmla="*/ 3120467 w 11269336"/>
              <a:gd name="connsiteY186" fmla="*/ 2128281 h 2323145"/>
              <a:gd name="connsiteX187" fmla="*/ 3116175 w 11269336"/>
              <a:gd name="connsiteY187" fmla="*/ 2131633 h 2323145"/>
              <a:gd name="connsiteX188" fmla="*/ 3103685 w 11269336"/>
              <a:gd name="connsiteY188" fmla="*/ 2132814 h 2323145"/>
              <a:gd name="connsiteX189" fmla="*/ 3078794 w 11269336"/>
              <a:gd name="connsiteY189" fmla="*/ 2137935 h 2323145"/>
              <a:gd name="connsiteX190" fmla="*/ 3074407 w 11269336"/>
              <a:gd name="connsiteY190" fmla="*/ 2136274 h 2323145"/>
              <a:gd name="connsiteX191" fmla="*/ 3037285 w 11269336"/>
              <a:gd name="connsiteY191" fmla="*/ 2139919 h 2323145"/>
              <a:gd name="connsiteX192" fmla="*/ 3036901 w 11269336"/>
              <a:gd name="connsiteY192" fmla="*/ 2138726 h 2323145"/>
              <a:gd name="connsiteX193" fmla="*/ 3026996 w 11269336"/>
              <a:gd name="connsiteY193" fmla="*/ 2134322 h 2323145"/>
              <a:gd name="connsiteX194" fmla="*/ 3007772 w 11269336"/>
              <a:gd name="connsiteY194" fmla="*/ 2128742 h 2323145"/>
              <a:gd name="connsiteX195" fmla="*/ 2965030 w 11269336"/>
              <a:gd name="connsiteY195" fmla="*/ 2100494 h 2323145"/>
              <a:gd name="connsiteX196" fmla="*/ 2926342 w 11269336"/>
              <a:gd name="connsiteY196" fmla="*/ 2104155 h 2323145"/>
              <a:gd name="connsiteX197" fmla="*/ 2918608 w 11269336"/>
              <a:gd name="connsiteY197" fmla="*/ 2104215 h 2323145"/>
              <a:gd name="connsiteX198" fmla="*/ 2918475 w 11269336"/>
              <a:gd name="connsiteY198" fmla="*/ 2103937 h 2323145"/>
              <a:gd name="connsiteX199" fmla="*/ 2910360 w 11269336"/>
              <a:gd name="connsiteY199" fmla="*/ 2103444 h 2323145"/>
              <a:gd name="connsiteX200" fmla="*/ 2904507 w 11269336"/>
              <a:gd name="connsiteY200" fmla="*/ 2104326 h 2323145"/>
              <a:gd name="connsiteX201" fmla="*/ 2889503 w 11269336"/>
              <a:gd name="connsiteY201" fmla="*/ 2104443 h 2323145"/>
              <a:gd name="connsiteX202" fmla="*/ 2884480 w 11269336"/>
              <a:gd name="connsiteY202" fmla="*/ 2102626 h 2323145"/>
              <a:gd name="connsiteX203" fmla="*/ 2882689 w 11269336"/>
              <a:gd name="connsiteY203" fmla="*/ 2099228 h 2323145"/>
              <a:gd name="connsiteX204" fmla="*/ 2881291 w 11269336"/>
              <a:gd name="connsiteY204" fmla="*/ 2099618 h 2323145"/>
              <a:gd name="connsiteX205" fmla="*/ 2853979 w 11269336"/>
              <a:gd name="connsiteY205" fmla="*/ 2090388 h 2323145"/>
              <a:gd name="connsiteX206" fmla="*/ 2791790 w 11269336"/>
              <a:gd name="connsiteY206" fmla="*/ 2080332 h 2323145"/>
              <a:gd name="connsiteX207" fmla="*/ 2755844 w 11269336"/>
              <a:gd name="connsiteY207" fmla="*/ 2078874 h 2323145"/>
              <a:gd name="connsiteX208" fmla="*/ 2657742 w 11269336"/>
              <a:gd name="connsiteY208" fmla="*/ 2070179 h 2323145"/>
              <a:gd name="connsiteX209" fmla="*/ 2559549 w 11269336"/>
              <a:gd name="connsiteY209" fmla="*/ 2057873 h 2323145"/>
              <a:gd name="connsiteX210" fmla="*/ 2512054 w 11269336"/>
              <a:gd name="connsiteY210" fmla="*/ 2031671 h 2323145"/>
              <a:gd name="connsiteX211" fmla="*/ 2506437 w 11269336"/>
              <a:gd name="connsiteY211" fmla="*/ 2030918 h 2323145"/>
              <a:gd name="connsiteX212" fmla="*/ 2491752 w 11269336"/>
              <a:gd name="connsiteY212" fmla="*/ 2033906 h 2323145"/>
              <a:gd name="connsiteX213" fmla="*/ 2486338 w 11269336"/>
              <a:gd name="connsiteY213" fmla="*/ 2035862 h 2323145"/>
              <a:gd name="connsiteX214" fmla="*/ 2478186 w 11269336"/>
              <a:gd name="connsiteY214" fmla="*/ 2036953 h 2323145"/>
              <a:gd name="connsiteX215" fmla="*/ 2477950 w 11269336"/>
              <a:gd name="connsiteY215" fmla="*/ 2036715 h 2323145"/>
              <a:gd name="connsiteX216" fmla="*/ 2470381 w 11269336"/>
              <a:gd name="connsiteY216" fmla="*/ 2038256 h 2323145"/>
              <a:gd name="connsiteX217" fmla="*/ 2433781 w 11269336"/>
              <a:gd name="connsiteY217" fmla="*/ 2049140 h 2323145"/>
              <a:gd name="connsiteX218" fmla="*/ 2381172 w 11269336"/>
              <a:gd name="connsiteY218" fmla="*/ 2030645 h 2323145"/>
              <a:gd name="connsiteX219" fmla="*/ 2360198 w 11269336"/>
              <a:gd name="connsiteY219" fmla="*/ 2029059 h 2323145"/>
              <a:gd name="connsiteX220" fmla="*/ 2348815 w 11269336"/>
              <a:gd name="connsiteY220" fmla="*/ 2026798 h 2323145"/>
              <a:gd name="connsiteX221" fmla="*/ 2347988 w 11269336"/>
              <a:gd name="connsiteY221" fmla="*/ 2025745 h 2323145"/>
              <a:gd name="connsiteX222" fmla="*/ 2312920 w 11269336"/>
              <a:gd name="connsiteY222" fmla="*/ 2036311 h 2323145"/>
              <a:gd name="connsiteX223" fmla="*/ 2307986 w 11269336"/>
              <a:gd name="connsiteY223" fmla="*/ 2035583 h 2323145"/>
              <a:gd name="connsiteX224" fmla="*/ 2285481 w 11269336"/>
              <a:gd name="connsiteY224" fmla="*/ 2045197 h 2323145"/>
              <a:gd name="connsiteX225" fmla="*/ 2273666 w 11269336"/>
              <a:gd name="connsiteY225" fmla="*/ 2048710 h 2323145"/>
              <a:gd name="connsiteX226" fmla="*/ 2270719 w 11269336"/>
              <a:gd name="connsiteY226" fmla="*/ 2052702 h 2323145"/>
              <a:gd name="connsiteX227" fmla="*/ 2253080 w 11269336"/>
              <a:gd name="connsiteY227" fmla="*/ 2056363 h 2323145"/>
              <a:gd name="connsiteX228" fmla="*/ 2250906 w 11269336"/>
              <a:gd name="connsiteY228" fmla="*/ 2055654 h 2323145"/>
              <a:gd name="connsiteX229" fmla="*/ 2236905 w 11269336"/>
              <a:gd name="connsiteY229" fmla="*/ 2062882 h 2323145"/>
              <a:gd name="connsiteX230" fmla="*/ 2225830 w 11269336"/>
              <a:gd name="connsiteY230" fmla="*/ 2074027 h 2323145"/>
              <a:gd name="connsiteX231" fmla="*/ 2073776 w 11269336"/>
              <a:gd name="connsiteY231" fmla="*/ 2089244 h 2323145"/>
              <a:gd name="connsiteX232" fmla="*/ 1948256 w 11269336"/>
              <a:gd name="connsiteY232" fmla="*/ 2146616 h 2323145"/>
              <a:gd name="connsiteX233" fmla="*/ 1865582 w 11269336"/>
              <a:gd name="connsiteY233" fmla="*/ 2153738 h 2323145"/>
              <a:gd name="connsiteX234" fmla="*/ 1835210 w 11269336"/>
              <a:gd name="connsiteY234" fmla="*/ 2134244 h 2323145"/>
              <a:gd name="connsiteX235" fmla="*/ 1632661 w 11269336"/>
              <a:gd name="connsiteY235" fmla="*/ 2173882 h 2323145"/>
              <a:gd name="connsiteX236" fmla="*/ 1579590 w 11269336"/>
              <a:gd name="connsiteY236" fmla="*/ 2173680 h 2323145"/>
              <a:gd name="connsiteX237" fmla="*/ 1535601 w 11269336"/>
              <a:gd name="connsiteY237" fmla="*/ 2194590 h 2323145"/>
              <a:gd name="connsiteX238" fmla="*/ 1515594 w 11269336"/>
              <a:gd name="connsiteY238" fmla="*/ 2189622 h 2323145"/>
              <a:gd name="connsiteX239" fmla="*/ 1512113 w 11269336"/>
              <a:gd name="connsiteY239" fmla="*/ 2188534 h 2323145"/>
              <a:gd name="connsiteX240" fmla="*/ 1498838 w 11269336"/>
              <a:gd name="connsiteY240" fmla="*/ 2189213 h 2323145"/>
              <a:gd name="connsiteX241" fmla="*/ 1494279 w 11269336"/>
              <a:gd name="connsiteY241" fmla="*/ 2183112 h 2323145"/>
              <a:gd name="connsiteX242" fmla="*/ 1473714 w 11269336"/>
              <a:gd name="connsiteY242" fmla="*/ 2179625 h 2323145"/>
              <a:gd name="connsiteX243" fmla="*/ 1449503 w 11269336"/>
              <a:gd name="connsiteY243" fmla="*/ 2182633 h 2323145"/>
              <a:gd name="connsiteX244" fmla="*/ 1266687 w 11269336"/>
              <a:gd name="connsiteY244" fmla="*/ 2212688 h 2323145"/>
              <a:gd name="connsiteX245" fmla="*/ 1239614 w 11269336"/>
              <a:gd name="connsiteY245" fmla="*/ 2209727 h 2323145"/>
              <a:gd name="connsiteX246" fmla="*/ 1202436 w 11269336"/>
              <a:gd name="connsiteY246" fmla="*/ 2209817 h 2323145"/>
              <a:gd name="connsiteX247" fmla="*/ 1136097 w 11269336"/>
              <a:gd name="connsiteY247" fmla="*/ 2205112 h 2323145"/>
              <a:gd name="connsiteX248" fmla="*/ 988232 w 11269336"/>
              <a:gd name="connsiteY248" fmla="*/ 2235635 h 2323145"/>
              <a:gd name="connsiteX249" fmla="*/ 981959 w 11269336"/>
              <a:gd name="connsiteY249" fmla="*/ 2231607 h 2323145"/>
              <a:gd name="connsiteX250" fmla="*/ 938600 w 11269336"/>
              <a:gd name="connsiteY250" fmla="*/ 2238113 h 2323145"/>
              <a:gd name="connsiteX251" fmla="*/ 791788 w 11269336"/>
              <a:gd name="connsiteY251" fmla="*/ 2293224 h 2323145"/>
              <a:gd name="connsiteX252" fmla="*/ 706914 w 11269336"/>
              <a:gd name="connsiteY252" fmla="*/ 2305046 h 2323145"/>
              <a:gd name="connsiteX253" fmla="*/ 675971 w 11269336"/>
              <a:gd name="connsiteY253" fmla="*/ 2304030 h 2323145"/>
              <a:gd name="connsiteX254" fmla="*/ 624180 w 11269336"/>
              <a:gd name="connsiteY254" fmla="*/ 2302650 h 2323145"/>
              <a:gd name="connsiteX255" fmla="*/ 583453 w 11269336"/>
              <a:gd name="connsiteY255" fmla="*/ 2288788 h 2323145"/>
              <a:gd name="connsiteX256" fmla="*/ 540946 w 11269336"/>
              <a:gd name="connsiteY256" fmla="*/ 2292721 h 2323145"/>
              <a:gd name="connsiteX257" fmla="*/ 533680 w 11269336"/>
              <a:gd name="connsiteY257" fmla="*/ 2310233 h 2323145"/>
              <a:gd name="connsiteX258" fmla="*/ 487366 w 11269336"/>
              <a:gd name="connsiteY258" fmla="*/ 2309053 h 2323145"/>
              <a:gd name="connsiteX259" fmla="*/ 416820 w 11269336"/>
              <a:gd name="connsiteY259" fmla="*/ 2305443 h 2323145"/>
              <a:gd name="connsiteX260" fmla="*/ 376805 w 11269336"/>
              <a:gd name="connsiteY260" fmla="*/ 2307647 h 2323145"/>
              <a:gd name="connsiteX261" fmla="*/ 266777 w 11269336"/>
              <a:gd name="connsiteY261" fmla="*/ 2309012 h 2323145"/>
              <a:gd name="connsiteX262" fmla="*/ 156013 w 11269336"/>
              <a:gd name="connsiteY262" fmla="*/ 2306832 h 2323145"/>
              <a:gd name="connsiteX263" fmla="*/ 87258 w 11269336"/>
              <a:gd name="connsiteY263" fmla="*/ 2285511 h 2323145"/>
              <a:gd name="connsiteX264" fmla="*/ 23798 w 11269336"/>
              <a:gd name="connsiteY264" fmla="*/ 2281822 h 2323145"/>
              <a:gd name="connsiteX265" fmla="*/ 0 w 11269336"/>
              <a:gd name="connsiteY265" fmla="*/ 2285369 h 2323145"/>
              <a:gd name="connsiteX266" fmla="*/ 0 w 11269336"/>
              <a:gd name="connsiteY26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114263 w 11269336"/>
              <a:gd name="connsiteY21" fmla="*/ 709213 h 2323145"/>
              <a:gd name="connsiteX22" fmla="*/ 9028928 w 11269336"/>
              <a:gd name="connsiteY22" fmla="*/ 745350 h 2323145"/>
              <a:gd name="connsiteX23" fmla="*/ 8977138 w 11269336"/>
              <a:gd name="connsiteY23" fmla="*/ 774970 h 2323145"/>
              <a:gd name="connsiteX24" fmla="*/ 8947030 w 11269336"/>
              <a:gd name="connsiteY24" fmla="*/ 814934 h 2323145"/>
              <a:gd name="connsiteX25" fmla="*/ 8914746 w 11269336"/>
              <a:gd name="connsiteY25" fmla="*/ 826428 h 2323145"/>
              <a:gd name="connsiteX26" fmla="*/ 8917778 w 11269336"/>
              <a:gd name="connsiteY26" fmla="*/ 835198 h 2323145"/>
              <a:gd name="connsiteX27" fmla="*/ 8905560 w 11269336"/>
              <a:gd name="connsiteY27" fmla="*/ 838358 h 2323145"/>
              <a:gd name="connsiteX28" fmla="*/ 8897564 w 11269336"/>
              <a:gd name="connsiteY28" fmla="*/ 834287 h 2323145"/>
              <a:gd name="connsiteX29" fmla="*/ 8878040 w 11269336"/>
              <a:gd name="connsiteY29" fmla="*/ 844150 h 2323145"/>
              <a:gd name="connsiteX30" fmla="*/ 8882654 w 11269336"/>
              <a:gd name="connsiteY30" fmla="*/ 892768 h 2323145"/>
              <a:gd name="connsiteX31" fmla="*/ 8795998 w 11269336"/>
              <a:gd name="connsiteY31" fmla="*/ 863337 h 2323145"/>
              <a:gd name="connsiteX32" fmla="*/ 8776970 w 11269336"/>
              <a:gd name="connsiteY32" fmla="*/ 885177 h 2323145"/>
              <a:gd name="connsiteX33" fmla="*/ 8755719 w 11269336"/>
              <a:gd name="connsiteY33" fmla="*/ 889754 h 2323145"/>
              <a:gd name="connsiteX34" fmla="*/ 8743257 w 11269336"/>
              <a:gd name="connsiteY34" fmla="*/ 904723 h 2323145"/>
              <a:gd name="connsiteX35" fmla="*/ 8721366 w 11269336"/>
              <a:gd name="connsiteY35" fmla="*/ 904711 h 2323145"/>
              <a:gd name="connsiteX36" fmla="*/ 8678353 w 11269336"/>
              <a:gd name="connsiteY36" fmla="*/ 926318 h 2323145"/>
              <a:gd name="connsiteX37" fmla="*/ 8636849 w 11269336"/>
              <a:gd name="connsiteY37" fmla="*/ 937900 h 2323145"/>
              <a:gd name="connsiteX38" fmla="*/ 8620213 w 11269336"/>
              <a:gd name="connsiteY38" fmla="*/ 943068 h 2323145"/>
              <a:gd name="connsiteX39" fmla="*/ 8612581 w 11269336"/>
              <a:gd name="connsiteY39" fmla="*/ 952695 h 2323145"/>
              <a:gd name="connsiteX40" fmla="*/ 8589038 w 11269336"/>
              <a:gd name="connsiteY40" fmla="*/ 963892 h 2323145"/>
              <a:gd name="connsiteX41" fmla="*/ 8579950 w 11269336"/>
              <a:gd name="connsiteY41" fmla="*/ 960899 h 2323145"/>
              <a:gd name="connsiteX42" fmla="*/ 8579319 w 11269336"/>
              <a:gd name="connsiteY42" fmla="*/ 965630 h 2323145"/>
              <a:gd name="connsiteX43" fmla="*/ 8547429 w 11269336"/>
              <a:gd name="connsiteY43" fmla="*/ 984506 h 2323145"/>
              <a:gd name="connsiteX44" fmla="*/ 8478704 w 11269336"/>
              <a:gd name="connsiteY44" fmla="*/ 1025490 h 2323145"/>
              <a:gd name="connsiteX45" fmla="*/ 8461421 w 11269336"/>
              <a:gd name="connsiteY45" fmla="*/ 1035512 h 2323145"/>
              <a:gd name="connsiteX46" fmla="*/ 8445003 w 11269336"/>
              <a:gd name="connsiteY46" fmla="*/ 1036851 h 2323145"/>
              <a:gd name="connsiteX47" fmla="*/ 8357350 w 11269336"/>
              <a:gd name="connsiteY47" fmla="*/ 1060213 h 2323145"/>
              <a:gd name="connsiteX48" fmla="*/ 8335565 w 11269336"/>
              <a:gd name="connsiteY48" fmla="*/ 1061151 h 2323145"/>
              <a:gd name="connsiteX49" fmla="*/ 8325267 w 11269336"/>
              <a:gd name="connsiteY49" fmla="*/ 1055919 h 2323145"/>
              <a:gd name="connsiteX50" fmla="*/ 8293586 w 11269336"/>
              <a:gd name="connsiteY50" fmla="*/ 1076144 h 2323145"/>
              <a:gd name="connsiteX51" fmla="*/ 8242405 w 11269336"/>
              <a:gd name="connsiteY51" fmla="*/ 1095960 h 2323145"/>
              <a:gd name="connsiteX52" fmla="*/ 8197391 w 11269336"/>
              <a:gd name="connsiteY52" fmla="*/ 1107746 h 2323145"/>
              <a:gd name="connsiteX53" fmla="*/ 8081474 w 11269336"/>
              <a:gd name="connsiteY53" fmla="*/ 1130125 h 2323145"/>
              <a:gd name="connsiteX54" fmla="*/ 8053585 w 11269336"/>
              <a:gd name="connsiteY54" fmla="*/ 1129169 h 2323145"/>
              <a:gd name="connsiteX55" fmla="*/ 8038422 w 11269336"/>
              <a:gd name="connsiteY55" fmla="*/ 1119092 h 2323145"/>
              <a:gd name="connsiteX56" fmla="*/ 8029450 w 11269336"/>
              <a:gd name="connsiteY56" fmla="*/ 1125592 h 2323145"/>
              <a:gd name="connsiteX57" fmla="*/ 7959552 w 11269336"/>
              <a:gd name="connsiteY57" fmla="*/ 1140188 h 2323145"/>
              <a:gd name="connsiteX58" fmla="*/ 7914188 w 11269336"/>
              <a:gd name="connsiteY58" fmla="*/ 1150862 h 2323145"/>
              <a:gd name="connsiteX59" fmla="*/ 7914918 w 11269336"/>
              <a:gd name="connsiteY59" fmla="*/ 1168758 h 2323145"/>
              <a:gd name="connsiteX60" fmla="*/ 7875510 w 11269336"/>
              <a:gd name="connsiteY60" fmla="*/ 1183153 h 2323145"/>
              <a:gd name="connsiteX61" fmla="*/ 7829932 w 11269336"/>
              <a:gd name="connsiteY61" fmla="*/ 1180782 h 2323145"/>
              <a:gd name="connsiteX62" fmla="*/ 7779182 w 11269336"/>
              <a:gd name="connsiteY62" fmla="*/ 1192665 h 2323145"/>
              <a:gd name="connsiteX63" fmla="*/ 7748774 w 11269336"/>
              <a:gd name="connsiteY63" fmla="*/ 1199586 h 2323145"/>
              <a:gd name="connsiteX64" fmla="*/ 7671846 w 11269336"/>
              <a:gd name="connsiteY64" fmla="*/ 1231966 h 2323145"/>
              <a:gd name="connsiteX65" fmla="*/ 7554146 w 11269336"/>
              <a:gd name="connsiteY65" fmla="*/ 1319748 h 2323145"/>
              <a:gd name="connsiteX66" fmla="*/ 7515052 w 11269336"/>
              <a:gd name="connsiteY66" fmla="*/ 1336718 h 2323145"/>
              <a:gd name="connsiteX67" fmla="*/ 7507193 w 11269336"/>
              <a:gd name="connsiteY67" fmla="*/ 1334617 h 2323145"/>
              <a:gd name="connsiteX68" fmla="*/ 7461694 w 11269336"/>
              <a:gd name="connsiteY68" fmla="*/ 1375866 h 2323145"/>
              <a:gd name="connsiteX69" fmla="*/ 7377571 w 11269336"/>
              <a:gd name="connsiteY69" fmla="*/ 1400128 h 2323145"/>
              <a:gd name="connsiteX70" fmla="*/ 7311261 w 11269336"/>
              <a:gd name="connsiteY70" fmla="*/ 1412652 h 2323145"/>
              <a:gd name="connsiteX71" fmla="*/ 7275307 w 11269336"/>
              <a:gd name="connsiteY71" fmla="*/ 1422171 h 2323145"/>
              <a:gd name="connsiteX72" fmla="*/ 7247783 w 11269336"/>
              <a:gd name="connsiteY72" fmla="*/ 1426330 h 2323145"/>
              <a:gd name="connsiteX73" fmla="*/ 7185047 w 11269336"/>
              <a:gd name="connsiteY73" fmla="*/ 1451812 h 2323145"/>
              <a:gd name="connsiteX74" fmla="*/ 7084117 w 11269336"/>
              <a:gd name="connsiteY74" fmla="*/ 1500281 h 2323145"/>
              <a:gd name="connsiteX75" fmla="*/ 7062011 w 11269336"/>
              <a:gd name="connsiteY75" fmla="*/ 1509183 h 2323145"/>
              <a:gd name="connsiteX76" fmla="*/ 7040555 w 11269336"/>
              <a:gd name="connsiteY76" fmla="*/ 1511207 h 2323145"/>
              <a:gd name="connsiteX77" fmla="*/ 7033438 w 11269336"/>
              <a:gd name="connsiteY77" fmla="*/ 1506772 h 2323145"/>
              <a:gd name="connsiteX78" fmla="*/ 7020886 w 11269336"/>
              <a:gd name="connsiteY78" fmla="*/ 1510764 h 2323145"/>
              <a:gd name="connsiteX79" fmla="*/ 7017033 w 11269336"/>
              <a:gd name="connsiteY79" fmla="*/ 1510650 h 2323145"/>
              <a:gd name="connsiteX80" fmla="*/ 6995460 w 11269336"/>
              <a:gd name="connsiteY80" fmla="*/ 1511173 h 2323145"/>
              <a:gd name="connsiteX81" fmla="*/ 6962144 w 11269336"/>
              <a:gd name="connsiteY81" fmla="*/ 1541508 h 2323145"/>
              <a:gd name="connsiteX82" fmla="*/ 6910674 w 11269336"/>
              <a:gd name="connsiteY82" fmla="*/ 1554793 h 2323145"/>
              <a:gd name="connsiteX83" fmla="*/ 6732152 w 11269336"/>
              <a:gd name="connsiteY83" fmla="*/ 1642538 h 2323145"/>
              <a:gd name="connsiteX84" fmla="*/ 6694106 w 11269336"/>
              <a:gd name="connsiteY84" fmla="*/ 1632377 h 2323145"/>
              <a:gd name="connsiteX85" fmla="*/ 6617223 w 11269336"/>
              <a:gd name="connsiteY85" fmla="*/ 1659889 h 2323145"/>
              <a:gd name="connsiteX86" fmla="*/ 6521138 w 11269336"/>
              <a:gd name="connsiteY86" fmla="*/ 1744340 h 2323145"/>
              <a:gd name="connsiteX87" fmla="*/ 6380677 w 11269336"/>
              <a:gd name="connsiteY87" fmla="*/ 1796883 h 2323145"/>
              <a:gd name="connsiteX88" fmla="*/ 6374897 w 11269336"/>
              <a:gd name="connsiteY88" fmla="*/ 1809910 h 2323145"/>
              <a:gd name="connsiteX89" fmla="*/ 6364545 w 11269336"/>
              <a:gd name="connsiteY89" fmla="*/ 1820090 h 2323145"/>
              <a:gd name="connsiteX90" fmla="*/ 6362126 w 11269336"/>
              <a:gd name="connsiteY90" fmla="*/ 1819991 h 2323145"/>
              <a:gd name="connsiteX91" fmla="*/ 6346673 w 11269336"/>
              <a:gd name="connsiteY91" fmla="*/ 1827824 h 2323145"/>
              <a:gd name="connsiteX92" fmla="*/ 6345588 w 11269336"/>
              <a:gd name="connsiteY92" fmla="*/ 1832232 h 2323145"/>
              <a:gd name="connsiteX93" fmla="*/ 6335708 w 11269336"/>
              <a:gd name="connsiteY93" fmla="*/ 1838451 h 2323145"/>
              <a:gd name="connsiteX94" fmla="*/ 6318182 w 11269336"/>
              <a:gd name="connsiteY94" fmla="*/ 1852975 h 2323145"/>
              <a:gd name="connsiteX95" fmla="*/ 6313084 w 11269336"/>
              <a:gd name="connsiteY95" fmla="*/ 1853561 h 2323145"/>
              <a:gd name="connsiteX96" fmla="*/ 6283816 w 11269336"/>
              <a:gd name="connsiteY96" fmla="*/ 1872148 h 2323145"/>
              <a:gd name="connsiteX97" fmla="*/ 6282550 w 11269336"/>
              <a:gd name="connsiteY97" fmla="*/ 1871392 h 2323145"/>
              <a:gd name="connsiteX98" fmla="*/ 6270527 w 11269336"/>
              <a:gd name="connsiteY98" fmla="*/ 1872208 h 2323145"/>
              <a:gd name="connsiteX99" fmla="*/ 6249518 w 11269336"/>
              <a:gd name="connsiteY99" fmla="*/ 1876079 h 2323145"/>
              <a:gd name="connsiteX100" fmla="*/ 6190386 w 11269336"/>
              <a:gd name="connsiteY100" fmla="*/ 1872478 h 2323145"/>
              <a:gd name="connsiteX101" fmla="*/ 6159777 w 11269336"/>
              <a:gd name="connsiteY101" fmla="*/ 1891745 h 2323145"/>
              <a:gd name="connsiteX102" fmla="*/ 6153131 w 11269336"/>
              <a:gd name="connsiteY102" fmla="*/ 1895079 h 2323145"/>
              <a:gd name="connsiteX103" fmla="*/ 6152798 w 11269336"/>
              <a:gd name="connsiteY103" fmla="*/ 1894920 h 2323145"/>
              <a:gd name="connsiteX104" fmla="*/ 6145388 w 11269336"/>
              <a:gd name="connsiteY104" fmla="*/ 1897990 h 2323145"/>
              <a:gd name="connsiteX105" fmla="*/ 6141014 w 11269336"/>
              <a:gd name="connsiteY105" fmla="*/ 1901155 h 2323145"/>
              <a:gd name="connsiteX106" fmla="*/ 6128122 w 11269336"/>
              <a:gd name="connsiteY106" fmla="*/ 1907623 h 2323145"/>
              <a:gd name="connsiteX107" fmla="*/ 6122351 w 11269336"/>
              <a:gd name="connsiteY107" fmla="*/ 1908359 h 2323145"/>
              <a:gd name="connsiteX108" fmla="*/ 6064750 w 11269336"/>
              <a:gd name="connsiteY108" fmla="*/ 1896394 h 2323145"/>
              <a:gd name="connsiteX109" fmla="*/ 5964230 w 11269336"/>
              <a:gd name="connsiteY109" fmla="*/ 1910038 h 2323145"/>
              <a:gd name="connsiteX110" fmla="*/ 5865399 w 11269336"/>
              <a:gd name="connsiteY110" fmla="*/ 1926966 h 2323145"/>
              <a:gd name="connsiteX111" fmla="*/ 5829951 w 11269336"/>
              <a:gd name="connsiteY111" fmla="*/ 1934755 h 2323145"/>
              <a:gd name="connsiteX112" fmla="*/ 5765285 w 11269336"/>
              <a:gd name="connsiteY112" fmla="*/ 1941322 h 2323145"/>
              <a:gd name="connsiteX113" fmla="*/ 5734750 w 11269336"/>
              <a:gd name="connsiteY113" fmla="*/ 1939793 h 2323145"/>
              <a:gd name="connsiteX114" fmla="*/ 5733569 w 11269336"/>
              <a:gd name="connsiteY114" fmla="*/ 1940505 h 2323145"/>
              <a:gd name="connsiteX115" fmla="*/ 5730329 w 11269336"/>
              <a:gd name="connsiteY115" fmla="*/ 1937845 h 2323145"/>
              <a:gd name="connsiteX116" fmla="*/ 5724661 w 11269336"/>
              <a:gd name="connsiteY116" fmla="*/ 1937455 h 2323145"/>
              <a:gd name="connsiteX117" fmla="*/ 5710186 w 11269336"/>
              <a:gd name="connsiteY117" fmla="*/ 1941370 h 2323145"/>
              <a:gd name="connsiteX118" fmla="*/ 5704910 w 11269336"/>
              <a:gd name="connsiteY118" fmla="*/ 1943663 h 2323145"/>
              <a:gd name="connsiteX119" fmla="*/ 5696836 w 11269336"/>
              <a:gd name="connsiteY119" fmla="*/ 1945271 h 2323145"/>
              <a:gd name="connsiteX120" fmla="*/ 5696583 w 11269336"/>
              <a:gd name="connsiteY120" fmla="*/ 1945050 h 2323145"/>
              <a:gd name="connsiteX121" fmla="*/ 5689123 w 11269336"/>
              <a:gd name="connsiteY121" fmla="*/ 1947067 h 2323145"/>
              <a:gd name="connsiteX122" fmla="*/ 5653291 w 11269336"/>
              <a:gd name="connsiteY122" fmla="*/ 1960245 h 2323145"/>
              <a:gd name="connsiteX123" fmla="*/ 5599385 w 11269336"/>
              <a:gd name="connsiteY123" fmla="*/ 1945198 h 2323145"/>
              <a:gd name="connsiteX124" fmla="*/ 5578300 w 11269336"/>
              <a:gd name="connsiteY124" fmla="*/ 1944963 h 2323145"/>
              <a:gd name="connsiteX125" fmla="*/ 5566758 w 11269336"/>
              <a:gd name="connsiteY125" fmla="*/ 1943441 h 2323145"/>
              <a:gd name="connsiteX126" fmla="*/ 5565857 w 11269336"/>
              <a:gd name="connsiteY126" fmla="*/ 1942445 h 2323145"/>
              <a:gd name="connsiteX127" fmla="*/ 5531534 w 11269336"/>
              <a:gd name="connsiteY127" fmla="*/ 1955208 h 2323145"/>
              <a:gd name="connsiteX128" fmla="*/ 5526552 w 11269336"/>
              <a:gd name="connsiteY128" fmla="*/ 1954799 h 2323145"/>
              <a:gd name="connsiteX129" fmla="*/ 5504723 w 11269336"/>
              <a:gd name="connsiteY129" fmla="*/ 1965811 h 2323145"/>
              <a:gd name="connsiteX130" fmla="*/ 5493156 w 11269336"/>
              <a:gd name="connsiteY130" fmla="*/ 1970063 h 2323145"/>
              <a:gd name="connsiteX131" fmla="*/ 5490486 w 11269336"/>
              <a:gd name="connsiteY131" fmla="*/ 1974227 h 2323145"/>
              <a:gd name="connsiteX132" fmla="*/ 5473107 w 11269336"/>
              <a:gd name="connsiteY132" fmla="*/ 1979001 h 2323145"/>
              <a:gd name="connsiteX133" fmla="*/ 5470885 w 11269336"/>
              <a:gd name="connsiteY133" fmla="*/ 1978432 h 2323145"/>
              <a:gd name="connsiteX134" fmla="*/ 5457393 w 11269336"/>
              <a:gd name="connsiteY134" fmla="*/ 1986525 h 2323145"/>
              <a:gd name="connsiteX135" fmla="*/ 5447102 w 11269336"/>
              <a:gd name="connsiteY135" fmla="*/ 1998329 h 2323145"/>
              <a:gd name="connsiteX136" fmla="*/ 5159151 w 11269336"/>
              <a:gd name="connsiteY136" fmla="*/ 2029640 h 2323145"/>
              <a:gd name="connsiteX137" fmla="*/ 5041688 w 11269336"/>
              <a:gd name="connsiteY137" fmla="*/ 2022334 h 2323145"/>
              <a:gd name="connsiteX138" fmla="*/ 4860988 w 11269336"/>
              <a:gd name="connsiteY138" fmla="*/ 2135698 h 2323145"/>
              <a:gd name="connsiteX139" fmla="*/ 4807902 w 11269336"/>
              <a:gd name="connsiteY139" fmla="*/ 2138894 h 2323145"/>
              <a:gd name="connsiteX140" fmla="*/ 4765388 w 11269336"/>
              <a:gd name="connsiteY140" fmla="*/ 2162525 h 2323145"/>
              <a:gd name="connsiteX141" fmla="*/ 4745033 w 11269336"/>
              <a:gd name="connsiteY141" fmla="*/ 2158859 h 2323145"/>
              <a:gd name="connsiteX142" fmla="*/ 4741475 w 11269336"/>
              <a:gd name="connsiteY142" fmla="*/ 2157998 h 2323145"/>
              <a:gd name="connsiteX143" fmla="*/ 4728247 w 11269336"/>
              <a:gd name="connsiteY143" fmla="*/ 2159526 h 2323145"/>
              <a:gd name="connsiteX144" fmla="*/ 4723263 w 11269336"/>
              <a:gd name="connsiteY144" fmla="*/ 2153742 h 2323145"/>
              <a:gd name="connsiteX145" fmla="*/ 4702453 w 11269336"/>
              <a:gd name="connsiteY145" fmla="*/ 2151586 h 2323145"/>
              <a:gd name="connsiteX146" fmla="*/ 4678455 w 11269336"/>
              <a:gd name="connsiteY146" fmla="*/ 2156131 h 2323145"/>
              <a:gd name="connsiteX147" fmla="*/ 4593061 w 11269336"/>
              <a:gd name="connsiteY147" fmla="*/ 2171597 h 2323145"/>
              <a:gd name="connsiteX148" fmla="*/ 4579902 w 11269336"/>
              <a:gd name="connsiteY148" fmla="*/ 2177927 h 2323145"/>
              <a:gd name="connsiteX149" fmla="*/ 4533444 w 11269336"/>
              <a:gd name="connsiteY149" fmla="*/ 2181200 h 2323145"/>
              <a:gd name="connsiteX150" fmla="*/ 4492832 w 11269336"/>
              <a:gd name="connsiteY150" fmla="*/ 2188033 h 2323145"/>
              <a:gd name="connsiteX151" fmla="*/ 4467257 w 11269336"/>
              <a:gd name="connsiteY151" fmla="*/ 2196121 h 2323145"/>
              <a:gd name="connsiteX152" fmla="*/ 4459937 w 11269336"/>
              <a:gd name="connsiteY152" fmla="*/ 2195182 h 2323145"/>
              <a:gd name="connsiteX153" fmla="*/ 4433312 w 11269336"/>
              <a:gd name="connsiteY153" fmla="*/ 2199004 h 2323145"/>
              <a:gd name="connsiteX154" fmla="*/ 4420601 w 11269336"/>
              <a:gd name="connsiteY154" fmla="*/ 2205158 h 2323145"/>
              <a:gd name="connsiteX155" fmla="*/ 4405765 w 11269336"/>
              <a:gd name="connsiteY155" fmla="*/ 2199902 h 2323145"/>
              <a:gd name="connsiteX156" fmla="*/ 4401354 w 11269336"/>
              <a:gd name="connsiteY156" fmla="*/ 2194745 h 2323145"/>
              <a:gd name="connsiteX157" fmla="*/ 4383151 w 11269336"/>
              <a:gd name="connsiteY157" fmla="*/ 2201140 h 2323145"/>
              <a:gd name="connsiteX158" fmla="*/ 4366646 w 11269336"/>
              <a:gd name="connsiteY158" fmla="*/ 2198564 h 2323145"/>
              <a:gd name="connsiteX159" fmla="*/ 4354009 w 11269336"/>
              <a:gd name="connsiteY159" fmla="*/ 2204984 h 2323145"/>
              <a:gd name="connsiteX160" fmla="*/ 4348284 w 11269336"/>
              <a:gd name="connsiteY160" fmla="*/ 2205270 h 2323145"/>
              <a:gd name="connsiteX161" fmla="*/ 4333906 w 11269336"/>
              <a:gd name="connsiteY161" fmla="*/ 2205251 h 2323145"/>
              <a:gd name="connsiteX162" fmla="*/ 4308819 w 11269336"/>
              <a:gd name="connsiteY162" fmla="*/ 2203822 h 2323145"/>
              <a:gd name="connsiteX163" fmla="*/ 4301210 w 11269336"/>
              <a:gd name="connsiteY163" fmla="*/ 2204456 h 2323145"/>
              <a:gd name="connsiteX164" fmla="*/ 4283095 w 11269336"/>
              <a:gd name="connsiteY164" fmla="*/ 2198177 h 2323145"/>
              <a:gd name="connsiteX165" fmla="*/ 4250119 w 11269336"/>
              <a:gd name="connsiteY165" fmla="*/ 2196342 h 2323145"/>
              <a:gd name="connsiteX166" fmla="*/ 4189203 w 11269336"/>
              <a:gd name="connsiteY166" fmla="*/ 2178994 h 2323145"/>
              <a:gd name="connsiteX167" fmla="*/ 4154035 w 11269336"/>
              <a:gd name="connsiteY167" fmla="*/ 2171950 h 2323145"/>
              <a:gd name="connsiteX168" fmla="*/ 4129569 w 11269336"/>
              <a:gd name="connsiteY168" fmla="*/ 2163850 h 2323145"/>
              <a:gd name="connsiteX169" fmla="*/ 4061250 w 11269336"/>
              <a:gd name="connsiteY169" fmla="*/ 2159236 h 2323145"/>
              <a:gd name="connsiteX170" fmla="*/ 3945480 w 11269336"/>
              <a:gd name="connsiteY170" fmla="*/ 2158279 h 2323145"/>
              <a:gd name="connsiteX171" fmla="*/ 3921468 w 11269336"/>
              <a:gd name="connsiteY171" fmla="*/ 2156588 h 2323145"/>
              <a:gd name="connsiteX172" fmla="*/ 3903348 w 11269336"/>
              <a:gd name="connsiteY172" fmla="*/ 2149220 h 2323145"/>
              <a:gd name="connsiteX173" fmla="*/ 3901342 w 11269336"/>
              <a:gd name="connsiteY173" fmla="*/ 2142355 h 2323145"/>
              <a:gd name="connsiteX174" fmla="*/ 3888539 w 11269336"/>
              <a:gd name="connsiteY174" fmla="*/ 2140476 h 2323145"/>
              <a:gd name="connsiteX175" fmla="*/ 3885662 w 11269336"/>
              <a:gd name="connsiteY175" fmla="*/ 2138740 h 2323145"/>
              <a:gd name="connsiteX176" fmla="*/ 3868627 w 11269336"/>
              <a:gd name="connsiteY176" fmla="*/ 2130023 h 2323145"/>
              <a:gd name="connsiteX177" fmla="*/ 3819177 w 11269336"/>
              <a:gd name="connsiteY177" fmla="*/ 2142111 h 2323145"/>
              <a:gd name="connsiteX178" fmla="*/ 3769100 w 11269336"/>
              <a:gd name="connsiteY178" fmla="*/ 2131731 h 2323145"/>
              <a:gd name="connsiteX179" fmla="*/ 3562752 w 11269336"/>
              <a:gd name="connsiteY179" fmla="*/ 2131785 h 2323145"/>
              <a:gd name="connsiteX180" fmla="*/ 3541402 w 11269336"/>
              <a:gd name="connsiteY180" fmla="*/ 2106821 h 2323145"/>
              <a:gd name="connsiteX181" fmla="*/ 3365341 w 11269336"/>
              <a:gd name="connsiteY181" fmla="*/ 2077638 h 2323145"/>
              <a:gd name="connsiteX182" fmla="*/ 3170922 w 11269336"/>
              <a:gd name="connsiteY182" fmla="*/ 2115957 h 2323145"/>
              <a:gd name="connsiteX183" fmla="*/ 3156256 w 11269336"/>
              <a:gd name="connsiteY183" fmla="*/ 2124773 h 2323145"/>
              <a:gd name="connsiteX184" fmla="*/ 3140298 w 11269336"/>
              <a:gd name="connsiteY184" fmla="*/ 2129182 h 2323145"/>
              <a:gd name="connsiteX185" fmla="*/ 3138514 w 11269336"/>
              <a:gd name="connsiteY185" fmla="*/ 2128069 h 2323145"/>
              <a:gd name="connsiteX186" fmla="*/ 3120467 w 11269336"/>
              <a:gd name="connsiteY186" fmla="*/ 2128281 h 2323145"/>
              <a:gd name="connsiteX187" fmla="*/ 3116175 w 11269336"/>
              <a:gd name="connsiteY187" fmla="*/ 2131633 h 2323145"/>
              <a:gd name="connsiteX188" fmla="*/ 3103685 w 11269336"/>
              <a:gd name="connsiteY188" fmla="*/ 2132814 h 2323145"/>
              <a:gd name="connsiteX189" fmla="*/ 3078794 w 11269336"/>
              <a:gd name="connsiteY189" fmla="*/ 2137935 h 2323145"/>
              <a:gd name="connsiteX190" fmla="*/ 3074407 w 11269336"/>
              <a:gd name="connsiteY190" fmla="*/ 2136274 h 2323145"/>
              <a:gd name="connsiteX191" fmla="*/ 3037285 w 11269336"/>
              <a:gd name="connsiteY191" fmla="*/ 2139919 h 2323145"/>
              <a:gd name="connsiteX192" fmla="*/ 3036901 w 11269336"/>
              <a:gd name="connsiteY192" fmla="*/ 2138726 h 2323145"/>
              <a:gd name="connsiteX193" fmla="*/ 3026996 w 11269336"/>
              <a:gd name="connsiteY193" fmla="*/ 2134322 h 2323145"/>
              <a:gd name="connsiteX194" fmla="*/ 3007772 w 11269336"/>
              <a:gd name="connsiteY194" fmla="*/ 2128742 h 2323145"/>
              <a:gd name="connsiteX195" fmla="*/ 2965030 w 11269336"/>
              <a:gd name="connsiteY195" fmla="*/ 2100494 h 2323145"/>
              <a:gd name="connsiteX196" fmla="*/ 2926342 w 11269336"/>
              <a:gd name="connsiteY196" fmla="*/ 2104155 h 2323145"/>
              <a:gd name="connsiteX197" fmla="*/ 2918608 w 11269336"/>
              <a:gd name="connsiteY197" fmla="*/ 2104215 h 2323145"/>
              <a:gd name="connsiteX198" fmla="*/ 2918475 w 11269336"/>
              <a:gd name="connsiteY198" fmla="*/ 2103937 h 2323145"/>
              <a:gd name="connsiteX199" fmla="*/ 2910360 w 11269336"/>
              <a:gd name="connsiteY199" fmla="*/ 2103444 h 2323145"/>
              <a:gd name="connsiteX200" fmla="*/ 2904507 w 11269336"/>
              <a:gd name="connsiteY200" fmla="*/ 2104326 h 2323145"/>
              <a:gd name="connsiteX201" fmla="*/ 2889503 w 11269336"/>
              <a:gd name="connsiteY201" fmla="*/ 2104443 h 2323145"/>
              <a:gd name="connsiteX202" fmla="*/ 2884480 w 11269336"/>
              <a:gd name="connsiteY202" fmla="*/ 2102626 h 2323145"/>
              <a:gd name="connsiteX203" fmla="*/ 2882689 w 11269336"/>
              <a:gd name="connsiteY203" fmla="*/ 2099228 h 2323145"/>
              <a:gd name="connsiteX204" fmla="*/ 2881291 w 11269336"/>
              <a:gd name="connsiteY204" fmla="*/ 2099618 h 2323145"/>
              <a:gd name="connsiteX205" fmla="*/ 2853979 w 11269336"/>
              <a:gd name="connsiteY205" fmla="*/ 2090388 h 2323145"/>
              <a:gd name="connsiteX206" fmla="*/ 2791790 w 11269336"/>
              <a:gd name="connsiteY206" fmla="*/ 2080332 h 2323145"/>
              <a:gd name="connsiteX207" fmla="*/ 2755844 w 11269336"/>
              <a:gd name="connsiteY207" fmla="*/ 2078874 h 2323145"/>
              <a:gd name="connsiteX208" fmla="*/ 2657742 w 11269336"/>
              <a:gd name="connsiteY208" fmla="*/ 2070179 h 2323145"/>
              <a:gd name="connsiteX209" fmla="*/ 2559549 w 11269336"/>
              <a:gd name="connsiteY209" fmla="*/ 2057873 h 2323145"/>
              <a:gd name="connsiteX210" fmla="*/ 2512054 w 11269336"/>
              <a:gd name="connsiteY210" fmla="*/ 2031671 h 2323145"/>
              <a:gd name="connsiteX211" fmla="*/ 2506437 w 11269336"/>
              <a:gd name="connsiteY211" fmla="*/ 2030918 h 2323145"/>
              <a:gd name="connsiteX212" fmla="*/ 2491752 w 11269336"/>
              <a:gd name="connsiteY212" fmla="*/ 2033906 h 2323145"/>
              <a:gd name="connsiteX213" fmla="*/ 2486338 w 11269336"/>
              <a:gd name="connsiteY213" fmla="*/ 2035862 h 2323145"/>
              <a:gd name="connsiteX214" fmla="*/ 2478186 w 11269336"/>
              <a:gd name="connsiteY214" fmla="*/ 2036953 h 2323145"/>
              <a:gd name="connsiteX215" fmla="*/ 2477950 w 11269336"/>
              <a:gd name="connsiteY215" fmla="*/ 2036715 h 2323145"/>
              <a:gd name="connsiteX216" fmla="*/ 2470381 w 11269336"/>
              <a:gd name="connsiteY216" fmla="*/ 2038256 h 2323145"/>
              <a:gd name="connsiteX217" fmla="*/ 2433781 w 11269336"/>
              <a:gd name="connsiteY217" fmla="*/ 2049140 h 2323145"/>
              <a:gd name="connsiteX218" fmla="*/ 2381172 w 11269336"/>
              <a:gd name="connsiteY218" fmla="*/ 2030645 h 2323145"/>
              <a:gd name="connsiteX219" fmla="*/ 2360198 w 11269336"/>
              <a:gd name="connsiteY219" fmla="*/ 2029059 h 2323145"/>
              <a:gd name="connsiteX220" fmla="*/ 2348815 w 11269336"/>
              <a:gd name="connsiteY220" fmla="*/ 2026798 h 2323145"/>
              <a:gd name="connsiteX221" fmla="*/ 2347988 w 11269336"/>
              <a:gd name="connsiteY221" fmla="*/ 2025745 h 2323145"/>
              <a:gd name="connsiteX222" fmla="*/ 2312920 w 11269336"/>
              <a:gd name="connsiteY222" fmla="*/ 2036311 h 2323145"/>
              <a:gd name="connsiteX223" fmla="*/ 2307986 w 11269336"/>
              <a:gd name="connsiteY223" fmla="*/ 2035583 h 2323145"/>
              <a:gd name="connsiteX224" fmla="*/ 2285481 w 11269336"/>
              <a:gd name="connsiteY224" fmla="*/ 2045197 h 2323145"/>
              <a:gd name="connsiteX225" fmla="*/ 2273666 w 11269336"/>
              <a:gd name="connsiteY225" fmla="*/ 2048710 h 2323145"/>
              <a:gd name="connsiteX226" fmla="*/ 2270719 w 11269336"/>
              <a:gd name="connsiteY226" fmla="*/ 2052702 h 2323145"/>
              <a:gd name="connsiteX227" fmla="*/ 2253080 w 11269336"/>
              <a:gd name="connsiteY227" fmla="*/ 2056363 h 2323145"/>
              <a:gd name="connsiteX228" fmla="*/ 2250906 w 11269336"/>
              <a:gd name="connsiteY228" fmla="*/ 2055654 h 2323145"/>
              <a:gd name="connsiteX229" fmla="*/ 2236905 w 11269336"/>
              <a:gd name="connsiteY229" fmla="*/ 2062882 h 2323145"/>
              <a:gd name="connsiteX230" fmla="*/ 2225830 w 11269336"/>
              <a:gd name="connsiteY230" fmla="*/ 2074027 h 2323145"/>
              <a:gd name="connsiteX231" fmla="*/ 2073776 w 11269336"/>
              <a:gd name="connsiteY231" fmla="*/ 2089244 h 2323145"/>
              <a:gd name="connsiteX232" fmla="*/ 1948256 w 11269336"/>
              <a:gd name="connsiteY232" fmla="*/ 2146616 h 2323145"/>
              <a:gd name="connsiteX233" fmla="*/ 1865582 w 11269336"/>
              <a:gd name="connsiteY233" fmla="*/ 2153738 h 2323145"/>
              <a:gd name="connsiteX234" fmla="*/ 1835210 w 11269336"/>
              <a:gd name="connsiteY234" fmla="*/ 2134244 h 2323145"/>
              <a:gd name="connsiteX235" fmla="*/ 1632661 w 11269336"/>
              <a:gd name="connsiteY235" fmla="*/ 2173882 h 2323145"/>
              <a:gd name="connsiteX236" fmla="*/ 1579590 w 11269336"/>
              <a:gd name="connsiteY236" fmla="*/ 2173680 h 2323145"/>
              <a:gd name="connsiteX237" fmla="*/ 1535601 w 11269336"/>
              <a:gd name="connsiteY237" fmla="*/ 2194590 h 2323145"/>
              <a:gd name="connsiteX238" fmla="*/ 1515594 w 11269336"/>
              <a:gd name="connsiteY238" fmla="*/ 2189622 h 2323145"/>
              <a:gd name="connsiteX239" fmla="*/ 1512113 w 11269336"/>
              <a:gd name="connsiteY239" fmla="*/ 2188534 h 2323145"/>
              <a:gd name="connsiteX240" fmla="*/ 1498838 w 11269336"/>
              <a:gd name="connsiteY240" fmla="*/ 2189213 h 2323145"/>
              <a:gd name="connsiteX241" fmla="*/ 1494279 w 11269336"/>
              <a:gd name="connsiteY241" fmla="*/ 2183112 h 2323145"/>
              <a:gd name="connsiteX242" fmla="*/ 1473714 w 11269336"/>
              <a:gd name="connsiteY242" fmla="*/ 2179625 h 2323145"/>
              <a:gd name="connsiteX243" fmla="*/ 1449503 w 11269336"/>
              <a:gd name="connsiteY243" fmla="*/ 2182633 h 2323145"/>
              <a:gd name="connsiteX244" fmla="*/ 1266687 w 11269336"/>
              <a:gd name="connsiteY244" fmla="*/ 2212688 h 2323145"/>
              <a:gd name="connsiteX245" fmla="*/ 1239614 w 11269336"/>
              <a:gd name="connsiteY245" fmla="*/ 2209727 h 2323145"/>
              <a:gd name="connsiteX246" fmla="*/ 1202436 w 11269336"/>
              <a:gd name="connsiteY246" fmla="*/ 2209817 h 2323145"/>
              <a:gd name="connsiteX247" fmla="*/ 1136097 w 11269336"/>
              <a:gd name="connsiteY247" fmla="*/ 2205112 h 2323145"/>
              <a:gd name="connsiteX248" fmla="*/ 988232 w 11269336"/>
              <a:gd name="connsiteY248" fmla="*/ 2235635 h 2323145"/>
              <a:gd name="connsiteX249" fmla="*/ 981959 w 11269336"/>
              <a:gd name="connsiteY249" fmla="*/ 2231607 h 2323145"/>
              <a:gd name="connsiteX250" fmla="*/ 938600 w 11269336"/>
              <a:gd name="connsiteY250" fmla="*/ 2238113 h 2323145"/>
              <a:gd name="connsiteX251" fmla="*/ 791788 w 11269336"/>
              <a:gd name="connsiteY251" fmla="*/ 2293224 h 2323145"/>
              <a:gd name="connsiteX252" fmla="*/ 706914 w 11269336"/>
              <a:gd name="connsiteY252" fmla="*/ 2305046 h 2323145"/>
              <a:gd name="connsiteX253" fmla="*/ 675971 w 11269336"/>
              <a:gd name="connsiteY253" fmla="*/ 2304030 h 2323145"/>
              <a:gd name="connsiteX254" fmla="*/ 624180 w 11269336"/>
              <a:gd name="connsiteY254" fmla="*/ 2302650 h 2323145"/>
              <a:gd name="connsiteX255" fmla="*/ 583453 w 11269336"/>
              <a:gd name="connsiteY255" fmla="*/ 2288788 h 2323145"/>
              <a:gd name="connsiteX256" fmla="*/ 540946 w 11269336"/>
              <a:gd name="connsiteY256" fmla="*/ 2292721 h 2323145"/>
              <a:gd name="connsiteX257" fmla="*/ 533680 w 11269336"/>
              <a:gd name="connsiteY257" fmla="*/ 2310233 h 2323145"/>
              <a:gd name="connsiteX258" fmla="*/ 487366 w 11269336"/>
              <a:gd name="connsiteY258" fmla="*/ 2309053 h 2323145"/>
              <a:gd name="connsiteX259" fmla="*/ 416820 w 11269336"/>
              <a:gd name="connsiteY259" fmla="*/ 2305443 h 2323145"/>
              <a:gd name="connsiteX260" fmla="*/ 376805 w 11269336"/>
              <a:gd name="connsiteY260" fmla="*/ 2307647 h 2323145"/>
              <a:gd name="connsiteX261" fmla="*/ 266777 w 11269336"/>
              <a:gd name="connsiteY261" fmla="*/ 2309012 h 2323145"/>
              <a:gd name="connsiteX262" fmla="*/ 156013 w 11269336"/>
              <a:gd name="connsiteY262" fmla="*/ 2306832 h 2323145"/>
              <a:gd name="connsiteX263" fmla="*/ 87258 w 11269336"/>
              <a:gd name="connsiteY263" fmla="*/ 2285511 h 2323145"/>
              <a:gd name="connsiteX264" fmla="*/ 23798 w 11269336"/>
              <a:gd name="connsiteY264" fmla="*/ 2281822 h 2323145"/>
              <a:gd name="connsiteX265" fmla="*/ 0 w 11269336"/>
              <a:gd name="connsiteY265" fmla="*/ 2285369 h 2323145"/>
              <a:gd name="connsiteX266" fmla="*/ 0 w 11269336"/>
              <a:gd name="connsiteY26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028928 w 11269336"/>
              <a:gd name="connsiteY21" fmla="*/ 745350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028928 w 11269336"/>
              <a:gd name="connsiteY21" fmla="*/ 745350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9070855 w 11269336"/>
              <a:gd name="connsiteY23" fmla="*/ 794621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9070855 w 11269336"/>
              <a:gd name="connsiteY23" fmla="*/ 794621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795998 w 11269336"/>
              <a:gd name="connsiteY29" fmla="*/ 863337 h 2323145"/>
              <a:gd name="connsiteX30" fmla="*/ 8776970 w 11269336"/>
              <a:gd name="connsiteY30" fmla="*/ 885177 h 2323145"/>
              <a:gd name="connsiteX31" fmla="*/ 8755719 w 11269336"/>
              <a:gd name="connsiteY31" fmla="*/ 889754 h 2323145"/>
              <a:gd name="connsiteX32" fmla="*/ 8743257 w 11269336"/>
              <a:gd name="connsiteY32" fmla="*/ 904723 h 2323145"/>
              <a:gd name="connsiteX33" fmla="*/ 8721366 w 11269336"/>
              <a:gd name="connsiteY33" fmla="*/ 904711 h 2323145"/>
              <a:gd name="connsiteX34" fmla="*/ 8678353 w 11269336"/>
              <a:gd name="connsiteY34" fmla="*/ 926318 h 2323145"/>
              <a:gd name="connsiteX35" fmla="*/ 8636849 w 11269336"/>
              <a:gd name="connsiteY35" fmla="*/ 937900 h 2323145"/>
              <a:gd name="connsiteX36" fmla="*/ 8620213 w 11269336"/>
              <a:gd name="connsiteY36" fmla="*/ 943068 h 2323145"/>
              <a:gd name="connsiteX37" fmla="*/ 8612581 w 11269336"/>
              <a:gd name="connsiteY37" fmla="*/ 952695 h 2323145"/>
              <a:gd name="connsiteX38" fmla="*/ 8589038 w 11269336"/>
              <a:gd name="connsiteY38" fmla="*/ 963892 h 2323145"/>
              <a:gd name="connsiteX39" fmla="*/ 8579950 w 11269336"/>
              <a:gd name="connsiteY39" fmla="*/ 960899 h 2323145"/>
              <a:gd name="connsiteX40" fmla="*/ 8579319 w 11269336"/>
              <a:gd name="connsiteY40" fmla="*/ 965630 h 2323145"/>
              <a:gd name="connsiteX41" fmla="*/ 8547429 w 11269336"/>
              <a:gd name="connsiteY41" fmla="*/ 984506 h 2323145"/>
              <a:gd name="connsiteX42" fmla="*/ 8478704 w 11269336"/>
              <a:gd name="connsiteY42" fmla="*/ 1025490 h 2323145"/>
              <a:gd name="connsiteX43" fmla="*/ 8461421 w 11269336"/>
              <a:gd name="connsiteY43" fmla="*/ 1035512 h 2323145"/>
              <a:gd name="connsiteX44" fmla="*/ 8445003 w 11269336"/>
              <a:gd name="connsiteY44" fmla="*/ 1036851 h 2323145"/>
              <a:gd name="connsiteX45" fmla="*/ 8357350 w 11269336"/>
              <a:gd name="connsiteY45" fmla="*/ 1060213 h 2323145"/>
              <a:gd name="connsiteX46" fmla="*/ 8335565 w 11269336"/>
              <a:gd name="connsiteY46" fmla="*/ 1061151 h 2323145"/>
              <a:gd name="connsiteX47" fmla="*/ 8325267 w 11269336"/>
              <a:gd name="connsiteY47" fmla="*/ 1055919 h 2323145"/>
              <a:gd name="connsiteX48" fmla="*/ 8293586 w 11269336"/>
              <a:gd name="connsiteY48" fmla="*/ 1076144 h 2323145"/>
              <a:gd name="connsiteX49" fmla="*/ 8242405 w 11269336"/>
              <a:gd name="connsiteY49" fmla="*/ 1095960 h 2323145"/>
              <a:gd name="connsiteX50" fmla="*/ 8197391 w 11269336"/>
              <a:gd name="connsiteY50" fmla="*/ 1107746 h 2323145"/>
              <a:gd name="connsiteX51" fmla="*/ 8081474 w 11269336"/>
              <a:gd name="connsiteY51" fmla="*/ 1130125 h 2323145"/>
              <a:gd name="connsiteX52" fmla="*/ 8053585 w 11269336"/>
              <a:gd name="connsiteY52" fmla="*/ 1129169 h 2323145"/>
              <a:gd name="connsiteX53" fmla="*/ 8038422 w 11269336"/>
              <a:gd name="connsiteY53" fmla="*/ 1119092 h 2323145"/>
              <a:gd name="connsiteX54" fmla="*/ 8029450 w 11269336"/>
              <a:gd name="connsiteY54" fmla="*/ 1125592 h 2323145"/>
              <a:gd name="connsiteX55" fmla="*/ 7959552 w 11269336"/>
              <a:gd name="connsiteY55" fmla="*/ 1140188 h 2323145"/>
              <a:gd name="connsiteX56" fmla="*/ 7914188 w 11269336"/>
              <a:gd name="connsiteY56" fmla="*/ 1150862 h 2323145"/>
              <a:gd name="connsiteX57" fmla="*/ 7914918 w 11269336"/>
              <a:gd name="connsiteY57" fmla="*/ 1168758 h 2323145"/>
              <a:gd name="connsiteX58" fmla="*/ 7875510 w 11269336"/>
              <a:gd name="connsiteY58" fmla="*/ 1183153 h 2323145"/>
              <a:gd name="connsiteX59" fmla="*/ 7829932 w 11269336"/>
              <a:gd name="connsiteY59" fmla="*/ 1180782 h 2323145"/>
              <a:gd name="connsiteX60" fmla="*/ 7779182 w 11269336"/>
              <a:gd name="connsiteY60" fmla="*/ 1192665 h 2323145"/>
              <a:gd name="connsiteX61" fmla="*/ 7748774 w 11269336"/>
              <a:gd name="connsiteY61" fmla="*/ 1199586 h 2323145"/>
              <a:gd name="connsiteX62" fmla="*/ 7671846 w 11269336"/>
              <a:gd name="connsiteY62" fmla="*/ 1231966 h 2323145"/>
              <a:gd name="connsiteX63" fmla="*/ 7554146 w 11269336"/>
              <a:gd name="connsiteY63" fmla="*/ 1319748 h 2323145"/>
              <a:gd name="connsiteX64" fmla="*/ 7515052 w 11269336"/>
              <a:gd name="connsiteY64" fmla="*/ 1336718 h 2323145"/>
              <a:gd name="connsiteX65" fmla="*/ 7507193 w 11269336"/>
              <a:gd name="connsiteY65" fmla="*/ 1334617 h 2323145"/>
              <a:gd name="connsiteX66" fmla="*/ 7461694 w 11269336"/>
              <a:gd name="connsiteY66" fmla="*/ 1375866 h 2323145"/>
              <a:gd name="connsiteX67" fmla="*/ 7377571 w 11269336"/>
              <a:gd name="connsiteY67" fmla="*/ 1400128 h 2323145"/>
              <a:gd name="connsiteX68" fmla="*/ 7311261 w 11269336"/>
              <a:gd name="connsiteY68" fmla="*/ 1412652 h 2323145"/>
              <a:gd name="connsiteX69" fmla="*/ 7275307 w 11269336"/>
              <a:gd name="connsiteY69" fmla="*/ 1422171 h 2323145"/>
              <a:gd name="connsiteX70" fmla="*/ 7247783 w 11269336"/>
              <a:gd name="connsiteY70" fmla="*/ 1426330 h 2323145"/>
              <a:gd name="connsiteX71" fmla="*/ 7185047 w 11269336"/>
              <a:gd name="connsiteY71" fmla="*/ 1451812 h 2323145"/>
              <a:gd name="connsiteX72" fmla="*/ 7084117 w 11269336"/>
              <a:gd name="connsiteY72" fmla="*/ 1500281 h 2323145"/>
              <a:gd name="connsiteX73" fmla="*/ 7062011 w 11269336"/>
              <a:gd name="connsiteY73" fmla="*/ 1509183 h 2323145"/>
              <a:gd name="connsiteX74" fmla="*/ 7040555 w 11269336"/>
              <a:gd name="connsiteY74" fmla="*/ 1511207 h 2323145"/>
              <a:gd name="connsiteX75" fmla="*/ 7033438 w 11269336"/>
              <a:gd name="connsiteY75" fmla="*/ 1506772 h 2323145"/>
              <a:gd name="connsiteX76" fmla="*/ 7020886 w 11269336"/>
              <a:gd name="connsiteY76" fmla="*/ 1510764 h 2323145"/>
              <a:gd name="connsiteX77" fmla="*/ 7017033 w 11269336"/>
              <a:gd name="connsiteY77" fmla="*/ 1510650 h 2323145"/>
              <a:gd name="connsiteX78" fmla="*/ 6995460 w 11269336"/>
              <a:gd name="connsiteY78" fmla="*/ 1511173 h 2323145"/>
              <a:gd name="connsiteX79" fmla="*/ 6962144 w 11269336"/>
              <a:gd name="connsiteY79" fmla="*/ 1541508 h 2323145"/>
              <a:gd name="connsiteX80" fmla="*/ 6910674 w 11269336"/>
              <a:gd name="connsiteY80" fmla="*/ 1554793 h 2323145"/>
              <a:gd name="connsiteX81" fmla="*/ 6732152 w 11269336"/>
              <a:gd name="connsiteY81" fmla="*/ 1642538 h 2323145"/>
              <a:gd name="connsiteX82" fmla="*/ 6694106 w 11269336"/>
              <a:gd name="connsiteY82" fmla="*/ 1632377 h 2323145"/>
              <a:gd name="connsiteX83" fmla="*/ 6617223 w 11269336"/>
              <a:gd name="connsiteY83" fmla="*/ 1659889 h 2323145"/>
              <a:gd name="connsiteX84" fmla="*/ 6521138 w 11269336"/>
              <a:gd name="connsiteY84" fmla="*/ 1744340 h 2323145"/>
              <a:gd name="connsiteX85" fmla="*/ 6380677 w 11269336"/>
              <a:gd name="connsiteY85" fmla="*/ 1796883 h 2323145"/>
              <a:gd name="connsiteX86" fmla="*/ 6374897 w 11269336"/>
              <a:gd name="connsiteY86" fmla="*/ 1809910 h 2323145"/>
              <a:gd name="connsiteX87" fmla="*/ 6364545 w 11269336"/>
              <a:gd name="connsiteY87" fmla="*/ 1820090 h 2323145"/>
              <a:gd name="connsiteX88" fmla="*/ 6362126 w 11269336"/>
              <a:gd name="connsiteY88" fmla="*/ 1819991 h 2323145"/>
              <a:gd name="connsiteX89" fmla="*/ 6346673 w 11269336"/>
              <a:gd name="connsiteY89" fmla="*/ 1827824 h 2323145"/>
              <a:gd name="connsiteX90" fmla="*/ 6345588 w 11269336"/>
              <a:gd name="connsiteY90" fmla="*/ 1832232 h 2323145"/>
              <a:gd name="connsiteX91" fmla="*/ 6335708 w 11269336"/>
              <a:gd name="connsiteY91" fmla="*/ 1838451 h 2323145"/>
              <a:gd name="connsiteX92" fmla="*/ 6318182 w 11269336"/>
              <a:gd name="connsiteY92" fmla="*/ 1852975 h 2323145"/>
              <a:gd name="connsiteX93" fmla="*/ 6313084 w 11269336"/>
              <a:gd name="connsiteY93" fmla="*/ 1853561 h 2323145"/>
              <a:gd name="connsiteX94" fmla="*/ 6283816 w 11269336"/>
              <a:gd name="connsiteY94" fmla="*/ 1872148 h 2323145"/>
              <a:gd name="connsiteX95" fmla="*/ 6282550 w 11269336"/>
              <a:gd name="connsiteY95" fmla="*/ 1871392 h 2323145"/>
              <a:gd name="connsiteX96" fmla="*/ 6270527 w 11269336"/>
              <a:gd name="connsiteY96" fmla="*/ 1872208 h 2323145"/>
              <a:gd name="connsiteX97" fmla="*/ 6249518 w 11269336"/>
              <a:gd name="connsiteY97" fmla="*/ 1876079 h 2323145"/>
              <a:gd name="connsiteX98" fmla="*/ 6190386 w 11269336"/>
              <a:gd name="connsiteY98" fmla="*/ 1872478 h 2323145"/>
              <a:gd name="connsiteX99" fmla="*/ 6159777 w 11269336"/>
              <a:gd name="connsiteY99" fmla="*/ 1891745 h 2323145"/>
              <a:gd name="connsiteX100" fmla="*/ 6153131 w 11269336"/>
              <a:gd name="connsiteY100" fmla="*/ 1895079 h 2323145"/>
              <a:gd name="connsiteX101" fmla="*/ 6152798 w 11269336"/>
              <a:gd name="connsiteY101" fmla="*/ 1894920 h 2323145"/>
              <a:gd name="connsiteX102" fmla="*/ 6145388 w 11269336"/>
              <a:gd name="connsiteY102" fmla="*/ 1897990 h 2323145"/>
              <a:gd name="connsiteX103" fmla="*/ 6141014 w 11269336"/>
              <a:gd name="connsiteY103" fmla="*/ 1901155 h 2323145"/>
              <a:gd name="connsiteX104" fmla="*/ 6128122 w 11269336"/>
              <a:gd name="connsiteY104" fmla="*/ 1907623 h 2323145"/>
              <a:gd name="connsiteX105" fmla="*/ 6122351 w 11269336"/>
              <a:gd name="connsiteY105" fmla="*/ 1908359 h 2323145"/>
              <a:gd name="connsiteX106" fmla="*/ 6064750 w 11269336"/>
              <a:gd name="connsiteY106" fmla="*/ 1896394 h 2323145"/>
              <a:gd name="connsiteX107" fmla="*/ 5964230 w 11269336"/>
              <a:gd name="connsiteY107" fmla="*/ 1910038 h 2323145"/>
              <a:gd name="connsiteX108" fmla="*/ 5865399 w 11269336"/>
              <a:gd name="connsiteY108" fmla="*/ 1926966 h 2323145"/>
              <a:gd name="connsiteX109" fmla="*/ 5829951 w 11269336"/>
              <a:gd name="connsiteY109" fmla="*/ 1934755 h 2323145"/>
              <a:gd name="connsiteX110" fmla="*/ 5765285 w 11269336"/>
              <a:gd name="connsiteY110" fmla="*/ 1941322 h 2323145"/>
              <a:gd name="connsiteX111" fmla="*/ 5734750 w 11269336"/>
              <a:gd name="connsiteY111" fmla="*/ 1939793 h 2323145"/>
              <a:gd name="connsiteX112" fmla="*/ 5733569 w 11269336"/>
              <a:gd name="connsiteY112" fmla="*/ 1940505 h 2323145"/>
              <a:gd name="connsiteX113" fmla="*/ 5730329 w 11269336"/>
              <a:gd name="connsiteY113" fmla="*/ 1937845 h 2323145"/>
              <a:gd name="connsiteX114" fmla="*/ 5724661 w 11269336"/>
              <a:gd name="connsiteY114" fmla="*/ 1937455 h 2323145"/>
              <a:gd name="connsiteX115" fmla="*/ 5710186 w 11269336"/>
              <a:gd name="connsiteY115" fmla="*/ 1941370 h 2323145"/>
              <a:gd name="connsiteX116" fmla="*/ 5704910 w 11269336"/>
              <a:gd name="connsiteY116" fmla="*/ 1943663 h 2323145"/>
              <a:gd name="connsiteX117" fmla="*/ 5696836 w 11269336"/>
              <a:gd name="connsiteY117" fmla="*/ 1945271 h 2323145"/>
              <a:gd name="connsiteX118" fmla="*/ 5696583 w 11269336"/>
              <a:gd name="connsiteY118" fmla="*/ 1945050 h 2323145"/>
              <a:gd name="connsiteX119" fmla="*/ 5689123 w 11269336"/>
              <a:gd name="connsiteY119" fmla="*/ 1947067 h 2323145"/>
              <a:gd name="connsiteX120" fmla="*/ 5653291 w 11269336"/>
              <a:gd name="connsiteY120" fmla="*/ 1960245 h 2323145"/>
              <a:gd name="connsiteX121" fmla="*/ 5599385 w 11269336"/>
              <a:gd name="connsiteY121" fmla="*/ 1945198 h 2323145"/>
              <a:gd name="connsiteX122" fmla="*/ 5578300 w 11269336"/>
              <a:gd name="connsiteY122" fmla="*/ 1944963 h 2323145"/>
              <a:gd name="connsiteX123" fmla="*/ 5566758 w 11269336"/>
              <a:gd name="connsiteY123" fmla="*/ 1943441 h 2323145"/>
              <a:gd name="connsiteX124" fmla="*/ 5565857 w 11269336"/>
              <a:gd name="connsiteY124" fmla="*/ 1942445 h 2323145"/>
              <a:gd name="connsiteX125" fmla="*/ 5531534 w 11269336"/>
              <a:gd name="connsiteY125" fmla="*/ 1955208 h 2323145"/>
              <a:gd name="connsiteX126" fmla="*/ 5526552 w 11269336"/>
              <a:gd name="connsiteY126" fmla="*/ 1954799 h 2323145"/>
              <a:gd name="connsiteX127" fmla="*/ 5504723 w 11269336"/>
              <a:gd name="connsiteY127" fmla="*/ 1965811 h 2323145"/>
              <a:gd name="connsiteX128" fmla="*/ 5493156 w 11269336"/>
              <a:gd name="connsiteY128" fmla="*/ 1970063 h 2323145"/>
              <a:gd name="connsiteX129" fmla="*/ 5490486 w 11269336"/>
              <a:gd name="connsiteY129" fmla="*/ 1974227 h 2323145"/>
              <a:gd name="connsiteX130" fmla="*/ 5473107 w 11269336"/>
              <a:gd name="connsiteY130" fmla="*/ 1979001 h 2323145"/>
              <a:gd name="connsiteX131" fmla="*/ 5470885 w 11269336"/>
              <a:gd name="connsiteY131" fmla="*/ 1978432 h 2323145"/>
              <a:gd name="connsiteX132" fmla="*/ 5457393 w 11269336"/>
              <a:gd name="connsiteY132" fmla="*/ 1986525 h 2323145"/>
              <a:gd name="connsiteX133" fmla="*/ 5447102 w 11269336"/>
              <a:gd name="connsiteY133" fmla="*/ 1998329 h 2323145"/>
              <a:gd name="connsiteX134" fmla="*/ 5159151 w 11269336"/>
              <a:gd name="connsiteY134" fmla="*/ 2029640 h 2323145"/>
              <a:gd name="connsiteX135" fmla="*/ 5041688 w 11269336"/>
              <a:gd name="connsiteY135" fmla="*/ 2022334 h 2323145"/>
              <a:gd name="connsiteX136" fmla="*/ 4860988 w 11269336"/>
              <a:gd name="connsiteY136" fmla="*/ 2135698 h 2323145"/>
              <a:gd name="connsiteX137" fmla="*/ 4807902 w 11269336"/>
              <a:gd name="connsiteY137" fmla="*/ 2138894 h 2323145"/>
              <a:gd name="connsiteX138" fmla="*/ 4765388 w 11269336"/>
              <a:gd name="connsiteY138" fmla="*/ 2162525 h 2323145"/>
              <a:gd name="connsiteX139" fmla="*/ 4745033 w 11269336"/>
              <a:gd name="connsiteY139" fmla="*/ 2158859 h 2323145"/>
              <a:gd name="connsiteX140" fmla="*/ 4741475 w 11269336"/>
              <a:gd name="connsiteY140" fmla="*/ 2157998 h 2323145"/>
              <a:gd name="connsiteX141" fmla="*/ 4728247 w 11269336"/>
              <a:gd name="connsiteY141" fmla="*/ 2159526 h 2323145"/>
              <a:gd name="connsiteX142" fmla="*/ 4723263 w 11269336"/>
              <a:gd name="connsiteY142" fmla="*/ 2153742 h 2323145"/>
              <a:gd name="connsiteX143" fmla="*/ 4702453 w 11269336"/>
              <a:gd name="connsiteY143" fmla="*/ 2151586 h 2323145"/>
              <a:gd name="connsiteX144" fmla="*/ 4678455 w 11269336"/>
              <a:gd name="connsiteY144" fmla="*/ 2156131 h 2323145"/>
              <a:gd name="connsiteX145" fmla="*/ 4593061 w 11269336"/>
              <a:gd name="connsiteY145" fmla="*/ 2171597 h 2323145"/>
              <a:gd name="connsiteX146" fmla="*/ 4579902 w 11269336"/>
              <a:gd name="connsiteY146" fmla="*/ 2177927 h 2323145"/>
              <a:gd name="connsiteX147" fmla="*/ 4533444 w 11269336"/>
              <a:gd name="connsiteY147" fmla="*/ 2181200 h 2323145"/>
              <a:gd name="connsiteX148" fmla="*/ 4492832 w 11269336"/>
              <a:gd name="connsiteY148" fmla="*/ 2188033 h 2323145"/>
              <a:gd name="connsiteX149" fmla="*/ 4467257 w 11269336"/>
              <a:gd name="connsiteY149" fmla="*/ 2196121 h 2323145"/>
              <a:gd name="connsiteX150" fmla="*/ 4459937 w 11269336"/>
              <a:gd name="connsiteY150" fmla="*/ 2195182 h 2323145"/>
              <a:gd name="connsiteX151" fmla="*/ 4433312 w 11269336"/>
              <a:gd name="connsiteY151" fmla="*/ 2199004 h 2323145"/>
              <a:gd name="connsiteX152" fmla="*/ 4420601 w 11269336"/>
              <a:gd name="connsiteY152" fmla="*/ 2205158 h 2323145"/>
              <a:gd name="connsiteX153" fmla="*/ 4405765 w 11269336"/>
              <a:gd name="connsiteY153" fmla="*/ 2199902 h 2323145"/>
              <a:gd name="connsiteX154" fmla="*/ 4401354 w 11269336"/>
              <a:gd name="connsiteY154" fmla="*/ 2194745 h 2323145"/>
              <a:gd name="connsiteX155" fmla="*/ 4383151 w 11269336"/>
              <a:gd name="connsiteY155" fmla="*/ 2201140 h 2323145"/>
              <a:gd name="connsiteX156" fmla="*/ 4366646 w 11269336"/>
              <a:gd name="connsiteY156" fmla="*/ 2198564 h 2323145"/>
              <a:gd name="connsiteX157" fmla="*/ 4354009 w 11269336"/>
              <a:gd name="connsiteY157" fmla="*/ 2204984 h 2323145"/>
              <a:gd name="connsiteX158" fmla="*/ 4348284 w 11269336"/>
              <a:gd name="connsiteY158" fmla="*/ 2205270 h 2323145"/>
              <a:gd name="connsiteX159" fmla="*/ 4333906 w 11269336"/>
              <a:gd name="connsiteY159" fmla="*/ 2205251 h 2323145"/>
              <a:gd name="connsiteX160" fmla="*/ 4308819 w 11269336"/>
              <a:gd name="connsiteY160" fmla="*/ 2203822 h 2323145"/>
              <a:gd name="connsiteX161" fmla="*/ 4301210 w 11269336"/>
              <a:gd name="connsiteY161" fmla="*/ 2204456 h 2323145"/>
              <a:gd name="connsiteX162" fmla="*/ 4283095 w 11269336"/>
              <a:gd name="connsiteY162" fmla="*/ 2198177 h 2323145"/>
              <a:gd name="connsiteX163" fmla="*/ 4250119 w 11269336"/>
              <a:gd name="connsiteY163" fmla="*/ 2196342 h 2323145"/>
              <a:gd name="connsiteX164" fmla="*/ 4189203 w 11269336"/>
              <a:gd name="connsiteY164" fmla="*/ 2178994 h 2323145"/>
              <a:gd name="connsiteX165" fmla="*/ 4154035 w 11269336"/>
              <a:gd name="connsiteY165" fmla="*/ 2171950 h 2323145"/>
              <a:gd name="connsiteX166" fmla="*/ 4129569 w 11269336"/>
              <a:gd name="connsiteY166" fmla="*/ 2163850 h 2323145"/>
              <a:gd name="connsiteX167" fmla="*/ 4061250 w 11269336"/>
              <a:gd name="connsiteY167" fmla="*/ 2159236 h 2323145"/>
              <a:gd name="connsiteX168" fmla="*/ 3945480 w 11269336"/>
              <a:gd name="connsiteY168" fmla="*/ 2158279 h 2323145"/>
              <a:gd name="connsiteX169" fmla="*/ 3921468 w 11269336"/>
              <a:gd name="connsiteY169" fmla="*/ 2156588 h 2323145"/>
              <a:gd name="connsiteX170" fmla="*/ 3903348 w 11269336"/>
              <a:gd name="connsiteY170" fmla="*/ 2149220 h 2323145"/>
              <a:gd name="connsiteX171" fmla="*/ 3901342 w 11269336"/>
              <a:gd name="connsiteY171" fmla="*/ 2142355 h 2323145"/>
              <a:gd name="connsiteX172" fmla="*/ 3888539 w 11269336"/>
              <a:gd name="connsiteY172" fmla="*/ 2140476 h 2323145"/>
              <a:gd name="connsiteX173" fmla="*/ 3885662 w 11269336"/>
              <a:gd name="connsiteY173" fmla="*/ 2138740 h 2323145"/>
              <a:gd name="connsiteX174" fmla="*/ 3868627 w 11269336"/>
              <a:gd name="connsiteY174" fmla="*/ 2130023 h 2323145"/>
              <a:gd name="connsiteX175" fmla="*/ 3819177 w 11269336"/>
              <a:gd name="connsiteY175" fmla="*/ 2142111 h 2323145"/>
              <a:gd name="connsiteX176" fmla="*/ 3769100 w 11269336"/>
              <a:gd name="connsiteY176" fmla="*/ 2131731 h 2323145"/>
              <a:gd name="connsiteX177" fmla="*/ 3562752 w 11269336"/>
              <a:gd name="connsiteY177" fmla="*/ 2131785 h 2323145"/>
              <a:gd name="connsiteX178" fmla="*/ 3541402 w 11269336"/>
              <a:gd name="connsiteY178" fmla="*/ 2106821 h 2323145"/>
              <a:gd name="connsiteX179" fmla="*/ 3365341 w 11269336"/>
              <a:gd name="connsiteY179" fmla="*/ 2077638 h 2323145"/>
              <a:gd name="connsiteX180" fmla="*/ 3170922 w 11269336"/>
              <a:gd name="connsiteY180" fmla="*/ 2115957 h 2323145"/>
              <a:gd name="connsiteX181" fmla="*/ 3156256 w 11269336"/>
              <a:gd name="connsiteY181" fmla="*/ 2124773 h 2323145"/>
              <a:gd name="connsiteX182" fmla="*/ 3140298 w 11269336"/>
              <a:gd name="connsiteY182" fmla="*/ 2129182 h 2323145"/>
              <a:gd name="connsiteX183" fmla="*/ 3138514 w 11269336"/>
              <a:gd name="connsiteY183" fmla="*/ 2128069 h 2323145"/>
              <a:gd name="connsiteX184" fmla="*/ 3120467 w 11269336"/>
              <a:gd name="connsiteY184" fmla="*/ 2128281 h 2323145"/>
              <a:gd name="connsiteX185" fmla="*/ 3116175 w 11269336"/>
              <a:gd name="connsiteY185" fmla="*/ 2131633 h 2323145"/>
              <a:gd name="connsiteX186" fmla="*/ 3103685 w 11269336"/>
              <a:gd name="connsiteY186" fmla="*/ 2132814 h 2323145"/>
              <a:gd name="connsiteX187" fmla="*/ 3078794 w 11269336"/>
              <a:gd name="connsiteY187" fmla="*/ 2137935 h 2323145"/>
              <a:gd name="connsiteX188" fmla="*/ 3074407 w 11269336"/>
              <a:gd name="connsiteY188" fmla="*/ 2136274 h 2323145"/>
              <a:gd name="connsiteX189" fmla="*/ 3037285 w 11269336"/>
              <a:gd name="connsiteY189" fmla="*/ 2139919 h 2323145"/>
              <a:gd name="connsiteX190" fmla="*/ 3036901 w 11269336"/>
              <a:gd name="connsiteY190" fmla="*/ 2138726 h 2323145"/>
              <a:gd name="connsiteX191" fmla="*/ 3026996 w 11269336"/>
              <a:gd name="connsiteY191" fmla="*/ 2134322 h 2323145"/>
              <a:gd name="connsiteX192" fmla="*/ 3007772 w 11269336"/>
              <a:gd name="connsiteY192" fmla="*/ 2128742 h 2323145"/>
              <a:gd name="connsiteX193" fmla="*/ 2965030 w 11269336"/>
              <a:gd name="connsiteY193" fmla="*/ 2100494 h 2323145"/>
              <a:gd name="connsiteX194" fmla="*/ 2926342 w 11269336"/>
              <a:gd name="connsiteY194" fmla="*/ 2104155 h 2323145"/>
              <a:gd name="connsiteX195" fmla="*/ 2918608 w 11269336"/>
              <a:gd name="connsiteY195" fmla="*/ 2104215 h 2323145"/>
              <a:gd name="connsiteX196" fmla="*/ 2918475 w 11269336"/>
              <a:gd name="connsiteY196" fmla="*/ 2103937 h 2323145"/>
              <a:gd name="connsiteX197" fmla="*/ 2910360 w 11269336"/>
              <a:gd name="connsiteY197" fmla="*/ 2103444 h 2323145"/>
              <a:gd name="connsiteX198" fmla="*/ 2904507 w 11269336"/>
              <a:gd name="connsiteY198" fmla="*/ 2104326 h 2323145"/>
              <a:gd name="connsiteX199" fmla="*/ 2889503 w 11269336"/>
              <a:gd name="connsiteY199" fmla="*/ 2104443 h 2323145"/>
              <a:gd name="connsiteX200" fmla="*/ 2884480 w 11269336"/>
              <a:gd name="connsiteY200" fmla="*/ 2102626 h 2323145"/>
              <a:gd name="connsiteX201" fmla="*/ 2882689 w 11269336"/>
              <a:gd name="connsiteY201" fmla="*/ 2099228 h 2323145"/>
              <a:gd name="connsiteX202" fmla="*/ 2881291 w 11269336"/>
              <a:gd name="connsiteY202" fmla="*/ 2099618 h 2323145"/>
              <a:gd name="connsiteX203" fmla="*/ 2853979 w 11269336"/>
              <a:gd name="connsiteY203" fmla="*/ 2090388 h 2323145"/>
              <a:gd name="connsiteX204" fmla="*/ 2791790 w 11269336"/>
              <a:gd name="connsiteY204" fmla="*/ 2080332 h 2323145"/>
              <a:gd name="connsiteX205" fmla="*/ 2755844 w 11269336"/>
              <a:gd name="connsiteY205" fmla="*/ 2078874 h 2323145"/>
              <a:gd name="connsiteX206" fmla="*/ 2657742 w 11269336"/>
              <a:gd name="connsiteY206" fmla="*/ 2070179 h 2323145"/>
              <a:gd name="connsiteX207" fmla="*/ 2559549 w 11269336"/>
              <a:gd name="connsiteY207" fmla="*/ 2057873 h 2323145"/>
              <a:gd name="connsiteX208" fmla="*/ 2512054 w 11269336"/>
              <a:gd name="connsiteY208" fmla="*/ 2031671 h 2323145"/>
              <a:gd name="connsiteX209" fmla="*/ 2506437 w 11269336"/>
              <a:gd name="connsiteY209" fmla="*/ 2030918 h 2323145"/>
              <a:gd name="connsiteX210" fmla="*/ 2491752 w 11269336"/>
              <a:gd name="connsiteY210" fmla="*/ 2033906 h 2323145"/>
              <a:gd name="connsiteX211" fmla="*/ 2486338 w 11269336"/>
              <a:gd name="connsiteY211" fmla="*/ 2035862 h 2323145"/>
              <a:gd name="connsiteX212" fmla="*/ 2478186 w 11269336"/>
              <a:gd name="connsiteY212" fmla="*/ 2036953 h 2323145"/>
              <a:gd name="connsiteX213" fmla="*/ 2477950 w 11269336"/>
              <a:gd name="connsiteY213" fmla="*/ 2036715 h 2323145"/>
              <a:gd name="connsiteX214" fmla="*/ 2470381 w 11269336"/>
              <a:gd name="connsiteY214" fmla="*/ 2038256 h 2323145"/>
              <a:gd name="connsiteX215" fmla="*/ 2433781 w 11269336"/>
              <a:gd name="connsiteY215" fmla="*/ 2049140 h 2323145"/>
              <a:gd name="connsiteX216" fmla="*/ 2381172 w 11269336"/>
              <a:gd name="connsiteY216" fmla="*/ 2030645 h 2323145"/>
              <a:gd name="connsiteX217" fmla="*/ 2360198 w 11269336"/>
              <a:gd name="connsiteY217" fmla="*/ 2029059 h 2323145"/>
              <a:gd name="connsiteX218" fmla="*/ 2348815 w 11269336"/>
              <a:gd name="connsiteY218" fmla="*/ 2026798 h 2323145"/>
              <a:gd name="connsiteX219" fmla="*/ 2347988 w 11269336"/>
              <a:gd name="connsiteY219" fmla="*/ 2025745 h 2323145"/>
              <a:gd name="connsiteX220" fmla="*/ 2312920 w 11269336"/>
              <a:gd name="connsiteY220" fmla="*/ 2036311 h 2323145"/>
              <a:gd name="connsiteX221" fmla="*/ 2307986 w 11269336"/>
              <a:gd name="connsiteY221" fmla="*/ 2035583 h 2323145"/>
              <a:gd name="connsiteX222" fmla="*/ 2285481 w 11269336"/>
              <a:gd name="connsiteY222" fmla="*/ 2045197 h 2323145"/>
              <a:gd name="connsiteX223" fmla="*/ 2273666 w 11269336"/>
              <a:gd name="connsiteY223" fmla="*/ 2048710 h 2323145"/>
              <a:gd name="connsiteX224" fmla="*/ 2270719 w 11269336"/>
              <a:gd name="connsiteY224" fmla="*/ 2052702 h 2323145"/>
              <a:gd name="connsiteX225" fmla="*/ 2253080 w 11269336"/>
              <a:gd name="connsiteY225" fmla="*/ 2056363 h 2323145"/>
              <a:gd name="connsiteX226" fmla="*/ 2250906 w 11269336"/>
              <a:gd name="connsiteY226" fmla="*/ 2055654 h 2323145"/>
              <a:gd name="connsiteX227" fmla="*/ 2236905 w 11269336"/>
              <a:gd name="connsiteY227" fmla="*/ 2062882 h 2323145"/>
              <a:gd name="connsiteX228" fmla="*/ 2225830 w 11269336"/>
              <a:gd name="connsiteY228" fmla="*/ 2074027 h 2323145"/>
              <a:gd name="connsiteX229" fmla="*/ 2073776 w 11269336"/>
              <a:gd name="connsiteY229" fmla="*/ 2089244 h 2323145"/>
              <a:gd name="connsiteX230" fmla="*/ 1948256 w 11269336"/>
              <a:gd name="connsiteY230" fmla="*/ 2146616 h 2323145"/>
              <a:gd name="connsiteX231" fmla="*/ 1865582 w 11269336"/>
              <a:gd name="connsiteY231" fmla="*/ 2153738 h 2323145"/>
              <a:gd name="connsiteX232" fmla="*/ 1835210 w 11269336"/>
              <a:gd name="connsiteY232" fmla="*/ 2134244 h 2323145"/>
              <a:gd name="connsiteX233" fmla="*/ 1632661 w 11269336"/>
              <a:gd name="connsiteY233" fmla="*/ 2173882 h 2323145"/>
              <a:gd name="connsiteX234" fmla="*/ 1579590 w 11269336"/>
              <a:gd name="connsiteY234" fmla="*/ 2173680 h 2323145"/>
              <a:gd name="connsiteX235" fmla="*/ 1535601 w 11269336"/>
              <a:gd name="connsiteY235" fmla="*/ 2194590 h 2323145"/>
              <a:gd name="connsiteX236" fmla="*/ 1515594 w 11269336"/>
              <a:gd name="connsiteY236" fmla="*/ 2189622 h 2323145"/>
              <a:gd name="connsiteX237" fmla="*/ 1512113 w 11269336"/>
              <a:gd name="connsiteY237" fmla="*/ 2188534 h 2323145"/>
              <a:gd name="connsiteX238" fmla="*/ 1498838 w 11269336"/>
              <a:gd name="connsiteY238" fmla="*/ 2189213 h 2323145"/>
              <a:gd name="connsiteX239" fmla="*/ 1494279 w 11269336"/>
              <a:gd name="connsiteY239" fmla="*/ 2183112 h 2323145"/>
              <a:gd name="connsiteX240" fmla="*/ 1473714 w 11269336"/>
              <a:gd name="connsiteY240" fmla="*/ 2179625 h 2323145"/>
              <a:gd name="connsiteX241" fmla="*/ 1449503 w 11269336"/>
              <a:gd name="connsiteY241" fmla="*/ 2182633 h 2323145"/>
              <a:gd name="connsiteX242" fmla="*/ 1266687 w 11269336"/>
              <a:gd name="connsiteY242" fmla="*/ 2212688 h 2323145"/>
              <a:gd name="connsiteX243" fmla="*/ 1239614 w 11269336"/>
              <a:gd name="connsiteY243" fmla="*/ 2209727 h 2323145"/>
              <a:gd name="connsiteX244" fmla="*/ 1202436 w 11269336"/>
              <a:gd name="connsiteY244" fmla="*/ 2209817 h 2323145"/>
              <a:gd name="connsiteX245" fmla="*/ 1136097 w 11269336"/>
              <a:gd name="connsiteY245" fmla="*/ 2205112 h 2323145"/>
              <a:gd name="connsiteX246" fmla="*/ 988232 w 11269336"/>
              <a:gd name="connsiteY246" fmla="*/ 2235635 h 2323145"/>
              <a:gd name="connsiteX247" fmla="*/ 981959 w 11269336"/>
              <a:gd name="connsiteY247" fmla="*/ 2231607 h 2323145"/>
              <a:gd name="connsiteX248" fmla="*/ 938600 w 11269336"/>
              <a:gd name="connsiteY248" fmla="*/ 2238113 h 2323145"/>
              <a:gd name="connsiteX249" fmla="*/ 791788 w 11269336"/>
              <a:gd name="connsiteY249" fmla="*/ 2293224 h 2323145"/>
              <a:gd name="connsiteX250" fmla="*/ 706914 w 11269336"/>
              <a:gd name="connsiteY250" fmla="*/ 2305046 h 2323145"/>
              <a:gd name="connsiteX251" fmla="*/ 675971 w 11269336"/>
              <a:gd name="connsiteY251" fmla="*/ 2304030 h 2323145"/>
              <a:gd name="connsiteX252" fmla="*/ 624180 w 11269336"/>
              <a:gd name="connsiteY252" fmla="*/ 2302650 h 2323145"/>
              <a:gd name="connsiteX253" fmla="*/ 583453 w 11269336"/>
              <a:gd name="connsiteY253" fmla="*/ 2288788 h 2323145"/>
              <a:gd name="connsiteX254" fmla="*/ 540946 w 11269336"/>
              <a:gd name="connsiteY254" fmla="*/ 2292721 h 2323145"/>
              <a:gd name="connsiteX255" fmla="*/ 533680 w 11269336"/>
              <a:gd name="connsiteY255" fmla="*/ 2310233 h 2323145"/>
              <a:gd name="connsiteX256" fmla="*/ 487366 w 11269336"/>
              <a:gd name="connsiteY256" fmla="*/ 2309053 h 2323145"/>
              <a:gd name="connsiteX257" fmla="*/ 416820 w 11269336"/>
              <a:gd name="connsiteY257" fmla="*/ 2305443 h 2323145"/>
              <a:gd name="connsiteX258" fmla="*/ 376805 w 11269336"/>
              <a:gd name="connsiteY258" fmla="*/ 2307647 h 2323145"/>
              <a:gd name="connsiteX259" fmla="*/ 266777 w 11269336"/>
              <a:gd name="connsiteY259" fmla="*/ 2309012 h 2323145"/>
              <a:gd name="connsiteX260" fmla="*/ 156013 w 11269336"/>
              <a:gd name="connsiteY260" fmla="*/ 2306832 h 2323145"/>
              <a:gd name="connsiteX261" fmla="*/ 87258 w 11269336"/>
              <a:gd name="connsiteY261" fmla="*/ 2285511 h 2323145"/>
              <a:gd name="connsiteX262" fmla="*/ 23798 w 11269336"/>
              <a:gd name="connsiteY262" fmla="*/ 2281822 h 2323145"/>
              <a:gd name="connsiteX263" fmla="*/ 0 w 11269336"/>
              <a:gd name="connsiteY263" fmla="*/ 2285369 h 2323145"/>
              <a:gd name="connsiteX264" fmla="*/ 0 w 11269336"/>
              <a:gd name="connsiteY264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8914746 w 11269336"/>
              <a:gd name="connsiteY23" fmla="*/ 826428 h 2323145"/>
              <a:gd name="connsiteX24" fmla="*/ 8917778 w 11269336"/>
              <a:gd name="connsiteY24" fmla="*/ 835198 h 2323145"/>
              <a:gd name="connsiteX25" fmla="*/ 8905560 w 11269336"/>
              <a:gd name="connsiteY25" fmla="*/ 838358 h 2323145"/>
              <a:gd name="connsiteX26" fmla="*/ 8897564 w 11269336"/>
              <a:gd name="connsiteY26" fmla="*/ 834287 h 2323145"/>
              <a:gd name="connsiteX27" fmla="*/ 8878040 w 11269336"/>
              <a:gd name="connsiteY27" fmla="*/ 844150 h 2323145"/>
              <a:gd name="connsiteX28" fmla="*/ 8795998 w 11269336"/>
              <a:gd name="connsiteY28" fmla="*/ 863337 h 2323145"/>
              <a:gd name="connsiteX29" fmla="*/ 8776970 w 11269336"/>
              <a:gd name="connsiteY29" fmla="*/ 885177 h 2323145"/>
              <a:gd name="connsiteX30" fmla="*/ 8755719 w 11269336"/>
              <a:gd name="connsiteY30" fmla="*/ 889754 h 2323145"/>
              <a:gd name="connsiteX31" fmla="*/ 8743257 w 11269336"/>
              <a:gd name="connsiteY31" fmla="*/ 904723 h 2323145"/>
              <a:gd name="connsiteX32" fmla="*/ 8721366 w 11269336"/>
              <a:gd name="connsiteY32" fmla="*/ 904711 h 2323145"/>
              <a:gd name="connsiteX33" fmla="*/ 8678353 w 11269336"/>
              <a:gd name="connsiteY33" fmla="*/ 926318 h 2323145"/>
              <a:gd name="connsiteX34" fmla="*/ 8636849 w 11269336"/>
              <a:gd name="connsiteY34" fmla="*/ 937900 h 2323145"/>
              <a:gd name="connsiteX35" fmla="*/ 8620213 w 11269336"/>
              <a:gd name="connsiteY35" fmla="*/ 943068 h 2323145"/>
              <a:gd name="connsiteX36" fmla="*/ 8612581 w 11269336"/>
              <a:gd name="connsiteY36" fmla="*/ 952695 h 2323145"/>
              <a:gd name="connsiteX37" fmla="*/ 8589038 w 11269336"/>
              <a:gd name="connsiteY37" fmla="*/ 963892 h 2323145"/>
              <a:gd name="connsiteX38" fmla="*/ 8579950 w 11269336"/>
              <a:gd name="connsiteY38" fmla="*/ 960899 h 2323145"/>
              <a:gd name="connsiteX39" fmla="*/ 8579319 w 11269336"/>
              <a:gd name="connsiteY39" fmla="*/ 965630 h 2323145"/>
              <a:gd name="connsiteX40" fmla="*/ 8547429 w 11269336"/>
              <a:gd name="connsiteY40" fmla="*/ 984506 h 2323145"/>
              <a:gd name="connsiteX41" fmla="*/ 8478704 w 11269336"/>
              <a:gd name="connsiteY41" fmla="*/ 1025490 h 2323145"/>
              <a:gd name="connsiteX42" fmla="*/ 8461421 w 11269336"/>
              <a:gd name="connsiteY42" fmla="*/ 1035512 h 2323145"/>
              <a:gd name="connsiteX43" fmla="*/ 8445003 w 11269336"/>
              <a:gd name="connsiteY43" fmla="*/ 1036851 h 2323145"/>
              <a:gd name="connsiteX44" fmla="*/ 8357350 w 11269336"/>
              <a:gd name="connsiteY44" fmla="*/ 1060213 h 2323145"/>
              <a:gd name="connsiteX45" fmla="*/ 8335565 w 11269336"/>
              <a:gd name="connsiteY45" fmla="*/ 1061151 h 2323145"/>
              <a:gd name="connsiteX46" fmla="*/ 8325267 w 11269336"/>
              <a:gd name="connsiteY46" fmla="*/ 1055919 h 2323145"/>
              <a:gd name="connsiteX47" fmla="*/ 8293586 w 11269336"/>
              <a:gd name="connsiteY47" fmla="*/ 1076144 h 2323145"/>
              <a:gd name="connsiteX48" fmla="*/ 8242405 w 11269336"/>
              <a:gd name="connsiteY48" fmla="*/ 1095960 h 2323145"/>
              <a:gd name="connsiteX49" fmla="*/ 8197391 w 11269336"/>
              <a:gd name="connsiteY49" fmla="*/ 1107746 h 2323145"/>
              <a:gd name="connsiteX50" fmla="*/ 8081474 w 11269336"/>
              <a:gd name="connsiteY50" fmla="*/ 1130125 h 2323145"/>
              <a:gd name="connsiteX51" fmla="*/ 8053585 w 11269336"/>
              <a:gd name="connsiteY51" fmla="*/ 1129169 h 2323145"/>
              <a:gd name="connsiteX52" fmla="*/ 8038422 w 11269336"/>
              <a:gd name="connsiteY52" fmla="*/ 1119092 h 2323145"/>
              <a:gd name="connsiteX53" fmla="*/ 8029450 w 11269336"/>
              <a:gd name="connsiteY53" fmla="*/ 1125592 h 2323145"/>
              <a:gd name="connsiteX54" fmla="*/ 7959552 w 11269336"/>
              <a:gd name="connsiteY54" fmla="*/ 1140188 h 2323145"/>
              <a:gd name="connsiteX55" fmla="*/ 7914188 w 11269336"/>
              <a:gd name="connsiteY55" fmla="*/ 1150862 h 2323145"/>
              <a:gd name="connsiteX56" fmla="*/ 7914918 w 11269336"/>
              <a:gd name="connsiteY56" fmla="*/ 1168758 h 2323145"/>
              <a:gd name="connsiteX57" fmla="*/ 7875510 w 11269336"/>
              <a:gd name="connsiteY57" fmla="*/ 1183153 h 2323145"/>
              <a:gd name="connsiteX58" fmla="*/ 7829932 w 11269336"/>
              <a:gd name="connsiteY58" fmla="*/ 1180782 h 2323145"/>
              <a:gd name="connsiteX59" fmla="*/ 7779182 w 11269336"/>
              <a:gd name="connsiteY59" fmla="*/ 1192665 h 2323145"/>
              <a:gd name="connsiteX60" fmla="*/ 7748774 w 11269336"/>
              <a:gd name="connsiteY60" fmla="*/ 1199586 h 2323145"/>
              <a:gd name="connsiteX61" fmla="*/ 7671846 w 11269336"/>
              <a:gd name="connsiteY61" fmla="*/ 1231966 h 2323145"/>
              <a:gd name="connsiteX62" fmla="*/ 7554146 w 11269336"/>
              <a:gd name="connsiteY62" fmla="*/ 1319748 h 2323145"/>
              <a:gd name="connsiteX63" fmla="*/ 7515052 w 11269336"/>
              <a:gd name="connsiteY63" fmla="*/ 1336718 h 2323145"/>
              <a:gd name="connsiteX64" fmla="*/ 7507193 w 11269336"/>
              <a:gd name="connsiteY64" fmla="*/ 1334617 h 2323145"/>
              <a:gd name="connsiteX65" fmla="*/ 7461694 w 11269336"/>
              <a:gd name="connsiteY65" fmla="*/ 1375866 h 2323145"/>
              <a:gd name="connsiteX66" fmla="*/ 7377571 w 11269336"/>
              <a:gd name="connsiteY66" fmla="*/ 1400128 h 2323145"/>
              <a:gd name="connsiteX67" fmla="*/ 7311261 w 11269336"/>
              <a:gd name="connsiteY67" fmla="*/ 1412652 h 2323145"/>
              <a:gd name="connsiteX68" fmla="*/ 7275307 w 11269336"/>
              <a:gd name="connsiteY68" fmla="*/ 1422171 h 2323145"/>
              <a:gd name="connsiteX69" fmla="*/ 7247783 w 11269336"/>
              <a:gd name="connsiteY69" fmla="*/ 1426330 h 2323145"/>
              <a:gd name="connsiteX70" fmla="*/ 7185047 w 11269336"/>
              <a:gd name="connsiteY70" fmla="*/ 1451812 h 2323145"/>
              <a:gd name="connsiteX71" fmla="*/ 7084117 w 11269336"/>
              <a:gd name="connsiteY71" fmla="*/ 1500281 h 2323145"/>
              <a:gd name="connsiteX72" fmla="*/ 7062011 w 11269336"/>
              <a:gd name="connsiteY72" fmla="*/ 1509183 h 2323145"/>
              <a:gd name="connsiteX73" fmla="*/ 7040555 w 11269336"/>
              <a:gd name="connsiteY73" fmla="*/ 1511207 h 2323145"/>
              <a:gd name="connsiteX74" fmla="*/ 7033438 w 11269336"/>
              <a:gd name="connsiteY74" fmla="*/ 1506772 h 2323145"/>
              <a:gd name="connsiteX75" fmla="*/ 7020886 w 11269336"/>
              <a:gd name="connsiteY75" fmla="*/ 1510764 h 2323145"/>
              <a:gd name="connsiteX76" fmla="*/ 7017033 w 11269336"/>
              <a:gd name="connsiteY76" fmla="*/ 1510650 h 2323145"/>
              <a:gd name="connsiteX77" fmla="*/ 6995460 w 11269336"/>
              <a:gd name="connsiteY77" fmla="*/ 1511173 h 2323145"/>
              <a:gd name="connsiteX78" fmla="*/ 6962144 w 11269336"/>
              <a:gd name="connsiteY78" fmla="*/ 1541508 h 2323145"/>
              <a:gd name="connsiteX79" fmla="*/ 6910674 w 11269336"/>
              <a:gd name="connsiteY79" fmla="*/ 1554793 h 2323145"/>
              <a:gd name="connsiteX80" fmla="*/ 6732152 w 11269336"/>
              <a:gd name="connsiteY80" fmla="*/ 1642538 h 2323145"/>
              <a:gd name="connsiteX81" fmla="*/ 6694106 w 11269336"/>
              <a:gd name="connsiteY81" fmla="*/ 1632377 h 2323145"/>
              <a:gd name="connsiteX82" fmla="*/ 6617223 w 11269336"/>
              <a:gd name="connsiteY82" fmla="*/ 1659889 h 2323145"/>
              <a:gd name="connsiteX83" fmla="*/ 6521138 w 11269336"/>
              <a:gd name="connsiteY83" fmla="*/ 1744340 h 2323145"/>
              <a:gd name="connsiteX84" fmla="*/ 6380677 w 11269336"/>
              <a:gd name="connsiteY84" fmla="*/ 1796883 h 2323145"/>
              <a:gd name="connsiteX85" fmla="*/ 6374897 w 11269336"/>
              <a:gd name="connsiteY85" fmla="*/ 1809910 h 2323145"/>
              <a:gd name="connsiteX86" fmla="*/ 6364545 w 11269336"/>
              <a:gd name="connsiteY86" fmla="*/ 1820090 h 2323145"/>
              <a:gd name="connsiteX87" fmla="*/ 6362126 w 11269336"/>
              <a:gd name="connsiteY87" fmla="*/ 1819991 h 2323145"/>
              <a:gd name="connsiteX88" fmla="*/ 6346673 w 11269336"/>
              <a:gd name="connsiteY88" fmla="*/ 1827824 h 2323145"/>
              <a:gd name="connsiteX89" fmla="*/ 6345588 w 11269336"/>
              <a:gd name="connsiteY89" fmla="*/ 1832232 h 2323145"/>
              <a:gd name="connsiteX90" fmla="*/ 6335708 w 11269336"/>
              <a:gd name="connsiteY90" fmla="*/ 1838451 h 2323145"/>
              <a:gd name="connsiteX91" fmla="*/ 6318182 w 11269336"/>
              <a:gd name="connsiteY91" fmla="*/ 1852975 h 2323145"/>
              <a:gd name="connsiteX92" fmla="*/ 6313084 w 11269336"/>
              <a:gd name="connsiteY92" fmla="*/ 1853561 h 2323145"/>
              <a:gd name="connsiteX93" fmla="*/ 6283816 w 11269336"/>
              <a:gd name="connsiteY93" fmla="*/ 1872148 h 2323145"/>
              <a:gd name="connsiteX94" fmla="*/ 6282550 w 11269336"/>
              <a:gd name="connsiteY94" fmla="*/ 1871392 h 2323145"/>
              <a:gd name="connsiteX95" fmla="*/ 6270527 w 11269336"/>
              <a:gd name="connsiteY95" fmla="*/ 1872208 h 2323145"/>
              <a:gd name="connsiteX96" fmla="*/ 6249518 w 11269336"/>
              <a:gd name="connsiteY96" fmla="*/ 1876079 h 2323145"/>
              <a:gd name="connsiteX97" fmla="*/ 6190386 w 11269336"/>
              <a:gd name="connsiteY97" fmla="*/ 1872478 h 2323145"/>
              <a:gd name="connsiteX98" fmla="*/ 6159777 w 11269336"/>
              <a:gd name="connsiteY98" fmla="*/ 1891745 h 2323145"/>
              <a:gd name="connsiteX99" fmla="*/ 6153131 w 11269336"/>
              <a:gd name="connsiteY99" fmla="*/ 1895079 h 2323145"/>
              <a:gd name="connsiteX100" fmla="*/ 6152798 w 11269336"/>
              <a:gd name="connsiteY100" fmla="*/ 1894920 h 2323145"/>
              <a:gd name="connsiteX101" fmla="*/ 6145388 w 11269336"/>
              <a:gd name="connsiteY101" fmla="*/ 1897990 h 2323145"/>
              <a:gd name="connsiteX102" fmla="*/ 6141014 w 11269336"/>
              <a:gd name="connsiteY102" fmla="*/ 1901155 h 2323145"/>
              <a:gd name="connsiteX103" fmla="*/ 6128122 w 11269336"/>
              <a:gd name="connsiteY103" fmla="*/ 1907623 h 2323145"/>
              <a:gd name="connsiteX104" fmla="*/ 6122351 w 11269336"/>
              <a:gd name="connsiteY104" fmla="*/ 1908359 h 2323145"/>
              <a:gd name="connsiteX105" fmla="*/ 6064750 w 11269336"/>
              <a:gd name="connsiteY105" fmla="*/ 1896394 h 2323145"/>
              <a:gd name="connsiteX106" fmla="*/ 5964230 w 11269336"/>
              <a:gd name="connsiteY106" fmla="*/ 1910038 h 2323145"/>
              <a:gd name="connsiteX107" fmla="*/ 5865399 w 11269336"/>
              <a:gd name="connsiteY107" fmla="*/ 1926966 h 2323145"/>
              <a:gd name="connsiteX108" fmla="*/ 5829951 w 11269336"/>
              <a:gd name="connsiteY108" fmla="*/ 1934755 h 2323145"/>
              <a:gd name="connsiteX109" fmla="*/ 5765285 w 11269336"/>
              <a:gd name="connsiteY109" fmla="*/ 1941322 h 2323145"/>
              <a:gd name="connsiteX110" fmla="*/ 5734750 w 11269336"/>
              <a:gd name="connsiteY110" fmla="*/ 1939793 h 2323145"/>
              <a:gd name="connsiteX111" fmla="*/ 5733569 w 11269336"/>
              <a:gd name="connsiteY111" fmla="*/ 1940505 h 2323145"/>
              <a:gd name="connsiteX112" fmla="*/ 5730329 w 11269336"/>
              <a:gd name="connsiteY112" fmla="*/ 1937845 h 2323145"/>
              <a:gd name="connsiteX113" fmla="*/ 5724661 w 11269336"/>
              <a:gd name="connsiteY113" fmla="*/ 1937455 h 2323145"/>
              <a:gd name="connsiteX114" fmla="*/ 5710186 w 11269336"/>
              <a:gd name="connsiteY114" fmla="*/ 1941370 h 2323145"/>
              <a:gd name="connsiteX115" fmla="*/ 5704910 w 11269336"/>
              <a:gd name="connsiteY115" fmla="*/ 1943663 h 2323145"/>
              <a:gd name="connsiteX116" fmla="*/ 5696836 w 11269336"/>
              <a:gd name="connsiteY116" fmla="*/ 1945271 h 2323145"/>
              <a:gd name="connsiteX117" fmla="*/ 5696583 w 11269336"/>
              <a:gd name="connsiteY117" fmla="*/ 1945050 h 2323145"/>
              <a:gd name="connsiteX118" fmla="*/ 5689123 w 11269336"/>
              <a:gd name="connsiteY118" fmla="*/ 1947067 h 2323145"/>
              <a:gd name="connsiteX119" fmla="*/ 5653291 w 11269336"/>
              <a:gd name="connsiteY119" fmla="*/ 1960245 h 2323145"/>
              <a:gd name="connsiteX120" fmla="*/ 5599385 w 11269336"/>
              <a:gd name="connsiteY120" fmla="*/ 1945198 h 2323145"/>
              <a:gd name="connsiteX121" fmla="*/ 5578300 w 11269336"/>
              <a:gd name="connsiteY121" fmla="*/ 1944963 h 2323145"/>
              <a:gd name="connsiteX122" fmla="*/ 5566758 w 11269336"/>
              <a:gd name="connsiteY122" fmla="*/ 1943441 h 2323145"/>
              <a:gd name="connsiteX123" fmla="*/ 5565857 w 11269336"/>
              <a:gd name="connsiteY123" fmla="*/ 1942445 h 2323145"/>
              <a:gd name="connsiteX124" fmla="*/ 5531534 w 11269336"/>
              <a:gd name="connsiteY124" fmla="*/ 1955208 h 2323145"/>
              <a:gd name="connsiteX125" fmla="*/ 5526552 w 11269336"/>
              <a:gd name="connsiteY125" fmla="*/ 1954799 h 2323145"/>
              <a:gd name="connsiteX126" fmla="*/ 5504723 w 11269336"/>
              <a:gd name="connsiteY126" fmla="*/ 1965811 h 2323145"/>
              <a:gd name="connsiteX127" fmla="*/ 5493156 w 11269336"/>
              <a:gd name="connsiteY127" fmla="*/ 1970063 h 2323145"/>
              <a:gd name="connsiteX128" fmla="*/ 5490486 w 11269336"/>
              <a:gd name="connsiteY128" fmla="*/ 1974227 h 2323145"/>
              <a:gd name="connsiteX129" fmla="*/ 5473107 w 11269336"/>
              <a:gd name="connsiteY129" fmla="*/ 1979001 h 2323145"/>
              <a:gd name="connsiteX130" fmla="*/ 5470885 w 11269336"/>
              <a:gd name="connsiteY130" fmla="*/ 1978432 h 2323145"/>
              <a:gd name="connsiteX131" fmla="*/ 5457393 w 11269336"/>
              <a:gd name="connsiteY131" fmla="*/ 1986525 h 2323145"/>
              <a:gd name="connsiteX132" fmla="*/ 5447102 w 11269336"/>
              <a:gd name="connsiteY132" fmla="*/ 1998329 h 2323145"/>
              <a:gd name="connsiteX133" fmla="*/ 5159151 w 11269336"/>
              <a:gd name="connsiteY133" fmla="*/ 2029640 h 2323145"/>
              <a:gd name="connsiteX134" fmla="*/ 5041688 w 11269336"/>
              <a:gd name="connsiteY134" fmla="*/ 2022334 h 2323145"/>
              <a:gd name="connsiteX135" fmla="*/ 4860988 w 11269336"/>
              <a:gd name="connsiteY135" fmla="*/ 2135698 h 2323145"/>
              <a:gd name="connsiteX136" fmla="*/ 4807902 w 11269336"/>
              <a:gd name="connsiteY136" fmla="*/ 2138894 h 2323145"/>
              <a:gd name="connsiteX137" fmla="*/ 4765388 w 11269336"/>
              <a:gd name="connsiteY137" fmla="*/ 2162525 h 2323145"/>
              <a:gd name="connsiteX138" fmla="*/ 4745033 w 11269336"/>
              <a:gd name="connsiteY138" fmla="*/ 2158859 h 2323145"/>
              <a:gd name="connsiteX139" fmla="*/ 4741475 w 11269336"/>
              <a:gd name="connsiteY139" fmla="*/ 2157998 h 2323145"/>
              <a:gd name="connsiteX140" fmla="*/ 4728247 w 11269336"/>
              <a:gd name="connsiteY140" fmla="*/ 2159526 h 2323145"/>
              <a:gd name="connsiteX141" fmla="*/ 4723263 w 11269336"/>
              <a:gd name="connsiteY141" fmla="*/ 2153742 h 2323145"/>
              <a:gd name="connsiteX142" fmla="*/ 4702453 w 11269336"/>
              <a:gd name="connsiteY142" fmla="*/ 2151586 h 2323145"/>
              <a:gd name="connsiteX143" fmla="*/ 4678455 w 11269336"/>
              <a:gd name="connsiteY143" fmla="*/ 2156131 h 2323145"/>
              <a:gd name="connsiteX144" fmla="*/ 4593061 w 11269336"/>
              <a:gd name="connsiteY144" fmla="*/ 2171597 h 2323145"/>
              <a:gd name="connsiteX145" fmla="*/ 4579902 w 11269336"/>
              <a:gd name="connsiteY145" fmla="*/ 2177927 h 2323145"/>
              <a:gd name="connsiteX146" fmla="*/ 4533444 w 11269336"/>
              <a:gd name="connsiteY146" fmla="*/ 2181200 h 2323145"/>
              <a:gd name="connsiteX147" fmla="*/ 4492832 w 11269336"/>
              <a:gd name="connsiteY147" fmla="*/ 2188033 h 2323145"/>
              <a:gd name="connsiteX148" fmla="*/ 4467257 w 11269336"/>
              <a:gd name="connsiteY148" fmla="*/ 2196121 h 2323145"/>
              <a:gd name="connsiteX149" fmla="*/ 4459937 w 11269336"/>
              <a:gd name="connsiteY149" fmla="*/ 2195182 h 2323145"/>
              <a:gd name="connsiteX150" fmla="*/ 4433312 w 11269336"/>
              <a:gd name="connsiteY150" fmla="*/ 2199004 h 2323145"/>
              <a:gd name="connsiteX151" fmla="*/ 4420601 w 11269336"/>
              <a:gd name="connsiteY151" fmla="*/ 2205158 h 2323145"/>
              <a:gd name="connsiteX152" fmla="*/ 4405765 w 11269336"/>
              <a:gd name="connsiteY152" fmla="*/ 2199902 h 2323145"/>
              <a:gd name="connsiteX153" fmla="*/ 4401354 w 11269336"/>
              <a:gd name="connsiteY153" fmla="*/ 2194745 h 2323145"/>
              <a:gd name="connsiteX154" fmla="*/ 4383151 w 11269336"/>
              <a:gd name="connsiteY154" fmla="*/ 2201140 h 2323145"/>
              <a:gd name="connsiteX155" fmla="*/ 4366646 w 11269336"/>
              <a:gd name="connsiteY155" fmla="*/ 2198564 h 2323145"/>
              <a:gd name="connsiteX156" fmla="*/ 4354009 w 11269336"/>
              <a:gd name="connsiteY156" fmla="*/ 2204984 h 2323145"/>
              <a:gd name="connsiteX157" fmla="*/ 4348284 w 11269336"/>
              <a:gd name="connsiteY157" fmla="*/ 2205270 h 2323145"/>
              <a:gd name="connsiteX158" fmla="*/ 4333906 w 11269336"/>
              <a:gd name="connsiteY158" fmla="*/ 2205251 h 2323145"/>
              <a:gd name="connsiteX159" fmla="*/ 4308819 w 11269336"/>
              <a:gd name="connsiteY159" fmla="*/ 2203822 h 2323145"/>
              <a:gd name="connsiteX160" fmla="*/ 4301210 w 11269336"/>
              <a:gd name="connsiteY160" fmla="*/ 2204456 h 2323145"/>
              <a:gd name="connsiteX161" fmla="*/ 4283095 w 11269336"/>
              <a:gd name="connsiteY161" fmla="*/ 2198177 h 2323145"/>
              <a:gd name="connsiteX162" fmla="*/ 4250119 w 11269336"/>
              <a:gd name="connsiteY162" fmla="*/ 2196342 h 2323145"/>
              <a:gd name="connsiteX163" fmla="*/ 4189203 w 11269336"/>
              <a:gd name="connsiteY163" fmla="*/ 2178994 h 2323145"/>
              <a:gd name="connsiteX164" fmla="*/ 4154035 w 11269336"/>
              <a:gd name="connsiteY164" fmla="*/ 2171950 h 2323145"/>
              <a:gd name="connsiteX165" fmla="*/ 4129569 w 11269336"/>
              <a:gd name="connsiteY165" fmla="*/ 2163850 h 2323145"/>
              <a:gd name="connsiteX166" fmla="*/ 4061250 w 11269336"/>
              <a:gd name="connsiteY166" fmla="*/ 2159236 h 2323145"/>
              <a:gd name="connsiteX167" fmla="*/ 3945480 w 11269336"/>
              <a:gd name="connsiteY167" fmla="*/ 2158279 h 2323145"/>
              <a:gd name="connsiteX168" fmla="*/ 3921468 w 11269336"/>
              <a:gd name="connsiteY168" fmla="*/ 2156588 h 2323145"/>
              <a:gd name="connsiteX169" fmla="*/ 3903348 w 11269336"/>
              <a:gd name="connsiteY169" fmla="*/ 2149220 h 2323145"/>
              <a:gd name="connsiteX170" fmla="*/ 3901342 w 11269336"/>
              <a:gd name="connsiteY170" fmla="*/ 2142355 h 2323145"/>
              <a:gd name="connsiteX171" fmla="*/ 3888539 w 11269336"/>
              <a:gd name="connsiteY171" fmla="*/ 2140476 h 2323145"/>
              <a:gd name="connsiteX172" fmla="*/ 3885662 w 11269336"/>
              <a:gd name="connsiteY172" fmla="*/ 2138740 h 2323145"/>
              <a:gd name="connsiteX173" fmla="*/ 3868627 w 11269336"/>
              <a:gd name="connsiteY173" fmla="*/ 2130023 h 2323145"/>
              <a:gd name="connsiteX174" fmla="*/ 3819177 w 11269336"/>
              <a:gd name="connsiteY174" fmla="*/ 2142111 h 2323145"/>
              <a:gd name="connsiteX175" fmla="*/ 3769100 w 11269336"/>
              <a:gd name="connsiteY175" fmla="*/ 2131731 h 2323145"/>
              <a:gd name="connsiteX176" fmla="*/ 3562752 w 11269336"/>
              <a:gd name="connsiteY176" fmla="*/ 2131785 h 2323145"/>
              <a:gd name="connsiteX177" fmla="*/ 3541402 w 11269336"/>
              <a:gd name="connsiteY177" fmla="*/ 2106821 h 2323145"/>
              <a:gd name="connsiteX178" fmla="*/ 3365341 w 11269336"/>
              <a:gd name="connsiteY178" fmla="*/ 2077638 h 2323145"/>
              <a:gd name="connsiteX179" fmla="*/ 3170922 w 11269336"/>
              <a:gd name="connsiteY179" fmla="*/ 2115957 h 2323145"/>
              <a:gd name="connsiteX180" fmla="*/ 3156256 w 11269336"/>
              <a:gd name="connsiteY180" fmla="*/ 2124773 h 2323145"/>
              <a:gd name="connsiteX181" fmla="*/ 3140298 w 11269336"/>
              <a:gd name="connsiteY181" fmla="*/ 2129182 h 2323145"/>
              <a:gd name="connsiteX182" fmla="*/ 3138514 w 11269336"/>
              <a:gd name="connsiteY182" fmla="*/ 2128069 h 2323145"/>
              <a:gd name="connsiteX183" fmla="*/ 3120467 w 11269336"/>
              <a:gd name="connsiteY183" fmla="*/ 2128281 h 2323145"/>
              <a:gd name="connsiteX184" fmla="*/ 3116175 w 11269336"/>
              <a:gd name="connsiteY184" fmla="*/ 2131633 h 2323145"/>
              <a:gd name="connsiteX185" fmla="*/ 3103685 w 11269336"/>
              <a:gd name="connsiteY185" fmla="*/ 2132814 h 2323145"/>
              <a:gd name="connsiteX186" fmla="*/ 3078794 w 11269336"/>
              <a:gd name="connsiteY186" fmla="*/ 2137935 h 2323145"/>
              <a:gd name="connsiteX187" fmla="*/ 3074407 w 11269336"/>
              <a:gd name="connsiteY187" fmla="*/ 2136274 h 2323145"/>
              <a:gd name="connsiteX188" fmla="*/ 3037285 w 11269336"/>
              <a:gd name="connsiteY188" fmla="*/ 2139919 h 2323145"/>
              <a:gd name="connsiteX189" fmla="*/ 3036901 w 11269336"/>
              <a:gd name="connsiteY189" fmla="*/ 2138726 h 2323145"/>
              <a:gd name="connsiteX190" fmla="*/ 3026996 w 11269336"/>
              <a:gd name="connsiteY190" fmla="*/ 2134322 h 2323145"/>
              <a:gd name="connsiteX191" fmla="*/ 3007772 w 11269336"/>
              <a:gd name="connsiteY191" fmla="*/ 2128742 h 2323145"/>
              <a:gd name="connsiteX192" fmla="*/ 2965030 w 11269336"/>
              <a:gd name="connsiteY192" fmla="*/ 2100494 h 2323145"/>
              <a:gd name="connsiteX193" fmla="*/ 2926342 w 11269336"/>
              <a:gd name="connsiteY193" fmla="*/ 2104155 h 2323145"/>
              <a:gd name="connsiteX194" fmla="*/ 2918608 w 11269336"/>
              <a:gd name="connsiteY194" fmla="*/ 2104215 h 2323145"/>
              <a:gd name="connsiteX195" fmla="*/ 2918475 w 11269336"/>
              <a:gd name="connsiteY195" fmla="*/ 2103937 h 2323145"/>
              <a:gd name="connsiteX196" fmla="*/ 2910360 w 11269336"/>
              <a:gd name="connsiteY196" fmla="*/ 2103444 h 2323145"/>
              <a:gd name="connsiteX197" fmla="*/ 2904507 w 11269336"/>
              <a:gd name="connsiteY197" fmla="*/ 2104326 h 2323145"/>
              <a:gd name="connsiteX198" fmla="*/ 2889503 w 11269336"/>
              <a:gd name="connsiteY198" fmla="*/ 2104443 h 2323145"/>
              <a:gd name="connsiteX199" fmla="*/ 2884480 w 11269336"/>
              <a:gd name="connsiteY199" fmla="*/ 2102626 h 2323145"/>
              <a:gd name="connsiteX200" fmla="*/ 2882689 w 11269336"/>
              <a:gd name="connsiteY200" fmla="*/ 2099228 h 2323145"/>
              <a:gd name="connsiteX201" fmla="*/ 2881291 w 11269336"/>
              <a:gd name="connsiteY201" fmla="*/ 2099618 h 2323145"/>
              <a:gd name="connsiteX202" fmla="*/ 2853979 w 11269336"/>
              <a:gd name="connsiteY202" fmla="*/ 2090388 h 2323145"/>
              <a:gd name="connsiteX203" fmla="*/ 2791790 w 11269336"/>
              <a:gd name="connsiteY203" fmla="*/ 2080332 h 2323145"/>
              <a:gd name="connsiteX204" fmla="*/ 2755844 w 11269336"/>
              <a:gd name="connsiteY204" fmla="*/ 2078874 h 2323145"/>
              <a:gd name="connsiteX205" fmla="*/ 2657742 w 11269336"/>
              <a:gd name="connsiteY205" fmla="*/ 2070179 h 2323145"/>
              <a:gd name="connsiteX206" fmla="*/ 2559549 w 11269336"/>
              <a:gd name="connsiteY206" fmla="*/ 2057873 h 2323145"/>
              <a:gd name="connsiteX207" fmla="*/ 2512054 w 11269336"/>
              <a:gd name="connsiteY207" fmla="*/ 2031671 h 2323145"/>
              <a:gd name="connsiteX208" fmla="*/ 2506437 w 11269336"/>
              <a:gd name="connsiteY208" fmla="*/ 2030918 h 2323145"/>
              <a:gd name="connsiteX209" fmla="*/ 2491752 w 11269336"/>
              <a:gd name="connsiteY209" fmla="*/ 2033906 h 2323145"/>
              <a:gd name="connsiteX210" fmla="*/ 2486338 w 11269336"/>
              <a:gd name="connsiteY210" fmla="*/ 2035862 h 2323145"/>
              <a:gd name="connsiteX211" fmla="*/ 2478186 w 11269336"/>
              <a:gd name="connsiteY211" fmla="*/ 2036953 h 2323145"/>
              <a:gd name="connsiteX212" fmla="*/ 2477950 w 11269336"/>
              <a:gd name="connsiteY212" fmla="*/ 2036715 h 2323145"/>
              <a:gd name="connsiteX213" fmla="*/ 2470381 w 11269336"/>
              <a:gd name="connsiteY213" fmla="*/ 2038256 h 2323145"/>
              <a:gd name="connsiteX214" fmla="*/ 2433781 w 11269336"/>
              <a:gd name="connsiteY214" fmla="*/ 2049140 h 2323145"/>
              <a:gd name="connsiteX215" fmla="*/ 2381172 w 11269336"/>
              <a:gd name="connsiteY215" fmla="*/ 2030645 h 2323145"/>
              <a:gd name="connsiteX216" fmla="*/ 2360198 w 11269336"/>
              <a:gd name="connsiteY216" fmla="*/ 2029059 h 2323145"/>
              <a:gd name="connsiteX217" fmla="*/ 2348815 w 11269336"/>
              <a:gd name="connsiteY217" fmla="*/ 2026798 h 2323145"/>
              <a:gd name="connsiteX218" fmla="*/ 2347988 w 11269336"/>
              <a:gd name="connsiteY218" fmla="*/ 2025745 h 2323145"/>
              <a:gd name="connsiteX219" fmla="*/ 2312920 w 11269336"/>
              <a:gd name="connsiteY219" fmla="*/ 2036311 h 2323145"/>
              <a:gd name="connsiteX220" fmla="*/ 2307986 w 11269336"/>
              <a:gd name="connsiteY220" fmla="*/ 2035583 h 2323145"/>
              <a:gd name="connsiteX221" fmla="*/ 2285481 w 11269336"/>
              <a:gd name="connsiteY221" fmla="*/ 2045197 h 2323145"/>
              <a:gd name="connsiteX222" fmla="*/ 2273666 w 11269336"/>
              <a:gd name="connsiteY222" fmla="*/ 2048710 h 2323145"/>
              <a:gd name="connsiteX223" fmla="*/ 2270719 w 11269336"/>
              <a:gd name="connsiteY223" fmla="*/ 2052702 h 2323145"/>
              <a:gd name="connsiteX224" fmla="*/ 2253080 w 11269336"/>
              <a:gd name="connsiteY224" fmla="*/ 2056363 h 2323145"/>
              <a:gd name="connsiteX225" fmla="*/ 2250906 w 11269336"/>
              <a:gd name="connsiteY225" fmla="*/ 2055654 h 2323145"/>
              <a:gd name="connsiteX226" fmla="*/ 2236905 w 11269336"/>
              <a:gd name="connsiteY226" fmla="*/ 2062882 h 2323145"/>
              <a:gd name="connsiteX227" fmla="*/ 2225830 w 11269336"/>
              <a:gd name="connsiteY227" fmla="*/ 2074027 h 2323145"/>
              <a:gd name="connsiteX228" fmla="*/ 2073776 w 11269336"/>
              <a:gd name="connsiteY228" fmla="*/ 2089244 h 2323145"/>
              <a:gd name="connsiteX229" fmla="*/ 1948256 w 11269336"/>
              <a:gd name="connsiteY229" fmla="*/ 2146616 h 2323145"/>
              <a:gd name="connsiteX230" fmla="*/ 1865582 w 11269336"/>
              <a:gd name="connsiteY230" fmla="*/ 2153738 h 2323145"/>
              <a:gd name="connsiteX231" fmla="*/ 1835210 w 11269336"/>
              <a:gd name="connsiteY231" fmla="*/ 2134244 h 2323145"/>
              <a:gd name="connsiteX232" fmla="*/ 1632661 w 11269336"/>
              <a:gd name="connsiteY232" fmla="*/ 2173882 h 2323145"/>
              <a:gd name="connsiteX233" fmla="*/ 1579590 w 11269336"/>
              <a:gd name="connsiteY233" fmla="*/ 2173680 h 2323145"/>
              <a:gd name="connsiteX234" fmla="*/ 1535601 w 11269336"/>
              <a:gd name="connsiteY234" fmla="*/ 2194590 h 2323145"/>
              <a:gd name="connsiteX235" fmla="*/ 1515594 w 11269336"/>
              <a:gd name="connsiteY235" fmla="*/ 2189622 h 2323145"/>
              <a:gd name="connsiteX236" fmla="*/ 1512113 w 11269336"/>
              <a:gd name="connsiteY236" fmla="*/ 2188534 h 2323145"/>
              <a:gd name="connsiteX237" fmla="*/ 1498838 w 11269336"/>
              <a:gd name="connsiteY237" fmla="*/ 2189213 h 2323145"/>
              <a:gd name="connsiteX238" fmla="*/ 1494279 w 11269336"/>
              <a:gd name="connsiteY238" fmla="*/ 2183112 h 2323145"/>
              <a:gd name="connsiteX239" fmla="*/ 1473714 w 11269336"/>
              <a:gd name="connsiteY239" fmla="*/ 2179625 h 2323145"/>
              <a:gd name="connsiteX240" fmla="*/ 1449503 w 11269336"/>
              <a:gd name="connsiteY240" fmla="*/ 2182633 h 2323145"/>
              <a:gd name="connsiteX241" fmla="*/ 1266687 w 11269336"/>
              <a:gd name="connsiteY241" fmla="*/ 2212688 h 2323145"/>
              <a:gd name="connsiteX242" fmla="*/ 1239614 w 11269336"/>
              <a:gd name="connsiteY242" fmla="*/ 2209727 h 2323145"/>
              <a:gd name="connsiteX243" fmla="*/ 1202436 w 11269336"/>
              <a:gd name="connsiteY243" fmla="*/ 2209817 h 2323145"/>
              <a:gd name="connsiteX244" fmla="*/ 1136097 w 11269336"/>
              <a:gd name="connsiteY244" fmla="*/ 2205112 h 2323145"/>
              <a:gd name="connsiteX245" fmla="*/ 988232 w 11269336"/>
              <a:gd name="connsiteY245" fmla="*/ 2235635 h 2323145"/>
              <a:gd name="connsiteX246" fmla="*/ 981959 w 11269336"/>
              <a:gd name="connsiteY246" fmla="*/ 2231607 h 2323145"/>
              <a:gd name="connsiteX247" fmla="*/ 938600 w 11269336"/>
              <a:gd name="connsiteY247" fmla="*/ 2238113 h 2323145"/>
              <a:gd name="connsiteX248" fmla="*/ 791788 w 11269336"/>
              <a:gd name="connsiteY248" fmla="*/ 2293224 h 2323145"/>
              <a:gd name="connsiteX249" fmla="*/ 706914 w 11269336"/>
              <a:gd name="connsiteY249" fmla="*/ 2305046 h 2323145"/>
              <a:gd name="connsiteX250" fmla="*/ 675971 w 11269336"/>
              <a:gd name="connsiteY250" fmla="*/ 2304030 h 2323145"/>
              <a:gd name="connsiteX251" fmla="*/ 624180 w 11269336"/>
              <a:gd name="connsiteY251" fmla="*/ 2302650 h 2323145"/>
              <a:gd name="connsiteX252" fmla="*/ 583453 w 11269336"/>
              <a:gd name="connsiteY252" fmla="*/ 2288788 h 2323145"/>
              <a:gd name="connsiteX253" fmla="*/ 540946 w 11269336"/>
              <a:gd name="connsiteY253" fmla="*/ 2292721 h 2323145"/>
              <a:gd name="connsiteX254" fmla="*/ 533680 w 11269336"/>
              <a:gd name="connsiteY254" fmla="*/ 2310233 h 2323145"/>
              <a:gd name="connsiteX255" fmla="*/ 487366 w 11269336"/>
              <a:gd name="connsiteY255" fmla="*/ 2309053 h 2323145"/>
              <a:gd name="connsiteX256" fmla="*/ 416820 w 11269336"/>
              <a:gd name="connsiteY256" fmla="*/ 2305443 h 2323145"/>
              <a:gd name="connsiteX257" fmla="*/ 376805 w 11269336"/>
              <a:gd name="connsiteY257" fmla="*/ 2307647 h 2323145"/>
              <a:gd name="connsiteX258" fmla="*/ 266777 w 11269336"/>
              <a:gd name="connsiteY258" fmla="*/ 2309012 h 2323145"/>
              <a:gd name="connsiteX259" fmla="*/ 156013 w 11269336"/>
              <a:gd name="connsiteY259" fmla="*/ 2306832 h 2323145"/>
              <a:gd name="connsiteX260" fmla="*/ 87258 w 11269336"/>
              <a:gd name="connsiteY260" fmla="*/ 2285511 h 2323145"/>
              <a:gd name="connsiteX261" fmla="*/ 23798 w 11269336"/>
              <a:gd name="connsiteY261" fmla="*/ 2281822 h 2323145"/>
              <a:gd name="connsiteX262" fmla="*/ 0 w 11269336"/>
              <a:gd name="connsiteY262" fmla="*/ 2285369 h 2323145"/>
              <a:gd name="connsiteX263" fmla="*/ 0 w 11269336"/>
              <a:gd name="connsiteY26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9062863 w 11269336"/>
              <a:gd name="connsiteY22" fmla="*/ 754656 h 2323145"/>
              <a:gd name="connsiteX23" fmla="*/ 8914746 w 11269336"/>
              <a:gd name="connsiteY23" fmla="*/ 826428 h 2323145"/>
              <a:gd name="connsiteX24" fmla="*/ 8917778 w 11269336"/>
              <a:gd name="connsiteY24" fmla="*/ 835198 h 2323145"/>
              <a:gd name="connsiteX25" fmla="*/ 8905560 w 11269336"/>
              <a:gd name="connsiteY25" fmla="*/ 838358 h 2323145"/>
              <a:gd name="connsiteX26" fmla="*/ 8897564 w 11269336"/>
              <a:gd name="connsiteY26" fmla="*/ 834287 h 2323145"/>
              <a:gd name="connsiteX27" fmla="*/ 8878040 w 11269336"/>
              <a:gd name="connsiteY27" fmla="*/ 844150 h 2323145"/>
              <a:gd name="connsiteX28" fmla="*/ 8795998 w 11269336"/>
              <a:gd name="connsiteY28" fmla="*/ 863337 h 2323145"/>
              <a:gd name="connsiteX29" fmla="*/ 8776970 w 11269336"/>
              <a:gd name="connsiteY29" fmla="*/ 885177 h 2323145"/>
              <a:gd name="connsiteX30" fmla="*/ 8755719 w 11269336"/>
              <a:gd name="connsiteY30" fmla="*/ 889754 h 2323145"/>
              <a:gd name="connsiteX31" fmla="*/ 8743257 w 11269336"/>
              <a:gd name="connsiteY31" fmla="*/ 904723 h 2323145"/>
              <a:gd name="connsiteX32" fmla="*/ 8721366 w 11269336"/>
              <a:gd name="connsiteY32" fmla="*/ 904711 h 2323145"/>
              <a:gd name="connsiteX33" fmla="*/ 8678353 w 11269336"/>
              <a:gd name="connsiteY33" fmla="*/ 926318 h 2323145"/>
              <a:gd name="connsiteX34" fmla="*/ 8636849 w 11269336"/>
              <a:gd name="connsiteY34" fmla="*/ 937900 h 2323145"/>
              <a:gd name="connsiteX35" fmla="*/ 8620213 w 11269336"/>
              <a:gd name="connsiteY35" fmla="*/ 943068 h 2323145"/>
              <a:gd name="connsiteX36" fmla="*/ 8612581 w 11269336"/>
              <a:gd name="connsiteY36" fmla="*/ 952695 h 2323145"/>
              <a:gd name="connsiteX37" fmla="*/ 8589038 w 11269336"/>
              <a:gd name="connsiteY37" fmla="*/ 963892 h 2323145"/>
              <a:gd name="connsiteX38" fmla="*/ 8579950 w 11269336"/>
              <a:gd name="connsiteY38" fmla="*/ 960899 h 2323145"/>
              <a:gd name="connsiteX39" fmla="*/ 8579319 w 11269336"/>
              <a:gd name="connsiteY39" fmla="*/ 965630 h 2323145"/>
              <a:gd name="connsiteX40" fmla="*/ 8547429 w 11269336"/>
              <a:gd name="connsiteY40" fmla="*/ 984506 h 2323145"/>
              <a:gd name="connsiteX41" fmla="*/ 8478704 w 11269336"/>
              <a:gd name="connsiteY41" fmla="*/ 1025490 h 2323145"/>
              <a:gd name="connsiteX42" fmla="*/ 8461421 w 11269336"/>
              <a:gd name="connsiteY42" fmla="*/ 1035512 h 2323145"/>
              <a:gd name="connsiteX43" fmla="*/ 8445003 w 11269336"/>
              <a:gd name="connsiteY43" fmla="*/ 1036851 h 2323145"/>
              <a:gd name="connsiteX44" fmla="*/ 8357350 w 11269336"/>
              <a:gd name="connsiteY44" fmla="*/ 1060213 h 2323145"/>
              <a:gd name="connsiteX45" fmla="*/ 8335565 w 11269336"/>
              <a:gd name="connsiteY45" fmla="*/ 1061151 h 2323145"/>
              <a:gd name="connsiteX46" fmla="*/ 8325267 w 11269336"/>
              <a:gd name="connsiteY46" fmla="*/ 1055919 h 2323145"/>
              <a:gd name="connsiteX47" fmla="*/ 8293586 w 11269336"/>
              <a:gd name="connsiteY47" fmla="*/ 1076144 h 2323145"/>
              <a:gd name="connsiteX48" fmla="*/ 8242405 w 11269336"/>
              <a:gd name="connsiteY48" fmla="*/ 1095960 h 2323145"/>
              <a:gd name="connsiteX49" fmla="*/ 8197391 w 11269336"/>
              <a:gd name="connsiteY49" fmla="*/ 1107746 h 2323145"/>
              <a:gd name="connsiteX50" fmla="*/ 8081474 w 11269336"/>
              <a:gd name="connsiteY50" fmla="*/ 1130125 h 2323145"/>
              <a:gd name="connsiteX51" fmla="*/ 8053585 w 11269336"/>
              <a:gd name="connsiteY51" fmla="*/ 1129169 h 2323145"/>
              <a:gd name="connsiteX52" fmla="*/ 8038422 w 11269336"/>
              <a:gd name="connsiteY52" fmla="*/ 1119092 h 2323145"/>
              <a:gd name="connsiteX53" fmla="*/ 8029450 w 11269336"/>
              <a:gd name="connsiteY53" fmla="*/ 1125592 h 2323145"/>
              <a:gd name="connsiteX54" fmla="*/ 7959552 w 11269336"/>
              <a:gd name="connsiteY54" fmla="*/ 1140188 h 2323145"/>
              <a:gd name="connsiteX55" fmla="*/ 7914188 w 11269336"/>
              <a:gd name="connsiteY55" fmla="*/ 1150862 h 2323145"/>
              <a:gd name="connsiteX56" fmla="*/ 7914918 w 11269336"/>
              <a:gd name="connsiteY56" fmla="*/ 1168758 h 2323145"/>
              <a:gd name="connsiteX57" fmla="*/ 7875510 w 11269336"/>
              <a:gd name="connsiteY57" fmla="*/ 1183153 h 2323145"/>
              <a:gd name="connsiteX58" fmla="*/ 7829932 w 11269336"/>
              <a:gd name="connsiteY58" fmla="*/ 1180782 h 2323145"/>
              <a:gd name="connsiteX59" fmla="*/ 7779182 w 11269336"/>
              <a:gd name="connsiteY59" fmla="*/ 1192665 h 2323145"/>
              <a:gd name="connsiteX60" fmla="*/ 7748774 w 11269336"/>
              <a:gd name="connsiteY60" fmla="*/ 1199586 h 2323145"/>
              <a:gd name="connsiteX61" fmla="*/ 7671846 w 11269336"/>
              <a:gd name="connsiteY61" fmla="*/ 1231966 h 2323145"/>
              <a:gd name="connsiteX62" fmla="*/ 7554146 w 11269336"/>
              <a:gd name="connsiteY62" fmla="*/ 1319748 h 2323145"/>
              <a:gd name="connsiteX63" fmla="*/ 7515052 w 11269336"/>
              <a:gd name="connsiteY63" fmla="*/ 1336718 h 2323145"/>
              <a:gd name="connsiteX64" fmla="*/ 7507193 w 11269336"/>
              <a:gd name="connsiteY64" fmla="*/ 1334617 h 2323145"/>
              <a:gd name="connsiteX65" fmla="*/ 7461694 w 11269336"/>
              <a:gd name="connsiteY65" fmla="*/ 1375866 h 2323145"/>
              <a:gd name="connsiteX66" fmla="*/ 7377571 w 11269336"/>
              <a:gd name="connsiteY66" fmla="*/ 1400128 h 2323145"/>
              <a:gd name="connsiteX67" fmla="*/ 7311261 w 11269336"/>
              <a:gd name="connsiteY67" fmla="*/ 1412652 h 2323145"/>
              <a:gd name="connsiteX68" fmla="*/ 7275307 w 11269336"/>
              <a:gd name="connsiteY68" fmla="*/ 1422171 h 2323145"/>
              <a:gd name="connsiteX69" fmla="*/ 7247783 w 11269336"/>
              <a:gd name="connsiteY69" fmla="*/ 1426330 h 2323145"/>
              <a:gd name="connsiteX70" fmla="*/ 7185047 w 11269336"/>
              <a:gd name="connsiteY70" fmla="*/ 1451812 h 2323145"/>
              <a:gd name="connsiteX71" fmla="*/ 7084117 w 11269336"/>
              <a:gd name="connsiteY71" fmla="*/ 1500281 h 2323145"/>
              <a:gd name="connsiteX72" fmla="*/ 7062011 w 11269336"/>
              <a:gd name="connsiteY72" fmla="*/ 1509183 h 2323145"/>
              <a:gd name="connsiteX73" fmla="*/ 7040555 w 11269336"/>
              <a:gd name="connsiteY73" fmla="*/ 1511207 h 2323145"/>
              <a:gd name="connsiteX74" fmla="*/ 7033438 w 11269336"/>
              <a:gd name="connsiteY74" fmla="*/ 1506772 h 2323145"/>
              <a:gd name="connsiteX75" fmla="*/ 7020886 w 11269336"/>
              <a:gd name="connsiteY75" fmla="*/ 1510764 h 2323145"/>
              <a:gd name="connsiteX76" fmla="*/ 7017033 w 11269336"/>
              <a:gd name="connsiteY76" fmla="*/ 1510650 h 2323145"/>
              <a:gd name="connsiteX77" fmla="*/ 6995460 w 11269336"/>
              <a:gd name="connsiteY77" fmla="*/ 1511173 h 2323145"/>
              <a:gd name="connsiteX78" fmla="*/ 6962144 w 11269336"/>
              <a:gd name="connsiteY78" fmla="*/ 1541508 h 2323145"/>
              <a:gd name="connsiteX79" fmla="*/ 6910674 w 11269336"/>
              <a:gd name="connsiteY79" fmla="*/ 1554793 h 2323145"/>
              <a:gd name="connsiteX80" fmla="*/ 6732152 w 11269336"/>
              <a:gd name="connsiteY80" fmla="*/ 1642538 h 2323145"/>
              <a:gd name="connsiteX81" fmla="*/ 6694106 w 11269336"/>
              <a:gd name="connsiteY81" fmla="*/ 1632377 h 2323145"/>
              <a:gd name="connsiteX82" fmla="*/ 6617223 w 11269336"/>
              <a:gd name="connsiteY82" fmla="*/ 1659889 h 2323145"/>
              <a:gd name="connsiteX83" fmla="*/ 6521138 w 11269336"/>
              <a:gd name="connsiteY83" fmla="*/ 1744340 h 2323145"/>
              <a:gd name="connsiteX84" fmla="*/ 6380677 w 11269336"/>
              <a:gd name="connsiteY84" fmla="*/ 1796883 h 2323145"/>
              <a:gd name="connsiteX85" fmla="*/ 6374897 w 11269336"/>
              <a:gd name="connsiteY85" fmla="*/ 1809910 h 2323145"/>
              <a:gd name="connsiteX86" fmla="*/ 6364545 w 11269336"/>
              <a:gd name="connsiteY86" fmla="*/ 1820090 h 2323145"/>
              <a:gd name="connsiteX87" fmla="*/ 6362126 w 11269336"/>
              <a:gd name="connsiteY87" fmla="*/ 1819991 h 2323145"/>
              <a:gd name="connsiteX88" fmla="*/ 6346673 w 11269336"/>
              <a:gd name="connsiteY88" fmla="*/ 1827824 h 2323145"/>
              <a:gd name="connsiteX89" fmla="*/ 6345588 w 11269336"/>
              <a:gd name="connsiteY89" fmla="*/ 1832232 h 2323145"/>
              <a:gd name="connsiteX90" fmla="*/ 6335708 w 11269336"/>
              <a:gd name="connsiteY90" fmla="*/ 1838451 h 2323145"/>
              <a:gd name="connsiteX91" fmla="*/ 6318182 w 11269336"/>
              <a:gd name="connsiteY91" fmla="*/ 1852975 h 2323145"/>
              <a:gd name="connsiteX92" fmla="*/ 6313084 w 11269336"/>
              <a:gd name="connsiteY92" fmla="*/ 1853561 h 2323145"/>
              <a:gd name="connsiteX93" fmla="*/ 6283816 w 11269336"/>
              <a:gd name="connsiteY93" fmla="*/ 1872148 h 2323145"/>
              <a:gd name="connsiteX94" fmla="*/ 6282550 w 11269336"/>
              <a:gd name="connsiteY94" fmla="*/ 1871392 h 2323145"/>
              <a:gd name="connsiteX95" fmla="*/ 6270527 w 11269336"/>
              <a:gd name="connsiteY95" fmla="*/ 1872208 h 2323145"/>
              <a:gd name="connsiteX96" fmla="*/ 6249518 w 11269336"/>
              <a:gd name="connsiteY96" fmla="*/ 1876079 h 2323145"/>
              <a:gd name="connsiteX97" fmla="*/ 6190386 w 11269336"/>
              <a:gd name="connsiteY97" fmla="*/ 1872478 h 2323145"/>
              <a:gd name="connsiteX98" fmla="*/ 6159777 w 11269336"/>
              <a:gd name="connsiteY98" fmla="*/ 1891745 h 2323145"/>
              <a:gd name="connsiteX99" fmla="*/ 6153131 w 11269336"/>
              <a:gd name="connsiteY99" fmla="*/ 1895079 h 2323145"/>
              <a:gd name="connsiteX100" fmla="*/ 6152798 w 11269336"/>
              <a:gd name="connsiteY100" fmla="*/ 1894920 h 2323145"/>
              <a:gd name="connsiteX101" fmla="*/ 6145388 w 11269336"/>
              <a:gd name="connsiteY101" fmla="*/ 1897990 h 2323145"/>
              <a:gd name="connsiteX102" fmla="*/ 6141014 w 11269336"/>
              <a:gd name="connsiteY102" fmla="*/ 1901155 h 2323145"/>
              <a:gd name="connsiteX103" fmla="*/ 6128122 w 11269336"/>
              <a:gd name="connsiteY103" fmla="*/ 1907623 h 2323145"/>
              <a:gd name="connsiteX104" fmla="*/ 6122351 w 11269336"/>
              <a:gd name="connsiteY104" fmla="*/ 1908359 h 2323145"/>
              <a:gd name="connsiteX105" fmla="*/ 6064750 w 11269336"/>
              <a:gd name="connsiteY105" fmla="*/ 1896394 h 2323145"/>
              <a:gd name="connsiteX106" fmla="*/ 5964230 w 11269336"/>
              <a:gd name="connsiteY106" fmla="*/ 1910038 h 2323145"/>
              <a:gd name="connsiteX107" fmla="*/ 5865399 w 11269336"/>
              <a:gd name="connsiteY107" fmla="*/ 1926966 h 2323145"/>
              <a:gd name="connsiteX108" fmla="*/ 5829951 w 11269336"/>
              <a:gd name="connsiteY108" fmla="*/ 1934755 h 2323145"/>
              <a:gd name="connsiteX109" fmla="*/ 5765285 w 11269336"/>
              <a:gd name="connsiteY109" fmla="*/ 1941322 h 2323145"/>
              <a:gd name="connsiteX110" fmla="*/ 5734750 w 11269336"/>
              <a:gd name="connsiteY110" fmla="*/ 1939793 h 2323145"/>
              <a:gd name="connsiteX111" fmla="*/ 5733569 w 11269336"/>
              <a:gd name="connsiteY111" fmla="*/ 1940505 h 2323145"/>
              <a:gd name="connsiteX112" fmla="*/ 5730329 w 11269336"/>
              <a:gd name="connsiteY112" fmla="*/ 1937845 h 2323145"/>
              <a:gd name="connsiteX113" fmla="*/ 5724661 w 11269336"/>
              <a:gd name="connsiteY113" fmla="*/ 1937455 h 2323145"/>
              <a:gd name="connsiteX114" fmla="*/ 5710186 w 11269336"/>
              <a:gd name="connsiteY114" fmla="*/ 1941370 h 2323145"/>
              <a:gd name="connsiteX115" fmla="*/ 5704910 w 11269336"/>
              <a:gd name="connsiteY115" fmla="*/ 1943663 h 2323145"/>
              <a:gd name="connsiteX116" fmla="*/ 5696836 w 11269336"/>
              <a:gd name="connsiteY116" fmla="*/ 1945271 h 2323145"/>
              <a:gd name="connsiteX117" fmla="*/ 5696583 w 11269336"/>
              <a:gd name="connsiteY117" fmla="*/ 1945050 h 2323145"/>
              <a:gd name="connsiteX118" fmla="*/ 5689123 w 11269336"/>
              <a:gd name="connsiteY118" fmla="*/ 1947067 h 2323145"/>
              <a:gd name="connsiteX119" fmla="*/ 5653291 w 11269336"/>
              <a:gd name="connsiteY119" fmla="*/ 1960245 h 2323145"/>
              <a:gd name="connsiteX120" fmla="*/ 5599385 w 11269336"/>
              <a:gd name="connsiteY120" fmla="*/ 1945198 h 2323145"/>
              <a:gd name="connsiteX121" fmla="*/ 5578300 w 11269336"/>
              <a:gd name="connsiteY121" fmla="*/ 1944963 h 2323145"/>
              <a:gd name="connsiteX122" fmla="*/ 5566758 w 11269336"/>
              <a:gd name="connsiteY122" fmla="*/ 1943441 h 2323145"/>
              <a:gd name="connsiteX123" fmla="*/ 5565857 w 11269336"/>
              <a:gd name="connsiteY123" fmla="*/ 1942445 h 2323145"/>
              <a:gd name="connsiteX124" fmla="*/ 5531534 w 11269336"/>
              <a:gd name="connsiteY124" fmla="*/ 1955208 h 2323145"/>
              <a:gd name="connsiteX125" fmla="*/ 5526552 w 11269336"/>
              <a:gd name="connsiteY125" fmla="*/ 1954799 h 2323145"/>
              <a:gd name="connsiteX126" fmla="*/ 5504723 w 11269336"/>
              <a:gd name="connsiteY126" fmla="*/ 1965811 h 2323145"/>
              <a:gd name="connsiteX127" fmla="*/ 5493156 w 11269336"/>
              <a:gd name="connsiteY127" fmla="*/ 1970063 h 2323145"/>
              <a:gd name="connsiteX128" fmla="*/ 5490486 w 11269336"/>
              <a:gd name="connsiteY128" fmla="*/ 1974227 h 2323145"/>
              <a:gd name="connsiteX129" fmla="*/ 5473107 w 11269336"/>
              <a:gd name="connsiteY129" fmla="*/ 1979001 h 2323145"/>
              <a:gd name="connsiteX130" fmla="*/ 5470885 w 11269336"/>
              <a:gd name="connsiteY130" fmla="*/ 1978432 h 2323145"/>
              <a:gd name="connsiteX131" fmla="*/ 5457393 w 11269336"/>
              <a:gd name="connsiteY131" fmla="*/ 1986525 h 2323145"/>
              <a:gd name="connsiteX132" fmla="*/ 5447102 w 11269336"/>
              <a:gd name="connsiteY132" fmla="*/ 1998329 h 2323145"/>
              <a:gd name="connsiteX133" fmla="*/ 5159151 w 11269336"/>
              <a:gd name="connsiteY133" fmla="*/ 2029640 h 2323145"/>
              <a:gd name="connsiteX134" fmla="*/ 5041688 w 11269336"/>
              <a:gd name="connsiteY134" fmla="*/ 2022334 h 2323145"/>
              <a:gd name="connsiteX135" fmla="*/ 4860988 w 11269336"/>
              <a:gd name="connsiteY135" fmla="*/ 2135698 h 2323145"/>
              <a:gd name="connsiteX136" fmla="*/ 4807902 w 11269336"/>
              <a:gd name="connsiteY136" fmla="*/ 2138894 h 2323145"/>
              <a:gd name="connsiteX137" fmla="*/ 4765388 w 11269336"/>
              <a:gd name="connsiteY137" fmla="*/ 2162525 h 2323145"/>
              <a:gd name="connsiteX138" fmla="*/ 4745033 w 11269336"/>
              <a:gd name="connsiteY138" fmla="*/ 2158859 h 2323145"/>
              <a:gd name="connsiteX139" fmla="*/ 4741475 w 11269336"/>
              <a:gd name="connsiteY139" fmla="*/ 2157998 h 2323145"/>
              <a:gd name="connsiteX140" fmla="*/ 4728247 w 11269336"/>
              <a:gd name="connsiteY140" fmla="*/ 2159526 h 2323145"/>
              <a:gd name="connsiteX141" fmla="*/ 4723263 w 11269336"/>
              <a:gd name="connsiteY141" fmla="*/ 2153742 h 2323145"/>
              <a:gd name="connsiteX142" fmla="*/ 4702453 w 11269336"/>
              <a:gd name="connsiteY142" fmla="*/ 2151586 h 2323145"/>
              <a:gd name="connsiteX143" fmla="*/ 4678455 w 11269336"/>
              <a:gd name="connsiteY143" fmla="*/ 2156131 h 2323145"/>
              <a:gd name="connsiteX144" fmla="*/ 4593061 w 11269336"/>
              <a:gd name="connsiteY144" fmla="*/ 2171597 h 2323145"/>
              <a:gd name="connsiteX145" fmla="*/ 4579902 w 11269336"/>
              <a:gd name="connsiteY145" fmla="*/ 2177927 h 2323145"/>
              <a:gd name="connsiteX146" fmla="*/ 4533444 w 11269336"/>
              <a:gd name="connsiteY146" fmla="*/ 2181200 h 2323145"/>
              <a:gd name="connsiteX147" fmla="*/ 4492832 w 11269336"/>
              <a:gd name="connsiteY147" fmla="*/ 2188033 h 2323145"/>
              <a:gd name="connsiteX148" fmla="*/ 4467257 w 11269336"/>
              <a:gd name="connsiteY148" fmla="*/ 2196121 h 2323145"/>
              <a:gd name="connsiteX149" fmla="*/ 4459937 w 11269336"/>
              <a:gd name="connsiteY149" fmla="*/ 2195182 h 2323145"/>
              <a:gd name="connsiteX150" fmla="*/ 4433312 w 11269336"/>
              <a:gd name="connsiteY150" fmla="*/ 2199004 h 2323145"/>
              <a:gd name="connsiteX151" fmla="*/ 4420601 w 11269336"/>
              <a:gd name="connsiteY151" fmla="*/ 2205158 h 2323145"/>
              <a:gd name="connsiteX152" fmla="*/ 4405765 w 11269336"/>
              <a:gd name="connsiteY152" fmla="*/ 2199902 h 2323145"/>
              <a:gd name="connsiteX153" fmla="*/ 4401354 w 11269336"/>
              <a:gd name="connsiteY153" fmla="*/ 2194745 h 2323145"/>
              <a:gd name="connsiteX154" fmla="*/ 4383151 w 11269336"/>
              <a:gd name="connsiteY154" fmla="*/ 2201140 h 2323145"/>
              <a:gd name="connsiteX155" fmla="*/ 4366646 w 11269336"/>
              <a:gd name="connsiteY155" fmla="*/ 2198564 h 2323145"/>
              <a:gd name="connsiteX156" fmla="*/ 4354009 w 11269336"/>
              <a:gd name="connsiteY156" fmla="*/ 2204984 h 2323145"/>
              <a:gd name="connsiteX157" fmla="*/ 4348284 w 11269336"/>
              <a:gd name="connsiteY157" fmla="*/ 2205270 h 2323145"/>
              <a:gd name="connsiteX158" fmla="*/ 4333906 w 11269336"/>
              <a:gd name="connsiteY158" fmla="*/ 2205251 h 2323145"/>
              <a:gd name="connsiteX159" fmla="*/ 4308819 w 11269336"/>
              <a:gd name="connsiteY159" fmla="*/ 2203822 h 2323145"/>
              <a:gd name="connsiteX160" fmla="*/ 4301210 w 11269336"/>
              <a:gd name="connsiteY160" fmla="*/ 2204456 h 2323145"/>
              <a:gd name="connsiteX161" fmla="*/ 4283095 w 11269336"/>
              <a:gd name="connsiteY161" fmla="*/ 2198177 h 2323145"/>
              <a:gd name="connsiteX162" fmla="*/ 4250119 w 11269336"/>
              <a:gd name="connsiteY162" fmla="*/ 2196342 h 2323145"/>
              <a:gd name="connsiteX163" fmla="*/ 4189203 w 11269336"/>
              <a:gd name="connsiteY163" fmla="*/ 2178994 h 2323145"/>
              <a:gd name="connsiteX164" fmla="*/ 4154035 w 11269336"/>
              <a:gd name="connsiteY164" fmla="*/ 2171950 h 2323145"/>
              <a:gd name="connsiteX165" fmla="*/ 4129569 w 11269336"/>
              <a:gd name="connsiteY165" fmla="*/ 2163850 h 2323145"/>
              <a:gd name="connsiteX166" fmla="*/ 4061250 w 11269336"/>
              <a:gd name="connsiteY166" fmla="*/ 2159236 h 2323145"/>
              <a:gd name="connsiteX167" fmla="*/ 3945480 w 11269336"/>
              <a:gd name="connsiteY167" fmla="*/ 2158279 h 2323145"/>
              <a:gd name="connsiteX168" fmla="*/ 3921468 w 11269336"/>
              <a:gd name="connsiteY168" fmla="*/ 2156588 h 2323145"/>
              <a:gd name="connsiteX169" fmla="*/ 3903348 w 11269336"/>
              <a:gd name="connsiteY169" fmla="*/ 2149220 h 2323145"/>
              <a:gd name="connsiteX170" fmla="*/ 3901342 w 11269336"/>
              <a:gd name="connsiteY170" fmla="*/ 2142355 h 2323145"/>
              <a:gd name="connsiteX171" fmla="*/ 3888539 w 11269336"/>
              <a:gd name="connsiteY171" fmla="*/ 2140476 h 2323145"/>
              <a:gd name="connsiteX172" fmla="*/ 3885662 w 11269336"/>
              <a:gd name="connsiteY172" fmla="*/ 2138740 h 2323145"/>
              <a:gd name="connsiteX173" fmla="*/ 3868627 w 11269336"/>
              <a:gd name="connsiteY173" fmla="*/ 2130023 h 2323145"/>
              <a:gd name="connsiteX174" fmla="*/ 3819177 w 11269336"/>
              <a:gd name="connsiteY174" fmla="*/ 2142111 h 2323145"/>
              <a:gd name="connsiteX175" fmla="*/ 3769100 w 11269336"/>
              <a:gd name="connsiteY175" fmla="*/ 2131731 h 2323145"/>
              <a:gd name="connsiteX176" fmla="*/ 3562752 w 11269336"/>
              <a:gd name="connsiteY176" fmla="*/ 2131785 h 2323145"/>
              <a:gd name="connsiteX177" fmla="*/ 3541402 w 11269336"/>
              <a:gd name="connsiteY177" fmla="*/ 2106821 h 2323145"/>
              <a:gd name="connsiteX178" fmla="*/ 3365341 w 11269336"/>
              <a:gd name="connsiteY178" fmla="*/ 2077638 h 2323145"/>
              <a:gd name="connsiteX179" fmla="*/ 3170922 w 11269336"/>
              <a:gd name="connsiteY179" fmla="*/ 2115957 h 2323145"/>
              <a:gd name="connsiteX180" fmla="*/ 3156256 w 11269336"/>
              <a:gd name="connsiteY180" fmla="*/ 2124773 h 2323145"/>
              <a:gd name="connsiteX181" fmla="*/ 3140298 w 11269336"/>
              <a:gd name="connsiteY181" fmla="*/ 2129182 h 2323145"/>
              <a:gd name="connsiteX182" fmla="*/ 3138514 w 11269336"/>
              <a:gd name="connsiteY182" fmla="*/ 2128069 h 2323145"/>
              <a:gd name="connsiteX183" fmla="*/ 3120467 w 11269336"/>
              <a:gd name="connsiteY183" fmla="*/ 2128281 h 2323145"/>
              <a:gd name="connsiteX184" fmla="*/ 3116175 w 11269336"/>
              <a:gd name="connsiteY184" fmla="*/ 2131633 h 2323145"/>
              <a:gd name="connsiteX185" fmla="*/ 3103685 w 11269336"/>
              <a:gd name="connsiteY185" fmla="*/ 2132814 h 2323145"/>
              <a:gd name="connsiteX186" fmla="*/ 3078794 w 11269336"/>
              <a:gd name="connsiteY186" fmla="*/ 2137935 h 2323145"/>
              <a:gd name="connsiteX187" fmla="*/ 3074407 w 11269336"/>
              <a:gd name="connsiteY187" fmla="*/ 2136274 h 2323145"/>
              <a:gd name="connsiteX188" fmla="*/ 3037285 w 11269336"/>
              <a:gd name="connsiteY188" fmla="*/ 2139919 h 2323145"/>
              <a:gd name="connsiteX189" fmla="*/ 3036901 w 11269336"/>
              <a:gd name="connsiteY189" fmla="*/ 2138726 h 2323145"/>
              <a:gd name="connsiteX190" fmla="*/ 3026996 w 11269336"/>
              <a:gd name="connsiteY190" fmla="*/ 2134322 h 2323145"/>
              <a:gd name="connsiteX191" fmla="*/ 3007772 w 11269336"/>
              <a:gd name="connsiteY191" fmla="*/ 2128742 h 2323145"/>
              <a:gd name="connsiteX192" fmla="*/ 2965030 w 11269336"/>
              <a:gd name="connsiteY192" fmla="*/ 2100494 h 2323145"/>
              <a:gd name="connsiteX193" fmla="*/ 2926342 w 11269336"/>
              <a:gd name="connsiteY193" fmla="*/ 2104155 h 2323145"/>
              <a:gd name="connsiteX194" fmla="*/ 2918608 w 11269336"/>
              <a:gd name="connsiteY194" fmla="*/ 2104215 h 2323145"/>
              <a:gd name="connsiteX195" fmla="*/ 2918475 w 11269336"/>
              <a:gd name="connsiteY195" fmla="*/ 2103937 h 2323145"/>
              <a:gd name="connsiteX196" fmla="*/ 2910360 w 11269336"/>
              <a:gd name="connsiteY196" fmla="*/ 2103444 h 2323145"/>
              <a:gd name="connsiteX197" fmla="*/ 2904507 w 11269336"/>
              <a:gd name="connsiteY197" fmla="*/ 2104326 h 2323145"/>
              <a:gd name="connsiteX198" fmla="*/ 2889503 w 11269336"/>
              <a:gd name="connsiteY198" fmla="*/ 2104443 h 2323145"/>
              <a:gd name="connsiteX199" fmla="*/ 2884480 w 11269336"/>
              <a:gd name="connsiteY199" fmla="*/ 2102626 h 2323145"/>
              <a:gd name="connsiteX200" fmla="*/ 2882689 w 11269336"/>
              <a:gd name="connsiteY200" fmla="*/ 2099228 h 2323145"/>
              <a:gd name="connsiteX201" fmla="*/ 2881291 w 11269336"/>
              <a:gd name="connsiteY201" fmla="*/ 2099618 h 2323145"/>
              <a:gd name="connsiteX202" fmla="*/ 2853979 w 11269336"/>
              <a:gd name="connsiteY202" fmla="*/ 2090388 h 2323145"/>
              <a:gd name="connsiteX203" fmla="*/ 2791790 w 11269336"/>
              <a:gd name="connsiteY203" fmla="*/ 2080332 h 2323145"/>
              <a:gd name="connsiteX204" fmla="*/ 2755844 w 11269336"/>
              <a:gd name="connsiteY204" fmla="*/ 2078874 h 2323145"/>
              <a:gd name="connsiteX205" fmla="*/ 2657742 w 11269336"/>
              <a:gd name="connsiteY205" fmla="*/ 2070179 h 2323145"/>
              <a:gd name="connsiteX206" fmla="*/ 2559549 w 11269336"/>
              <a:gd name="connsiteY206" fmla="*/ 2057873 h 2323145"/>
              <a:gd name="connsiteX207" fmla="*/ 2512054 w 11269336"/>
              <a:gd name="connsiteY207" fmla="*/ 2031671 h 2323145"/>
              <a:gd name="connsiteX208" fmla="*/ 2506437 w 11269336"/>
              <a:gd name="connsiteY208" fmla="*/ 2030918 h 2323145"/>
              <a:gd name="connsiteX209" fmla="*/ 2491752 w 11269336"/>
              <a:gd name="connsiteY209" fmla="*/ 2033906 h 2323145"/>
              <a:gd name="connsiteX210" fmla="*/ 2486338 w 11269336"/>
              <a:gd name="connsiteY210" fmla="*/ 2035862 h 2323145"/>
              <a:gd name="connsiteX211" fmla="*/ 2478186 w 11269336"/>
              <a:gd name="connsiteY211" fmla="*/ 2036953 h 2323145"/>
              <a:gd name="connsiteX212" fmla="*/ 2477950 w 11269336"/>
              <a:gd name="connsiteY212" fmla="*/ 2036715 h 2323145"/>
              <a:gd name="connsiteX213" fmla="*/ 2470381 w 11269336"/>
              <a:gd name="connsiteY213" fmla="*/ 2038256 h 2323145"/>
              <a:gd name="connsiteX214" fmla="*/ 2433781 w 11269336"/>
              <a:gd name="connsiteY214" fmla="*/ 2049140 h 2323145"/>
              <a:gd name="connsiteX215" fmla="*/ 2381172 w 11269336"/>
              <a:gd name="connsiteY215" fmla="*/ 2030645 h 2323145"/>
              <a:gd name="connsiteX216" fmla="*/ 2360198 w 11269336"/>
              <a:gd name="connsiteY216" fmla="*/ 2029059 h 2323145"/>
              <a:gd name="connsiteX217" fmla="*/ 2348815 w 11269336"/>
              <a:gd name="connsiteY217" fmla="*/ 2026798 h 2323145"/>
              <a:gd name="connsiteX218" fmla="*/ 2347988 w 11269336"/>
              <a:gd name="connsiteY218" fmla="*/ 2025745 h 2323145"/>
              <a:gd name="connsiteX219" fmla="*/ 2312920 w 11269336"/>
              <a:gd name="connsiteY219" fmla="*/ 2036311 h 2323145"/>
              <a:gd name="connsiteX220" fmla="*/ 2307986 w 11269336"/>
              <a:gd name="connsiteY220" fmla="*/ 2035583 h 2323145"/>
              <a:gd name="connsiteX221" fmla="*/ 2285481 w 11269336"/>
              <a:gd name="connsiteY221" fmla="*/ 2045197 h 2323145"/>
              <a:gd name="connsiteX222" fmla="*/ 2273666 w 11269336"/>
              <a:gd name="connsiteY222" fmla="*/ 2048710 h 2323145"/>
              <a:gd name="connsiteX223" fmla="*/ 2270719 w 11269336"/>
              <a:gd name="connsiteY223" fmla="*/ 2052702 h 2323145"/>
              <a:gd name="connsiteX224" fmla="*/ 2253080 w 11269336"/>
              <a:gd name="connsiteY224" fmla="*/ 2056363 h 2323145"/>
              <a:gd name="connsiteX225" fmla="*/ 2250906 w 11269336"/>
              <a:gd name="connsiteY225" fmla="*/ 2055654 h 2323145"/>
              <a:gd name="connsiteX226" fmla="*/ 2236905 w 11269336"/>
              <a:gd name="connsiteY226" fmla="*/ 2062882 h 2323145"/>
              <a:gd name="connsiteX227" fmla="*/ 2225830 w 11269336"/>
              <a:gd name="connsiteY227" fmla="*/ 2074027 h 2323145"/>
              <a:gd name="connsiteX228" fmla="*/ 2073776 w 11269336"/>
              <a:gd name="connsiteY228" fmla="*/ 2089244 h 2323145"/>
              <a:gd name="connsiteX229" fmla="*/ 1948256 w 11269336"/>
              <a:gd name="connsiteY229" fmla="*/ 2146616 h 2323145"/>
              <a:gd name="connsiteX230" fmla="*/ 1865582 w 11269336"/>
              <a:gd name="connsiteY230" fmla="*/ 2153738 h 2323145"/>
              <a:gd name="connsiteX231" fmla="*/ 1835210 w 11269336"/>
              <a:gd name="connsiteY231" fmla="*/ 2134244 h 2323145"/>
              <a:gd name="connsiteX232" fmla="*/ 1632661 w 11269336"/>
              <a:gd name="connsiteY232" fmla="*/ 2173882 h 2323145"/>
              <a:gd name="connsiteX233" fmla="*/ 1579590 w 11269336"/>
              <a:gd name="connsiteY233" fmla="*/ 2173680 h 2323145"/>
              <a:gd name="connsiteX234" fmla="*/ 1535601 w 11269336"/>
              <a:gd name="connsiteY234" fmla="*/ 2194590 h 2323145"/>
              <a:gd name="connsiteX235" fmla="*/ 1515594 w 11269336"/>
              <a:gd name="connsiteY235" fmla="*/ 2189622 h 2323145"/>
              <a:gd name="connsiteX236" fmla="*/ 1512113 w 11269336"/>
              <a:gd name="connsiteY236" fmla="*/ 2188534 h 2323145"/>
              <a:gd name="connsiteX237" fmla="*/ 1498838 w 11269336"/>
              <a:gd name="connsiteY237" fmla="*/ 2189213 h 2323145"/>
              <a:gd name="connsiteX238" fmla="*/ 1494279 w 11269336"/>
              <a:gd name="connsiteY238" fmla="*/ 2183112 h 2323145"/>
              <a:gd name="connsiteX239" fmla="*/ 1473714 w 11269336"/>
              <a:gd name="connsiteY239" fmla="*/ 2179625 h 2323145"/>
              <a:gd name="connsiteX240" fmla="*/ 1449503 w 11269336"/>
              <a:gd name="connsiteY240" fmla="*/ 2182633 h 2323145"/>
              <a:gd name="connsiteX241" fmla="*/ 1266687 w 11269336"/>
              <a:gd name="connsiteY241" fmla="*/ 2212688 h 2323145"/>
              <a:gd name="connsiteX242" fmla="*/ 1239614 w 11269336"/>
              <a:gd name="connsiteY242" fmla="*/ 2209727 h 2323145"/>
              <a:gd name="connsiteX243" fmla="*/ 1202436 w 11269336"/>
              <a:gd name="connsiteY243" fmla="*/ 2209817 h 2323145"/>
              <a:gd name="connsiteX244" fmla="*/ 1136097 w 11269336"/>
              <a:gd name="connsiteY244" fmla="*/ 2205112 h 2323145"/>
              <a:gd name="connsiteX245" fmla="*/ 988232 w 11269336"/>
              <a:gd name="connsiteY245" fmla="*/ 2235635 h 2323145"/>
              <a:gd name="connsiteX246" fmla="*/ 981959 w 11269336"/>
              <a:gd name="connsiteY246" fmla="*/ 2231607 h 2323145"/>
              <a:gd name="connsiteX247" fmla="*/ 938600 w 11269336"/>
              <a:gd name="connsiteY247" fmla="*/ 2238113 h 2323145"/>
              <a:gd name="connsiteX248" fmla="*/ 791788 w 11269336"/>
              <a:gd name="connsiteY248" fmla="*/ 2293224 h 2323145"/>
              <a:gd name="connsiteX249" fmla="*/ 706914 w 11269336"/>
              <a:gd name="connsiteY249" fmla="*/ 2305046 h 2323145"/>
              <a:gd name="connsiteX250" fmla="*/ 675971 w 11269336"/>
              <a:gd name="connsiteY250" fmla="*/ 2304030 h 2323145"/>
              <a:gd name="connsiteX251" fmla="*/ 624180 w 11269336"/>
              <a:gd name="connsiteY251" fmla="*/ 2302650 h 2323145"/>
              <a:gd name="connsiteX252" fmla="*/ 583453 w 11269336"/>
              <a:gd name="connsiteY252" fmla="*/ 2288788 h 2323145"/>
              <a:gd name="connsiteX253" fmla="*/ 540946 w 11269336"/>
              <a:gd name="connsiteY253" fmla="*/ 2292721 h 2323145"/>
              <a:gd name="connsiteX254" fmla="*/ 533680 w 11269336"/>
              <a:gd name="connsiteY254" fmla="*/ 2310233 h 2323145"/>
              <a:gd name="connsiteX255" fmla="*/ 487366 w 11269336"/>
              <a:gd name="connsiteY255" fmla="*/ 2309053 h 2323145"/>
              <a:gd name="connsiteX256" fmla="*/ 416820 w 11269336"/>
              <a:gd name="connsiteY256" fmla="*/ 2305443 h 2323145"/>
              <a:gd name="connsiteX257" fmla="*/ 376805 w 11269336"/>
              <a:gd name="connsiteY257" fmla="*/ 2307647 h 2323145"/>
              <a:gd name="connsiteX258" fmla="*/ 266777 w 11269336"/>
              <a:gd name="connsiteY258" fmla="*/ 2309012 h 2323145"/>
              <a:gd name="connsiteX259" fmla="*/ 156013 w 11269336"/>
              <a:gd name="connsiteY259" fmla="*/ 2306832 h 2323145"/>
              <a:gd name="connsiteX260" fmla="*/ 87258 w 11269336"/>
              <a:gd name="connsiteY260" fmla="*/ 2285511 h 2323145"/>
              <a:gd name="connsiteX261" fmla="*/ 23798 w 11269336"/>
              <a:gd name="connsiteY261" fmla="*/ 2281822 h 2323145"/>
              <a:gd name="connsiteX262" fmla="*/ 0 w 11269336"/>
              <a:gd name="connsiteY262" fmla="*/ 2285369 h 2323145"/>
              <a:gd name="connsiteX263" fmla="*/ 0 w 11269336"/>
              <a:gd name="connsiteY26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41688 w 11269336"/>
              <a:gd name="connsiteY133" fmla="*/ 2022334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41688 w 11269336"/>
              <a:gd name="connsiteY133" fmla="*/ 2022334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33444 w 11269336"/>
              <a:gd name="connsiteY144" fmla="*/ 2181200 h 2323145"/>
              <a:gd name="connsiteX145" fmla="*/ 4492832 w 11269336"/>
              <a:gd name="connsiteY145" fmla="*/ 2188033 h 2323145"/>
              <a:gd name="connsiteX146" fmla="*/ 4467257 w 11269336"/>
              <a:gd name="connsiteY146" fmla="*/ 2196121 h 2323145"/>
              <a:gd name="connsiteX147" fmla="*/ 4459937 w 11269336"/>
              <a:gd name="connsiteY147" fmla="*/ 2195182 h 2323145"/>
              <a:gd name="connsiteX148" fmla="*/ 4433312 w 11269336"/>
              <a:gd name="connsiteY148" fmla="*/ 2199004 h 2323145"/>
              <a:gd name="connsiteX149" fmla="*/ 4420601 w 11269336"/>
              <a:gd name="connsiteY149" fmla="*/ 2205158 h 2323145"/>
              <a:gd name="connsiteX150" fmla="*/ 4405765 w 11269336"/>
              <a:gd name="connsiteY150" fmla="*/ 2199902 h 2323145"/>
              <a:gd name="connsiteX151" fmla="*/ 4401354 w 11269336"/>
              <a:gd name="connsiteY151" fmla="*/ 2194745 h 2323145"/>
              <a:gd name="connsiteX152" fmla="*/ 4383151 w 11269336"/>
              <a:gd name="connsiteY152" fmla="*/ 2201140 h 2323145"/>
              <a:gd name="connsiteX153" fmla="*/ 4366646 w 11269336"/>
              <a:gd name="connsiteY153" fmla="*/ 2198564 h 2323145"/>
              <a:gd name="connsiteX154" fmla="*/ 4354009 w 11269336"/>
              <a:gd name="connsiteY154" fmla="*/ 2204984 h 2323145"/>
              <a:gd name="connsiteX155" fmla="*/ 4348284 w 11269336"/>
              <a:gd name="connsiteY155" fmla="*/ 2205270 h 2323145"/>
              <a:gd name="connsiteX156" fmla="*/ 4333906 w 11269336"/>
              <a:gd name="connsiteY156" fmla="*/ 2205251 h 2323145"/>
              <a:gd name="connsiteX157" fmla="*/ 4308819 w 11269336"/>
              <a:gd name="connsiteY157" fmla="*/ 2203822 h 2323145"/>
              <a:gd name="connsiteX158" fmla="*/ 4301210 w 11269336"/>
              <a:gd name="connsiteY158" fmla="*/ 2204456 h 2323145"/>
              <a:gd name="connsiteX159" fmla="*/ 4283095 w 11269336"/>
              <a:gd name="connsiteY159" fmla="*/ 2198177 h 2323145"/>
              <a:gd name="connsiteX160" fmla="*/ 4250119 w 11269336"/>
              <a:gd name="connsiteY160" fmla="*/ 2196342 h 2323145"/>
              <a:gd name="connsiteX161" fmla="*/ 4189203 w 11269336"/>
              <a:gd name="connsiteY161" fmla="*/ 2178994 h 2323145"/>
              <a:gd name="connsiteX162" fmla="*/ 4154035 w 11269336"/>
              <a:gd name="connsiteY162" fmla="*/ 2171950 h 2323145"/>
              <a:gd name="connsiteX163" fmla="*/ 4129569 w 11269336"/>
              <a:gd name="connsiteY163" fmla="*/ 2163850 h 2323145"/>
              <a:gd name="connsiteX164" fmla="*/ 4061250 w 11269336"/>
              <a:gd name="connsiteY164" fmla="*/ 2159236 h 2323145"/>
              <a:gd name="connsiteX165" fmla="*/ 3945480 w 11269336"/>
              <a:gd name="connsiteY165" fmla="*/ 2158279 h 2323145"/>
              <a:gd name="connsiteX166" fmla="*/ 3921468 w 11269336"/>
              <a:gd name="connsiteY166" fmla="*/ 2156588 h 2323145"/>
              <a:gd name="connsiteX167" fmla="*/ 3903348 w 11269336"/>
              <a:gd name="connsiteY167" fmla="*/ 2149220 h 2323145"/>
              <a:gd name="connsiteX168" fmla="*/ 3901342 w 11269336"/>
              <a:gd name="connsiteY168" fmla="*/ 2142355 h 2323145"/>
              <a:gd name="connsiteX169" fmla="*/ 3888539 w 11269336"/>
              <a:gd name="connsiteY169" fmla="*/ 2140476 h 2323145"/>
              <a:gd name="connsiteX170" fmla="*/ 3885662 w 11269336"/>
              <a:gd name="connsiteY170" fmla="*/ 2138740 h 2323145"/>
              <a:gd name="connsiteX171" fmla="*/ 3868627 w 11269336"/>
              <a:gd name="connsiteY171" fmla="*/ 2130023 h 2323145"/>
              <a:gd name="connsiteX172" fmla="*/ 3819177 w 11269336"/>
              <a:gd name="connsiteY172" fmla="*/ 2142111 h 2323145"/>
              <a:gd name="connsiteX173" fmla="*/ 3769100 w 11269336"/>
              <a:gd name="connsiteY173" fmla="*/ 2131731 h 2323145"/>
              <a:gd name="connsiteX174" fmla="*/ 3562752 w 11269336"/>
              <a:gd name="connsiteY174" fmla="*/ 2131785 h 2323145"/>
              <a:gd name="connsiteX175" fmla="*/ 3541402 w 11269336"/>
              <a:gd name="connsiteY175" fmla="*/ 2106821 h 2323145"/>
              <a:gd name="connsiteX176" fmla="*/ 3365341 w 11269336"/>
              <a:gd name="connsiteY176" fmla="*/ 2077638 h 2323145"/>
              <a:gd name="connsiteX177" fmla="*/ 3170922 w 11269336"/>
              <a:gd name="connsiteY177" fmla="*/ 2115957 h 2323145"/>
              <a:gd name="connsiteX178" fmla="*/ 3156256 w 11269336"/>
              <a:gd name="connsiteY178" fmla="*/ 2124773 h 2323145"/>
              <a:gd name="connsiteX179" fmla="*/ 3140298 w 11269336"/>
              <a:gd name="connsiteY179" fmla="*/ 2129182 h 2323145"/>
              <a:gd name="connsiteX180" fmla="*/ 3138514 w 11269336"/>
              <a:gd name="connsiteY180" fmla="*/ 2128069 h 2323145"/>
              <a:gd name="connsiteX181" fmla="*/ 3120467 w 11269336"/>
              <a:gd name="connsiteY181" fmla="*/ 2128281 h 2323145"/>
              <a:gd name="connsiteX182" fmla="*/ 3116175 w 11269336"/>
              <a:gd name="connsiteY182" fmla="*/ 2131633 h 2323145"/>
              <a:gd name="connsiteX183" fmla="*/ 3103685 w 11269336"/>
              <a:gd name="connsiteY183" fmla="*/ 2132814 h 2323145"/>
              <a:gd name="connsiteX184" fmla="*/ 3078794 w 11269336"/>
              <a:gd name="connsiteY184" fmla="*/ 2137935 h 2323145"/>
              <a:gd name="connsiteX185" fmla="*/ 3074407 w 11269336"/>
              <a:gd name="connsiteY185" fmla="*/ 2136274 h 2323145"/>
              <a:gd name="connsiteX186" fmla="*/ 3037285 w 11269336"/>
              <a:gd name="connsiteY186" fmla="*/ 2139919 h 2323145"/>
              <a:gd name="connsiteX187" fmla="*/ 3036901 w 11269336"/>
              <a:gd name="connsiteY187" fmla="*/ 2138726 h 2323145"/>
              <a:gd name="connsiteX188" fmla="*/ 3026996 w 11269336"/>
              <a:gd name="connsiteY188" fmla="*/ 2134322 h 2323145"/>
              <a:gd name="connsiteX189" fmla="*/ 3007772 w 11269336"/>
              <a:gd name="connsiteY189" fmla="*/ 2128742 h 2323145"/>
              <a:gd name="connsiteX190" fmla="*/ 2965030 w 11269336"/>
              <a:gd name="connsiteY190" fmla="*/ 2100494 h 2323145"/>
              <a:gd name="connsiteX191" fmla="*/ 2926342 w 11269336"/>
              <a:gd name="connsiteY191" fmla="*/ 2104155 h 2323145"/>
              <a:gd name="connsiteX192" fmla="*/ 2918608 w 11269336"/>
              <a:gd name="connsiteY192" fmla="*/ 2104215 h 2323145"/>
              <a:gd name="connsiteX193" fmla="*/ 2918475 w 11269336"/>
              <a:gd name="connsiteY193" fmla="*/ 2103937 h 2323145"/>
              <a:gd name="connsiteX194" fmla="*/ 2910360 w 11269336"/>
              <a:gd name="connsiteY194" fmla="*/ 2103444 h 2323145"/>
              <a:gd name="connsiteX195" fmla="*/ 2904507 w 11269336"/>
              <a:gd name="connsiteY195" fmla="*/ 2104326 h 2323145"/>
              <a:gd name="connsiteX196" fmla="*/ 2889503 w 11269336"/>
              <a:gd name="connsiteY196" fmla="*/ 2104443 h 2323145"/>
              <a:gd name="connsiteX197" fmla="*/ 2884480 w 11269336"/>
              <a:gd name="connsiteY197" fmla="*/ 2102626 h 2323145"/>
              <a:gd name="connsiteX198" fmla="*/ 2882689 w 11269336"/>
              <a:gd name="connsiteY198" fmla="*/ 2099228 h 2323145"/>
              <a:gd name="connsiteX199" fmla="*/ 2881291 w 11269336"/>
              <a:gd name="connsiteY199" fmla="*/ 2099618 h 2323145"/>
              <a:gd name="connsiteX200" fmla="*/ 2853979 w 11269336"/>
              <a:gd name="connsiteY200" fmla="*/ 2090388 h 2323145"/>
              <a:gd name="connsiteX201" fmla="*/ 2791790 w 11269336"/>
              <a:gd name="connsiteY201" fmla="*/ 2080332 h 2323145"/>
              <a:gd name="connsiteX202" fmla="*/ 2755844 w 11269336"/>
              <a:gd name="connsiteY202" fmla="*/ 2078874 h 2323145"/>
              <a:gd name="connsiteX203" fmla="*/ 2657742 w 11269336"/>
              <a:gd name="connsiteY203" fmla="*/ 2070179 h 2323145"/>
              <a:gd name="connsiteX204" fmla="*/ 2559549 w 11269336"/>
              <a:gd name="connsiteY204" fmla="*/ 2057873 h 2323145"/>
              <a:gd name="connsiteX205" fmla="*/ 2512054 w 11269336"/>
              <a:gd name="connsiteY205" fmla="*/ 2031671 h 2323145"/>
              <a:gd name="connsiteX206" fmla="*/ 2506437 w 11269336"/>
              <a:gd name="connsiteY206" fmla="*/ 2030918 h 2323145"/>
              <a:gd name="connsiteX207" fmla="*/ 2491752 w 11269336"/>
              <a:gd name="connsiteY207" fmla="*/ 2033906 h 2323145"/>
              <a:gd name="connsiteX208" fmla="*/ 2486338 w 11269336"/>
              <a:gd name="connsiteY208" fmla="*/ 2035862 h 2323145"/>
              <a:gd name="connsiteX209" fmla="*/ 2478186 w 11269336"/>
              <a:gd name="connsiteY209" fmla="*/ 2036953 h 2323145"/>
              <a:gd name="connsiteX210" fmla="*/ 2477950 w 11269336"/>
              <a:gd name="connsiteY210" fmla="*/ 2036715 h 2323145"/>
              <a:gd name="connsiteX211" fmla="*/ 2470381 w 11269336"/>
              <a:gd name="connsiteY211" fmla="*/ 2038256 h 2323145"/>
              <a:gd name="connsiteX212" fmla="*/ 2433781 w 11269336"/>
              <a:gd name="connsiteY212" fmla="*/ 2049140 h 2323145"/>
              <a:gd name="connsiteX213" fmla="*/ 2381172 w 11269336"/>
              <a:gd name="connsiteY213" fmla="*/ 2030645 h 2323145"/>
              <a:gd name="connsiteX214" fmla="*/ 2360198 w 11269336"/>
              <a:gd name="connsiteY214" fmla="*/ 2029059 h 2323145"/>
              <a:gd name="connsiteX215" fmla="*/ 2348815 w 11269336"/>
              <a:gd name="connsiteY215" fmla="*/ 2026798 h 2323145"/>
              <a:gd name="connsiteX216" fmla="*/ 2347988 w 11269336"/>
              <a:gd name="connsiteY216" fmla="*/ 2025745 h 2323145"/>
              <a:gd name="connsiteX217" fmla="*/ 2312920 w 11269336"/>
              <a:gd name="connsiteY217" fmla="*/ 2036311 h 2323145"/>
              <a:gd name="connsiteX218" fmla="*/ 2307986 w 11269336"/>
              <a:gd name="connsiteY218" fmla="*/ 2035583 h 2323145"/>
              <a:gd name="connsiteX219" fmla="*/ 2285481 w 11269336"/>
              <a:gd name="connsiteY219" fmla="*/ 2045197 h 2323145"/>
              <a:gd name="connsiteX220" fmla="*/ 2273666 w 11269336"/>
              <a:gd name="connsiteY220" fmla="*/ 2048710 h 2323145"/>
              <a:gd name="connsiteX221" fmla="*/ 2270719 w 11269336"/>
              <a:gd name="connsiteY221" fmla="*/ 2052702 h 2323145"/>
              <a:gd name="connsiteX222" fmla="*/ 2253080 w 11269336"/>
              <a:gd name="connsiteY222" fmla="*/ 2056363 h 2323145"/>
              <a:gd name="connsiteX223" fmla="*/ 2250906 w 11269336"/>
              <a:gd name="connsiteY223" fmla="*/ 2055654 h 2323145"/>
              <a:gd name="connsiteX224" fmla="*/ 2236905 w 11269336"/>
              <a:gd name="connsiteY224" fmla="*/ 2062882 h 2323145"/>
              <a:gd name="connsiteX225" fmla="*/ 2225830 w 11269336"/>
              <a:gd name="connsiteY225" fmla="*/ 2074027 h 2323145"/>
              <a:gd name="connsiteX226" fmla="*/ 2073776 w 11269336"/>
              <a:gd name="connsiteY226" fmla="*/ 2089244 h 2323145"/>
              <a:gd name="connsiteX227" fmla="*/ 1948256 w 11269336"/>
              <a:gd name="connsiteY227" fmla="*/ 2146616 h 2323145"/>
              <a:gd name="connsiteX228" fmla="*/ 1865582 w 11269336"/>
              <a:gd name="connsiteY228" fmla="*/ 2153738 h 2323145"/>
              <a:gd name="connsiteX229" fmla="*/ 1835210 w 11269336"/>
              <a:gd name="connsiteY229" fmla="*/ 2134244 h 2323145"/>
              <a:gd name="connsiteX230" fmla="*/ 1632661 w 11269336"/>
              <a:gd name="connsiteY230" fmla="*/ 2173882 h 2323145"/>
              <a:gd name="connsiteX231" fmla="*/ 1579590 w 11269336"/>
              <a:gd name="connsiteY231" fmla="*/ 2173680 h 2323145"/>
              <a:gd name="connsiteX232" fmla="*/ 1535601 w 11269336"/>
              <a:gd name="connsiteY232" fmla="*/ 2194590 h 2323145"/>
              <a:gd name="connsiteX233" fmla="*/ 1515594 w 11269336"/>
              <a:gd name="connsiteY233" fmla="*/ 2189622 h 2323145"/>
              <a:gd name="connsiteX234" fmla="*/ 1512113 w 11269336"/>
              <a:gd name="connsiteY234" fmla="*/ 2188534 h 2323145"/>
              <a:gd name="connsiteX235" fmla="*/ 1498838 w 11269336"/>
              <a:gd name="connsiteY235" fmla="*/ 2189213 h 2323145"/>
              <a:gd name="connsiteX236" fmla="*/ 1494279 w 11269336"/>
              <a:gd name="connsiteY236" fmla="*/ 2183112 h 2323145"/>
              <a:gd name="connsiteX237" fmla="*/ 1473714 w 11269336"/>
              <a:gd name="connsiteY237" fmla="*/ 2179625 h 2323145"/>
              <a:gd name="connsiteX238" fmla="*/ 1449503 w 11269336"/>
              <a:gd name="connsiteY238" fmla="*/ 2182633 h 2323145"/>
              <a:gd name="connsiteX239" fmla="*/ 1266687 w 11269336"/>
              <a:gd name="connsiteY239" fmla="*/ 2212688 h 2323145"/>
              <a:gd name="connsiteX240" fmla="*/ 1239614 w 11269336"/>
              <a:gd name="connsiteY240" fmla="*/ 2209727 h 2323145"/>
              <a:gd name="connsiteX241" fmla="*/ 1202436 w 11269336"/>
              <a:gd name="connsiteY241" fmla="*/ 2209817 h 2323145"/>
              <a:gd name="connsiteX242" fmla="*/ 1136097 w 11269336"/>
              <a:gd name="connsiteY242" fmla="*/ 2205112 h 2323145"/>
              <a:gd name="connsiteX243" fmla="*/ 988232 w 11269336"/>
              <a:gd name="connsiteY243" fmla="*/ 2235635 h 2323145"/>
              <a:gd name="connsiteX244" fmla="*/ 981959 w 11269336"/>
              <a:gd name="connsiteY244" fmla="*/ 2231607 h 2323145"/>
              <a:gd name="connsiteX245" fmla="*/ 938600 w 11269336"/>
              <a:gd name="connsiteY245" fmla="*/ 2238113 h 2323145"/>
              <a:gd name="connsiteX246" fmla="*/ 791788 w 11269336"/>
              <a:gd name="connsiteY246" fmla="*/ 2293224 h 2323145"/>
              <a:gd name="connsiteX247" fmla="*/ 706914 w 11269336"/>
              <a:gd name="connsiteY247" fmla="*/ 2305046 h 2323145"/>
              <a:gd name="connsiteX248" fmla="*/ 675971 w 11269336"/>
              <a:gd name="connsiteY248" fmla="*/ 2304030 h 2323145"/>
              <a:gd name="connsiteX249" fmla="*/ 624180 w 11269336"/>
              <a:gd name="connsiteY249" fmla="*/ 2302650 h 2323145"/>
              <a:gd name="connsiteX250" fmla="*/ 583453 w 11269336"/>
              <a:gd name="connsiteY250" fmla="*/ 2288788 h 2323145"/>
              <a:gd name="connsiteX251" fmla="*/ 540946 w 11269336"/>
              <a:gd name="connsiteY251" fmla="*/ 2292721 h 2323145"/>
              <a:gd name="connsiteX252" fmla="*/ 533680 w 11269336"/>
              <a:gd name="connsiteY252" fmla="*/ 2310233 h 2323145"/>
              <a:gd name="connsiteX253" fmla="*/ 487366 w 11269336"/>
              <a:gd name="connsiteY253" fmla="*/ 2309053 h 2323145"/>
              <a:gd name="connsiteX254" fmla="*/ 416820 w 11269336"/>
              <a:gd name="connsiteY254" fmla="*/ 2305443 h 2323145"/>
              <a:gd name="connsiteX255" fmla="*/ 376805 w 11269336"/>
              <a:gd name="connsiteY255" fmla="*/ 2307647 h 2323145"/>
              <a:gd name="connsiteX256" fmla="*/ 266777 w 11269336"/>
              <a:gd name="connsiteY256" fmla="*/ 2309012 h 2323145"/>
              <a:gd name="connsiteX257" fmla="*/ 156013 w 11269336"/>
              <a:gd name="connsiteY257" fmla="*/ 2306832 h 2323145"/>
              <a:gd name="connsiteX258" fmla="*/ 87258 w 11269336"/>
              <a:gd name="connsiteY258" fmla="*/ 2285511 h 2323145"/>
              <a:gd name="connsiteX259" fmla="*/ 23798 w 11269336"/>
              <a:gd name="connsiteY259" fmla="*/ 2281822 h 2323145"/>
              <a:gd name="connsiteX260" fmla="*/ 0 w 11269336"/>
              <a:gd name="connsiteY260" fmla="*/ 2285369 h 2323145"/>
              <a:gd name="connsiteX261" fmla="*/ 0 w 11269336"/>
              <a:gd name="connsiteY26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593061 w 11269336"/>
              <a:gd name="connsiteY142" fmla="*/ 2171597 h 2323145"/>
              <a:gd name="connsiteX143" fmla="*/ 4533444 w 11269336"/>
              <a:gd name="connsiteY143" fmla="*/ 2181200 h 2323145"/>
              <a:gd name="connsiteX144" fmla="*/ 4492832 w 11269336"/>
              <a:gd name="connsiteY144" fmla="*/ 2188033 h 2323145"/>
              <a:gd name="connsiteX145" fmla="*/ 4467257 w 11269336"/>
              <a:gd name="connsiteY145" fmla="*/ 2196121 h 2323145"/>
              <a:gd name="connsiteX146" fmla="*/ 4459937 w 11269336"/>
              <a:gd name="connsiteY146" fmla="*/ 2195182 h 2323145"/>
              <a:gd name="connsiteX147" fmla="*/ 4433312 w 11269336"/>
              <a:gd name="connsiteY147" fmla="*/ 2199004 h 2323145"/>
              <a:gd name="connsiteX148" fmla="*/ 4420601 w 11269336"/>
              <a:gd name="connsiteY148" fmla="*/ 2205158 h 2323145"/>
              <a:gd name="connsiteX149" fmla="*/ 4405765 w 11269336"/>
              <a:gd name="connsiteY149" fmla="*/ 2199902 h 2323145"/>
              <a:gd name="connsiteX150" fmla="*/ 4401354 w 11269336"/>
              <a:gd name="connsiteY150" fmla="*/ 2194745 h 2323145"/>
              <a:gd name="connsiteX151" fmla="*/ 4383151 w 11269336"/>
              <a:gd name="connsiteY151" fmla="*/ 2201140 h 2323145"/>
              <a:gd name="connsiteX152" fmla="*/ 4366646 w 11269336"/>
              <a:gd name="connsiteY152" fmla="*/ 2198564 h 2323145"/>
              <a:gd name="connsiteX153" fmla="*/ 4354009 w 11269336"/>
              <a:gd name="connsiteY153" fmla="*/ 2204984 h 2323145"/>
              <a:gd name="connsiteX154" fmla="*/ 4348284 w 11269336"/>
              <a:gd name="connsiteY154" fmla="*/ 2205270 h 2323145"/>
              <a:gd name="connsiteX155" fmla="*/ 4333906 w 11269336"/>
              <a:gd name="connsiteY155" fmla="*/ 2205251 h 2323145"/>
              <a:gd name="connsiteX156" fmla="*/ 4308819 w 11269336"/>
              <a:gd name="connsiteY156" fmla="*/ 2203822 h 2323145"/>
              <a:gd name="connsiteX157" fmla="*/ 4301210 w 11269336"/>
              <a:gd name="connsiteY157" fmla="*/ 2204456 h 2323145"/>
              <a:gd name="connsiteX158" fmla="*/ 4283095 w 11269336"/>
              <a:gd name="connsiteY158" fmla="*/ 2198177 h 2323145"/>
              <a:gd name="connsiteX159" fmla="*/ 4250119 w 11269336"/>
              <a:gd name="connsiteY159" fmla="*/ 2196342 h 2323145"/>
              <a:gd name="connsiteX160" fmla="*/ 4189203 w 11269336"/>
              <a:gd name="connsiteY160" fmla="*/ 2178994 h 2323145"/>
              <a:gd name="connsiteX161" fmla="*/ 4154035 w 11269336"/>
              <a:gd name="connsiteY161" fmla="*/ 2171950 h 2323145"/>
              <a:gd name="connsiteX162" fmla="*/ 4129569 w 11269336"/>
              <a:gd name="connsiteY162" fmla="*/ 2163850 h 2323145"/>
              <a:gd name="connsiteX163" fmla="*/ 4061250 w 11269336"/>
              <a:gd name="connsiteY163" fmla="*/ 2159236 h 2323145"/>
              <a:gd name="connsiteX164" fmla="*/ 3945480 w 11269336"/>
              <a:gd name="connsiteY164" fmla="*/ 2158279 h 2323145"/>
              <a:gd name="connsiteX165" fmla="*/ 3921468 w 11269336"/>
              <a:gd name="connsiteY165" fmla="*/ 2156588 h 2323145"/>
              <a:gd name="connsiteX166" fmla="*/ 3903348 w 11269336"/>
              <a:gd name="connsiteY166" fmla="*/ 2149220 h 2323145"/>
              <a:gd name="connsiteX167" fmla="*/ 3901342 w 11269336"/>
              <a:gd name="connsiteY167" fmla="*/ 2142355 h 2323145"/>
              <a:gd name="connsiteX168" fmla="*/ 3888539 w 11269336"/>
              <a:gd name="connsiteY168" fmla="*/ 2140476 h 2323145"/>
              <a:gd name="connsiteX169" fmla="*/ 3885662 w 11269336"/>
              <a:gd name="connsiteY169" fmla="*/ 2138740 h 2323145"/>
              <a:gd name="connsiteX170" fmla="*/ 3868627 w 11269336"/>
              <a:gd name="connsiteY170" fmla="*/ 2130023 h 2323145"/>
              <a:gd name="connsiteX171" fmla="*/ 3819177 w 11269336"/>
              <a:gd name="connsiteY171" fmla="*/ 2142111 h 2323145"/>
              <a:gd name="connsiteX172" fmla="*/ 3769100 w 11269336"/>
              <a:gd name="connsiteY172" fmla="*/ 2131731 h 2323145"/>
              <a:gd name="connsiteX173" fmla="*/ 3562752 w 11269336"/>
              <a:gd name="connsiteY173" fmla="*/ 2131785 h 2323145"/>
              <a:gd name="connsiteX174" fmla="*/ 3541402 w 11269336"/>
              <a:gd name="connsiteY174" fmla="*/ 2106821 h 2323145"/>
              <a:gd name="connsiteX175" fmla="*/ 3365341 w 11269336"/>
              <a:gd name="connsiteY175" fmla="*/ 2077638 h 2323145"/>
              <a:gd name="connsiteX176" fmla="*/ 3170922 w 11269336"/>
              <a:gd name="connsiteY176" fmla="*/ 2115957 h 2323145"/>
              <a:gd name="connsiteX177" fmla="*/ 3156256 w 11269336"/>
              <a:gd name="connsiteY177" fmla="*/ 2124773 h 2323145"/>
              <a:gd name="connsiteX178" fmla="*/ 3140298 w 11269336"/>
              <a:gd name="connsiteY178" fmla="*/ 2129182 h 2323145"/>
              <a:gd name="connsiteX179" fmla="*/ 3138514 w 11269336"/>
              <a:gd name="connsiteY179" fmla="*/ 2128069 h 2323145"/>
              <a:gd name="connsiteX180" fmla="*/ 3120467 w 11269336"/>
              <a:gd name="connsiteY180" fmla="*/ 2128281 h 2323145"/>
              <a:gd name="connsiteX181" fmla="*/ 3116175 w 11269336"/>
              <a:gd name="connsiteY181" fmla="*/ 2131633 h 2323145"/>
              <a:gd name="connsiteX182" fmla="*/ 3103685 w 11269336"/>
              <a:gd name="connsiteY182" fmla="*/ 2132814 h 2323145"/>
              <a:gd name="connsiteX183" fmla="*/ 3078794 w 11269336"/>
              <a:gd name="connsiteY183" fmla="*/ 2137935 h 2323145"/>
              <a:gd name="connsiteX184" fmla="*/ 3074407 w 11269336"/>
              <a:gd name="connsiteY184" fmla="*/ 2136274 h 2323145"/>
              <a:gd name="connsiteX185" fmla="*/ 3037285 w 11269336"/>
              <a:gd name="connsiteY185" fmla="*/ 2139919 h 2323145"/>
              <a:gd name="connsiteX186" fmla="*/ 3036901 w 11269336"/>
              <a:gd name="connsiteY186" fmla="*/ 2138726 h 2323145"/>
              <a:gd name="connsiteX187" fmla="*/ 3026996 w 11269336"/>
              <a:gd name="connsiteY187" fmla="*/ 2134322 h 2323145"/>
              <a:gd name="connsiteX188" fmla="*/ 3007772 w 11269336"/>
              <a:gd name="connsiteY188" fmla="*/ 2128742 h 2323145"/>
              <a:gd name="connsiteX189" fmla="*/ 2965030 w 11269336"/>
              <a:gd name="connsiteY189" fmla="*/ 2100494 h 2323145"/>
              <a:gd name="connsiteX190" fmla="*/ 2926342 w 11269336"/>
              <a:gd name="connsiteY190" fmla="*/ 2104155 h 2323145"/>
              <a:gd name="connsiteX191" fmla="*/ 2918608 w 11269336"/>
              <a:gd name="connsiteY191" fmla="*/ 2104215 h 2323145"/>
              <a:gd name="connsiteX192" fmla="*/ 2918475 w 11269336"/>
              <a:gd name="connsiteY192" fmla="*/ 2103937 h 2323145"/>
              <a:gd name="connsiteX193" fmla="*/ 2910360 w 11269336"/>
              <a:gd name="connsiteY193" fmla="*/ 2103444 h 2323145"/>
              <a:gd name="connsiteX194" fmla="*/ 2904507 w 11269336"/>
              <a:gd name="connsiteY194" fmla="*/ 2104326 h 2323145"/>
              <a:gd name="connsiteX195" fmla="*/ 2889503 w 11269336"/>
              <a:gd name="connsiteY195" fmla="*/ 2104443 h 2323145"/>
              <a:gd name="connsiteX196" fmla="*/ 2884480 w 11269336"/>
              <a:gd name="connsiteY196" fmla="*/ 2102626 h 2323145"/>
              <a:gd name="connsiteX197" fmla="*/ 2882689 w 11269336"/>
              <a:gd name="connsiteY197" fmla="*/ 2099228 h 2323145"/>
              <a:gd name="connsiteX198" fmla="*/ 2881291 w 11269336"/>
              <a:gd name="connsiteY198" fmla="*/ 2099618 h 2323145"/>
              <a:gd name="connsiteX199" fmla="*/ 2853979 w 11269336"/>
              <a:gd name="connsiteY199" fmla="*/ 2090388 h 2323145"/>
              <a:gd name="connsiteX200" fmla="*/ 2791790 w 11269336"/>
              <a:gd name="connsiteY200" fmla="*/ 2080332 h 2323145"/>
              <a:gd name="connsiteX201" fmla="*/ 2755844 w 11269336"/>
              <a:gd name="connsiteY201" fmla="*/ 2078874 h 2323145"/>
              <a:gd name="connsiteX202" fmla="*/ 2657742 w 11269336"/>
              <a:gd name="connsiteY202" fmla="*/ 2070179 h 2323145"/>
              <a:gd name="connsiteX203" fmla="*/ 2559549 w 11269336"/>
              <a:gd name="connsiteY203" fmla="*/ 2057873 h 2323145"/>
              <a:gd name="connsiteX204" fmla="*/ 2512054 w 11269336"/>
              <a:gd name="connsiteY204" fmla="*/ 2031671 h 2323145"/>
              <a:gd name="connsiteX205" fmla="*/ 2506437 w 11269336"/>
              <a:gd name="connsiteY205" fmla="*/ 2030918 h 2323145"/>
              <a:gd name="connsiteX206" fmla="*/ 2491752 w 11269336"/>
              <a:gd name="connsiteY206" fmla="*/ 2033906 h 2323145"/>
              <a:gd name="connsiteX207" fmla="*/ 2486338 w 11269336"/>
              <a:gd name="connsiteY207" fmla="*/ 2035862 h 2323145"/>
              <a:gd name="connsiteX208" fmla="*/ 2478186 w 11269336"/>
              <a:gd name="connsiteY208" fmla="*/ 2036953 h 2323145"/>
              <a:gd name="connsiteX209" fmla="*/ 2477950 w 11269336"/>
              <a:gd name="connsiteY209" fmla="*/ 2036715 h 2323145"/>
              <a:gd name="connsiteX210" fmla="*/ 2470381 w 11269336"/>
              <a:gd name="connsiteY210" fmla="*/ 2038256 h 2323145"/>
              <a:gd name="connsiteX211" fmla="*/ 2433781 w 11269336"/>
              <a:gd name="connsiteY211" fmla="*/ 2049140 h 2323145"/>
              <a:gd name="connsiteX212" fmla="*/ 2381172 w 11269336"/>
              <a:gd name="connsiteY212" fmla="*/ 2030645 h 2323145"/>
              <a:gd name="connsiteX213" fmla="*/ 2360198 w 11269336"/>
              <a:gd name="connsiteY213" fmla="*/ 2029059 h 2323145"/>
              <a:gd name="connsiteX214" fmla="*/ 2348815 w 11269336"/>
              <a:gd name="connsiteY214" fmla="*/ 2026798 h 2323145"/>
              <a:gd name="connsiteX215" fmla="*/ 2347988 w 11269336"/>
              <a:gd name="connsiteY215" fmla="*/ 2025745 h 2323145"/>
              <a:gd name="connsiteX216" fmla="*/ 2312920 w 11269336"/>
              <a:gd name="connsiteY216" fmla="*/ 2036311 h 2323145"/>
              <a:gd name="connsiteX217" fmla="*/ 2307986 w 11269336"/>
              <a:gd name="connsiteY217" fmla="*/ 2035583 h 2323145"/>
              <a:gd name="connsiteX218" fmla="*/ 2285481 w 11269336"/>
              <a:gd name="connsiteY218" fmla="*/ 2045197 h 2323145"/>
              <a:gd name="connsiteX219" fmla="*/ 2273666 w 11269336"/>
              <a:gd name="connsiteY219" fmla="*/ 2048710 h 2323145"/>
              <a:gd name="connsiteX220" fmla="*/ 2270719 w 11269336"/>
              <a:gd name="connsiteY220" fmla="*/ 2052702 h 2323145"/>
              <a:gd name="connsiteX221" fmla="*/ 2253080 w 11269336"/>
              <a:gd name="connsiteY221" fmla="*/ 2056363 h 2323145"/>
              <a:gd name="connsiteX222" fmla="*/ 2250906 w 11269336"/>
              <a:gd name="connsiteY222" fmla="*/ 2055654 h 2323145"/>
              <a:gd name="connsiteX223" fmla="*/ 2236905 w 11269336"/>
              <a:gd name="connsiteY223" fmla="*/ 2062882 h 2323145"/>
              <a:gd name="connsiteX224" fmla="*/ 2225830 w 11269336"/>
              <a:gd name="connsiteY224" fmla="*/ 2074027 h 2323145"/>
              <a:gd name="connsiteX225" fmla="*/ 2073776 w 11269336"/>
              <a:gd name="connsiteY225" fmla="*/ 2089244 h 2323145"/>
              <a:gd name="connsiteX226" fmla="*/ 1948256 w 11269336"/>
              <a:gd name="connsiteY226" fmla="*/ 2146616 h 2323145"/>
              <a:gd name="connsiteX227" fmla="*/ 1865582 w 11269336"/>
              <a:gd name="connsiteY227" fmla="*/ 2153738 h 2323145"/>
              <a:gd name="connsiteX228" fmla="*/ 1835210 w 11269336"/>
              <a:gd name="connsiteY228" fmla="*/ 2134244 h 2323145"/>
              <a:gd name="connsiteX229" fmla="*/ 1632661 w 11269336"/>
              <a:gd name="connsiteY229" fmla="*/ 2173882 h 2323145"/>
              <a:gd name="connsiteX230" fmla="*/ 1579590 w 11269336"/>
              <a:gd name="connsiteY230" fmla="*/ 2173680 h 2323145"/>
              <a:gd name="connsiteX231" fmla="*/ 1535601 w 11269336"/>
              <a:gd name="connsiteY231" fmla="*/ 2194590 h 2323145"/>
              <a:gd name="connsiteX232" fmla="*/ 1515594 w 11269336"/>
              <a:gd name="connsiteY232" fmla="*/ 2189622 h 2323145"/>
              <a:gd name="connsiteX233" fmla="*/ 1512113 w 11269336"/>
              <a:gd name="connsiteY233" fmla="*/ 2188534 h 2323145"/>
              <a:gd name="connsiteX234" fmla="*/ 1498838 w 11269336"/>
              <a:gd name="connsiteY234" fmla="*/ 2189213 h 2323145"/>
              <a:gd name="connsiteX235" fmla="*/ 1494279 w 11269336"/>
              <a:gd name="connsiteY235" fmla="*/ 2183112 h 2323145"/>
              <a:gd name="connsiteX236" fmla="*/ 1473714 w 11269336"/>
              <a:gd name="connsiteY236" fmla="*/ 2179625 h 2323145"/>
              <a:gd name="connsiteX237" fmla="*/ 1449503 w 11269336"/>
              <a:gd name="connsiteY237" fmla="*/ 2182633 h 2323145"/>
              <a:gd name="connsiteX238" fmla="*/ 1266687 w 11269336"/>
              <a:gd name="connsiteY238" fmla="*/ 2212688 h 2323145"/>
              <a:gd name="connsiteX239" fmla="*/ 1239614 w 11269336"/>
              <a:gd name="connsiteY239" fmla="*/ 2209727 h 2323145"/>
              <a:gd name="connsiteX240" fmla="*/ 1202436 w 11269336"/>
              <a:gd name="connsiteY240" fmla="*/ 2209817 h 2323145"/>
              <a:gd name="connsiteX241" fmla="*/ 1136097 w 11269336"/>
              <a:gd name="connsiteY241" fmla="*/ 2205112 h 2323145"/>
              <a:gd name="connsiteX242" fmla="*/ 988232 w 11269336"/>
              <a:gd name="connsiteY242" fmla="*/ 2235635 h 2323145"/>
              <a:gd name="connsiteX243" fmla="*/ 981959 w 11269336"/>
              <a:gd name="connsiteY243" fmla="*/ 2231607 h 2323145"/>
              <a:gd name="connsiteX244" fmla="*/ 938600 w 11269336"/>
              <a:gd name="connsiteY244" fmla="*/ 2238113 h 2323145"/>
              <a:gd name="connsiteX245" fmla="*/ 791788 w 11269336"/>
              <a:gd name="connsiteY245" fmla="*/ 2293224 h 2323145"/>
              <a:gd name="connsiteX246" fmla="*/ 706914 w 11269336"/>
              <a:gd name="connsiteY246" fmla="*/ 2305046 h 2323145"/>
              <a:gd name="connsiteX247" fmla="*/ 675971 w 11269336"/>
              <a:gd name="connsiteY247" fmla="*/ 2304030 h 2323145"/>
              <a:gd name="connsiteX248" fmla="*/ 624180 w 11269336"/>
              <a:gd name="connsiteY248" fmla="*/ 2302650 h 2323145"/>
              <a:gd name="connsiteX249" fmla="*/ 583453 w 11269336"/>
              <a:gd name="connsiteY249" fmla="*/ 2288788 h 2323145"/>
              <a:gd name="connsiteX250" fmla="*/ 540946 w 11269336"/>
              <a:gd name="connsiteY250" fmla="*/ 2292721 h 2323145"/>
              <a:gd name="connsiteX251" fmla="*/ 533680 w 11269336"/>
              <a:gd name="connsiteY251" fmla="*/ 2310233 h 2323145"/>
              <a:gd name="connsiteX252" fmla="*/ 487366 w 11269336"/>
              <a:gd name="connsiteY252" fmla="*/ 2309053 h 2323145"/>
              <a:gd name="connsiteX253" fmla="*/ 416820 w 11269336"/>
              <a:gd name="connsiteY253" fmla="*/ 2305443 h 2323145"/>
              <a:gd name="connsiteX254" fmla="*/ 376805 w 11269336"/>
              <a:gd name="connsiteY254" fmla="*/ 2307647 h 2323145"/>
              <a:gd name="connsiteX255" fmla="*/ 266777 w 11269336"/>
              <a:gd name="connsiteY255" fmla="*/ 2309012 h 2323145"/>
              <a:gd name="connsiteX256" fmla="*/ 156013 w 11269336"/>
              <a:gd name="connsiteY256" fmla="*/ 2306832 h 2323145"/>
              <a:gd name="connsiteX257" fmla="*/ 87258 w 11269336"/>
              <a:gd name="connsiteY257" fmla="*/ 2285511 h 2323145"/>
              <a:gd name="connsiteX258" fmla="*/ 23798 w 11269336"/>
              <a:gd name="connsiteY258" fmla="*/ 2281822 h 2323145"/>
              <a:gd name="connsiteX259" fmla="*/ 0 w 11269336"/>
              <a:gd name="connsiteY259" fmla="*/ 2285369 h 2323145"/>
              <a:gd name="connsiteX260" fmla="*/ 0 w 11269336"/>
              <a:gd name="connsiteY260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593061 w 11269336"/>
              <a:gd name="connsiteY141" fmla="*/ 2171597 h 2323145"/>
              <a:gd name="connsiteX142" fmla="*/ 4533444 w 11269336"/>
              <a:gd name="connsiteY142" fmla="*/ 2181200 h 2323145"/>
              <a:gd name="connsiteX143" fmla="*/ 4492832 w 11269336"/>
              <a:gd name="connsiteY143" fmla="*/ 2188033 h 2323145"/>
              <a:gd name="connsiteX144" fmla="*/ 4467257 w 11269336"/>
              <a:gd name="connsiteY144" fmla="*/ 2196121 h 2323145"/>
              <a:gd name="connsiteX145" fmla="*/ 4459937 w 11269336"/>
              <a:gd name="connsiteY145" fmla="*/ 2195182 h 2323145"/>
              <a:gd name="connsiteX146" fmla="*/ 4433312 w 11269336"/>
              <a:gd name="connsiteY146" fmla="*/ 2199004 h 2323145"/>
              <a:gd name="connsiteX147" fmla="*/ 4420601 w 11269336"/>
              <a:gd name="connsiteY147" fmla="*/ 2205158 h 2323145"/>
              <a:gd name="connsiteX148" fmla="*/ 4405765 w 11269336"/>
              <a:gd name="connsiteY148" fmla="*/ 2199902 h 2323145"/>
              <a:gd name="connsiteX149" fmla="*/ 4401354 w 11269336"/>
              <a:gd name="connsiteY149" fmla="*/ 2194745 h 2323145"/>
              <a:gd name="connsiteX150" fmla="*/ 4383151 w 11269336"/>
              <a:gd name="connsiteY150" fmla="*/ 2201140 h 2323145"/>
              <a:gd name="connsiteX151" fmla="*/ 4366646 w 11269336"/>
              <a:gd name="connsiteY151" fmla="*/ 2198564 h 2323145"/>
              <a:gd name="connsiteX152" fmla="*/ 4354009 w 11269336"/>
              <a:gd name="connsiteY152" fmla="*/ 2204984 h 2323145"/>
              <a:gd name="connsiteX153" fmla="*/ 4348284 w 11269336"/>
              <a:gd name="connsiteY153" fmla="*/ 2205270 h 2323145"/>
              <a:gd name="connsiteX154" fmla="*/ 4333906 w 11269336"/>
              <a:gd name="connsiteY154" fmla="*/ 2205251 h 2323145"/>
              <a:gd name="connsiteX155" fmla="*/ 4308819 w 11269336"/>
              <a:gd name="connsiteY155" fmla="*/ 2203822 h 2323145"/>
              <a:gd name="connsiteX156" fmla="*/ 4301210 w 11269336"/>
              <a:gd name="connsiteY156" fmla="*/ 2204456 h 2323145"/>
              <a:gd name="connsiteX157" fmla="*/ 4283095 w 11269336"/>
              <a:gd name="connsiteY157" fmla="*/ 2198177 h 2323145"/>
              <a:gd name="connsiteX158" fmla="*/ 4250119 w 11269336"/>
              <a:gd name="connsiteY158" fmla="*/ 2196342 h 2323145"/>
              <a:gd name="connsiteX159" fmla="*/ 4189203 w 11269336"/>
              <a:gd name="connsiteY159" fmla="*/ 2178994 h 2323145"/>
              <a:gd name="connsiteX160" fmla="*/ 4154035 w 11269336"/>
              <a:gd name="connsiteY160" fmla="*/ 2171950 h 2323145"/>
              <a:gd name="connsiteX161" fmla="*/ 4129569 w 11269336"/>
              <a:gd name="connsiteY161" fmla="*/ 2163850 h 2323145"/>
              <a:gd name="connsiteX162" fmla="*/ 4061250 w 11269336"/>
              <a:gd name="connsiteY162" fmla="*/ 2159236 h 2323145"/>
              <a:gd name="connsiteX163" fmla="*/ 3945480 w 11269336"/>
              <a:gd name="connsiteY163" fmla="*/ 2158279 h 2323145"/>
              <a:gd name="connsiteX164" fmla="*/ 3921468 w 11269336"/>
              <a:gd name="connsiteY164" fmla="*/ 2156588 h 2323145"/>
              <a:gd name="connsiteX165" fmla="*/ 3903348 w 11269336"/>
              <a:gd name="connsiteY165" fmla="*/ 2149220 h 2323145"/>
              <a:gd name="connsiteX166" fmla="*/ 3901342 w 11269336"/>
              <a:gd name="connsiteY166" fmla="*/ 2142355 h 2323145"/>
              <a:gd name="connsiteX167" fmla="*/ 3888539 w 11269336"/>
              <a:gd name="connsiteY167" fmla="*/ 2140476 h 2323145"/>
              <a:gd name="connsiteX168" fmla="*/ 3885662 w 11269336"/>
              <a:gd name="connsiteY168" fmla="*/ 2138740 h 2323145"/>
              <a:gd name="connsiteX169" fmla="*/ 3868627 w 11269336"/>
              <a:gd name="connsiteY169" fmla="*/ 2130023 h 2323145"/>
              <a:gd name="connsiteX170" fmla="*/ 3819177 w 11269336"/>
              <a:gd name="connsiteY170" fmla="*/ 2142111 h 2323145"/>
              <a:gd name="connsiteX171" fmla="*/ 3769100 w 11269336"/>
              <a:gd name="connsiteY171" fmla="*/ 2131731 h 2323145"/>
              <a:gd name="connsiteX172" fmla="*/ 3562752 w 11269336"/>
              <a:gd name="connsiteY172" fmla="*/ 2131785 h 2323145"/>
              <a:gd name="connsiteX173" fmla="*/ 3541402 w 11269336"/>
              <a:gd name="connsiteY173" fmla="*/ 2106821 h 2323145"/>
              <a:gd name="connsiteX174" fmla="*/ 3365341 w 11269336"/>
              <a:gd name="connsiteY174" fmla="*/ 2077638 h 2323145"/>
              <a:gd name="connsiteX175" fmla="*/ 3170922 w 11269336"/>
              <a:gd name="connsiteY175" fmla="*/ 2115957 h 2323145"/>
              <a:gd name="connsiteX176" fmla="*/ 3156256 w 11269336"/>
              <a:gd name="connsiteY176" fmla="*/ 2124773 h 2323145"/>
              <a:gd name="connsiteX177" fmla="*/ 3140298 w 11269336"/>
              <a:gd name="connsiteY177" fmla="*/ 2129182 h 2323145"/>
              <a:gd name="connsiteX178" fmla="*/ 3138514 w 11269336"/>
              <a:gd name="connsiteY178" fmla="*/ 2128069 h 2323145"/>
              <a:gd name="connsiteX179" fmla="*/ 3120467 w 11269336"/>
              <a:gd name="connsiteY179" fmla="*/ 2128281 h 2323145"/>
              <a:gd name="connsiteX180" fmla="*/ 3116175 w 11269336"/>
              <a:gd name="connsiteY180" fmla="*/ 2131633 h 2323145"/>
              <a:gd name="connsiteX181" fmla="*/ 3103685 w 11269336"/>
              <a:gd name="connsiteY181" fmla="*/ 2132814 h 2323145"/>
              <a:gd name="connsiteX182" fmla="*/ 3078794 w 11269336"/>
              <a:gd name="connsiteY182" fmla="*/ 2137935 h 2323145"/>
              <a:gd name="connsiteX183" fmla="*/ 3074407 w 11269336"/>
              <a:gd name="connsiteY183" fmla="*/ 2136274 h 2323145"/>
              <a:gd name="connsiteX184" fmla="*/ 3037285 w 11269336"/>
              <a:gd name="connsiteY184" fmla="*/ 2139919 h 2323145"/>
              <a:gd name="connsiteX185" fmla="*/ 3036901 w 11269336"/>
              <a:gd name="connsiteY185" fmla="*/ 2138726 h 2323145"/>
              <a:gd name="connsiteX186" fmla="*/ 3026996 w 11269336"/>
              <a:gd name="connsiteY186" fmla="*/ 2134322 h 2323145"/>
              <a:gd name="connsiteX187" fmla="*/ 3007772 w 11269336"/>
              <a:gd name="connsiteY187" fmla="*/ 2128742 h 2323145"/>
              <a:gd name="connsiteX188" fmla="*/ 2965030 w 11269336"/>
              <a:gd name="connsiteY188" fmla="*/ 2100494 h 2323145"/>
              <a:gd name="connsiteX189" fmla="*/ 2926342 w 11269336"/>
              <a:gd name="connsiteY189" fmla="*/ 2104155 h 2323145"/>
              <a:gd name="connsiteX190" fmla="*/ 2918608 w 11269336"/>
              <a:gd name="connsiteY190" fmla="*/ 2104215 h 2323145"/>
              <a:gd name="connsiteX191" fmla="*/ 2918475 w 11269336"/>
              <a:gd name="connsiteY191" fmla="*/ 2103937 h 2323145"/>
              <a:gd name="connsiteX192" fmla="*/ 2910360 w 11269336"/>
              <a:gd name="connsiteY192" fmla="*/ 2103444 h 2323145"/>
              <a:gd name="connsiteX193" fmla="*/ 2904507 w 11269336"/>
              <a:gd name="connsiteY193" fmla="*/ 2104326 h 2323145"/>
              <a:gd name="connsiteX194" fmla="*/ 2889503 w 11269336"/>
              <a:gd name="connsiteY194" fmla="*/ 2104443 h 2323145"/>
              <a:gd name="connsiteX195" fmla="*/ 2884480 w 11269336"/>
              <a:gd name="connsiteY195" fmla="*/ 2102626 h 2323145"/>
              <a:gd name="connsiteX196" fmla="*/ 2882689 w 11269336"/>
              <a:gd name="connsiteY196" fmla="*/ 2099228 h 2323145"/>
              <a:gd name="connsiteX197" fmla="*/ 2881291 w 11269336"/>
              <a:gd name="connsiteY197" fmla="*/ 2099618 h 2323145"/>
              <a:gd name="connsiteX198" fmla="*/ 2853979 w 11269336"/>
              <a:gd name="connsiteY198" fmla="*/ 2090388 h 2323145"/>
              <a:gd name="connsiteX199" fmla="*/ 2791790 w 11269336"/>
              <a:gd name="connsiteY199" fmla="*/ 2080332 h 2323145"/>
              <a:gd name="connsiteX200" fmla="*/ 2755844 w 11269336"/>
              <a:gd name="connsiteY200" fmla="*/ 2078874 h 2323145"/>
              <a:gd name="connsiteX201" fmla="*/ 2657742 w 11269336"/>
              <a:gd name="connsiteY201" fmla="*/ 2070179 h 2323145"/>
              <a:gd name="connsiteX202" fmla="*/ 2559549 w 11269336"/>
              <a:gd name="connsiteY202" fmla="*/ 2057873 h 2323145"/>
              <a:gd name="connsiteX203" fmla="*/ 2512054 w 11269336"/>
              <a:gd name="connsiteY203" fmla="*/ 2031671 h 2323145"/>
              <a:gd name="connsiteX204" fmla="*/ 2506437 w 11269336"/>
              <a:gd name="connsiteY204" fmla="*/ 2030918 h 2323145"/>
              <a:gd name="connsiteX205" fmla="*/ 2491752 w 11269336"/>
              <a:gd name="connsiteY205" fmla="*/ 2033906 h 2323145"/>
              <a:gd name="connsiteX206" fmla="*/ 2486338 w 11269336"/>
              <a:gd name="connsiteY206" fmla="*/ 2035862 h 2323145"/>
              <a:gd name="connsiteX207" fmla="*/ 2478186 w 11269336"/>
              <a:gd name="connsiteY207" fmla="*/ 2036953 h 2323145"/>
              <a:gd name="connsiteX208" fmla="*/ 2477950 w 11269336"/>
              <a:gd name="connsiteY208" fmla="*/ 2036715 h 2323145"/>
              <a:gd name="connsiteX209" fmla="*/ 2470381 w 11269336"/>
              <a:gd name="connsiteY209" fmla="*/ 2038256 h 2323145"/>
              <a:gd name="connsiteX210" fmla="*/ 2433781 w 11269336"/>
              <a:gd name="connsiteY210" fmla="*/ 2049140 h 2323145"/>
              <a:gd name="connsiteX211" fmla="*/ 2381172 w 11269336"/>
              <a:gd name="connsiteY211" fmla="*/ 2030645 h 2323145"/>
              <a:gd name="connsiteX212" fmla="*/ 2360198 w 11269336"/>
              <a:gd name="connsiteY212" fmla="*/ 2029059 h 2323145"/>
              <a:gd name="connsiteX213" fmla="*/ 2348815 w 11269336"/>
              <a:gd name="connsiteY213" fmla="*/ 2026798 h 2323145"/>
              <a:gd name="connsiteX214" fmla="*/ 2347988 w 11269336"/>
              <a:gd name="connsiteY214" fmla="*/ 2025745 h 2323145"/>
              <a:gd name="connsiteX215" fmla="*/ 2312920 w 11269336"/>
              <a:gd name="connsiteY215" fmla="*/ 2036311 h 2323145"/>
              <a:gd name="connsiteX216" fmla="*/ 2307986 w 11269336"/>
              <a:gd name="connsiteY216" fmla="*/ 2035583 h 2323145"/>
              <a:gd name="connsiteX217" fmla="*/ 2285481 w 11269336"/>
              <a:gd name="connsiteY217" fmla="*/ 2045197 h 2323145"/>
              <a:gd name="connsiteX218" fmla="*/ 2273666 w 11269336"/>
              <a:gd name="connsiteY218" fmla="*/ 2048710 h 2323145"/>
              <a:gd name="connsiteX219" fmla="*/ 2270719 w 11269336"/>
              <a:gd name="connsiteY219" fmla="*/ 2052702 h 2323145"/>
              <a:gd name="connsiteX220" fmla="*/ 2253080 w 11269336"/>
              <a:gd name="connsiteY220" fmla="*/ 2056363 h 2323145"/>
              <a:gd name="connsiteX221" fmla="*/ 2250906 w 11269336"/>
              <a:gd name="connsiteY221" fmla="*/ 2055654 h 2323145"/>
              <a:gd name="connsiteX222" fmla="*/ 2236905 w 11269336"/>
              <a:gd name="connsiteY222" fmla="*/ 2062882 h 2323145"/>
              <a:gd name="connsiteX223" fmla="*/ 2225830 w 11269336"/>
              <a:gd name="connsiteY223" fmla="*/ 2074027 h 2323145"/>
              <a:gd name="connsiteX224" fmla="*/ 2073776 w 11269336"/>
              <a:gd name="connsiteY224" fmla="*/ 2089244 h 2323145"/>
              <a:gd name="connsiteX225" fmla="*/ 1948256 w 11269336"/>
              <a:gd name="connsiteY225" fmla="*/ 2146616 h 2323145"/>
              <a:gd name="connsiteX226" fmla="*/ 1865582 w 11269336"/>
              <a:gd name="connsiteY226" fmla="*/ 2153738 h 2323145"/>
              <a:gd name="connsiteX227" fmla="*/ 1835210 w 11269336"/>
              <a:gd name="connsiteY227" fmla="*/ 2134244 h 2323145"/>
              <a:gd name="connsiteX228" fmla="*/ 1632661 w 11269336"/>
              <a:gd name="connsiteY228" fmla="*/ 2173882 h 2323145"/>
              <a:gd name="connsiteX229" fmla="*/ 1579590 w 11269336"/>
              <a:gd name="connsiteY229" fmla="*/ 2173680 h 2323145"/>
              <a:gd name="connsiteX230" fmla="*/ 1535601 w 11269336"/>
              <a:gd name="connsiteY230" fmla="*/ 2194590 h 2323145"/>
              <a:gd name="connsiteX231" fmla="*/ 1515594 w 11269336"/>
              <a:gd name="connsiteY231" fmla="*/ 2189622 h 2323145"/>
              <a:gd name="connsiteX232" fmla="*/ 1512113 w 11269336"/>
              <a:gd name="connsiteY232" fmla="*/ 2188534 h 2323145"/>
              <a:gd name="connsiteX233" fmla="*/ 1498838 w 11269336"/>
              <a:gd name="connsiteY233" fmla="*/ 2189213 h 2323145"/>
              <a:gd name="connsiteX234" fmla="*/ 1494279 w 11269336"/>
              <a:gd name="connsiteY234" fmla="*/ 2183112 h 2323145"/>
              <a:gd name="connsiteX235" fmla="*/ 1473714 w 11269336"/>
              <a:gd name="connsiteY235" fmla="*/ 2179625 h 2323145"/>
              <a:gd name="connsiteX236" fmla="*/ 1449503 w 11269336"/>
              <a:gd name="connsiteY236" fmla="*/ 2182633 h 2323145"/>
              <a:gd name="connsiteX237" fmla="*/ 1266687 w 11269336"/>
              <a:gd name="connsiteY237" fmla="*/ 2212688 h 2323145"/>
              <a:gd name="connsiteX238" fmla="*/ 1239614 w 11269336"/>
              <a:gd name="connsiteY238" fmla="*/ 2209727 h 2323145"/>
              <a:gd name="connsiteX239" fmla="*/ 1202436 w 11269336"/>
              <a:gd name="connsiteY239" fmla="*/ 2209817 h 2323145"/>
              <a:gd name="connsiteX240" fmla="*/ 1136097 w 11269336"/>
              <a:gd name="connsiteY240" fmla="*/ 2205112 h 2323145"/>
              <a:gd name="connsiteX241" fmla="*/ 988232 w 11269336"/>
              <a:gd name="connsiteY241" fmla="*/ 2235635 h 2323145"/>
              <a:gd name="connsiteX242" fmla="*/ 981959 w 11269336"/>
              <a:gd name="connsiteY242" fmla="*/ 2231607 h 2323145"/>
              <a:gd name="connsiteX243" fmla="*/ 938600 w 11269336"/>
              <a:gd name="connsiteY243" fmla="*/ 2238113 h 2323145"/>
              <a:gd name="connsiteX244" fmla="*/ 791788 w 11269336"/>
              <a:gd name="connsiteY244" fmla="*/ 2293224 h 2323145"/>
              <a:gd name="connsiteX245" fmla="*/ 706914 w 11269336"/>
              <a:gd name="connsiteY245" fmla="*/ 2305046 h 2323145"/>
              <a:gd name="connsiteX246" fmla="*/ 675971 w 11269336"/>
              <a:gd name="connsiteY246" fmla="*/ 2304030 h 2323145"/>
              <a:gd name="connsiteX247" fmla="*/ 624180 w 11269336"/>
              <a:gd name="connsiteY247" fmla="*/ 2302650 h 2323145"/>
              <a:gd name="connsiteX248" fmla="*/ 583453 w 11269336"/>
              <a:gd name="connsiteY248" fmla="*/ 2288788 h 2323145"/>
              <a:gd name="connsiteX249" fmla="*/ 540946 w 11269336"/>
              <a:gd name="connsiteY249" fmla="*/ 2292721 h 2323145"/>
              <a:gd name="connsiteX250" fmla="*/ 533680 w 11269336"/>
              <a:gd name="connsiteY250" fmla="*/ 2310233 h 2323145"/>
              <a:gd name="connsiteX251" fmla="*/ 487366 w 11269336"/>
              <a:gd name="connsiteY251" fmla="*/ 2309053 h 2323145"/>
              <a:gd name="connsiteX252" fmla="*/ 416820 w 11269336"/>
              <a:gd name="connsiteY252" fmla="*/ 2305443 h 2323145"/>
              <a:gd name="connsiteX253" fmla="*/ 376805 w 11269336"/>
              <a:gd name="connsiteY253" fmla="*/ 2307647 h 2323145"/>
              <a:gd name="connsiteX254" fmla="*/ 266777 w 11269336"/>
              <a:gd name="connsiteY254" fmla="*/ 2309012 h 2323145"/>
              <a:gd name="connsiteX255" fmla="*/ 156013 w 11269336"/>
              <a:gd name="connsiteY255" fmla="*/ 2306832 h 2323145"/>
              <a:gd name="connsiteX256" fmla="*/ 87258 w 11269336"/>
              <a:gd name="connsiteY256" fmla="*/ 2285511 h 2323145"/>
              <a:gd name="connsiteX257" fmla="*/ 23798 w 11269336"/>
              <a:gd name="connsiteY257" fmla="*/ 2281822 h 2323145"/>
              <a:gd name="connsiteX258" fmla="*/ 0 w 11269336"/>
              <a:gd name="connsiteY258" fmla="*/ 2285369 h 2323145"/>
              <a:gd name="connsiteX259" fmla="*/ 0 w 11269336"/>
              <a:gd name="connsiteY259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20601 w 11269336"/>
              <a:gd name="connsiteY146" fmla="*/ 2205158 h 2323145"/>
              <a:gd name="connsiteX147" fmla="*/ 4405765 w 11269336"/>
              <a:gd name="connsiteY147" fmla="*/ 2199902 h 2323145"/>
              <a:gd name="connsiteX148" fmla="*/ 4401354 w 11269336"/>
              <a:gd name="connsiteY148" fmla="*/ 2194745 h 2323145"/>
              <a:gd name="connsiteX149" fmla="*/ 4383151 w 11269336"/>
              <a:gd name="connsiteY149" fmla="*/ 2201140 h 2323145"/>
              <a:gd name="connsiteX150" fmla="*/ 4366646 w 11269336"/>
              <a:gd name="connsiteY150" fmla="*/ 2198564 h 2323145"/>
              <a:gd name="connsiteX151" fmla="*/ 4354009 w 11269336"/>
              <a:gd name="connsiteY151" fmla="*/ 2204984 h 2323145"/>
              <a:gd name="connsiteX152" fmla="*/ 4348284 w 11269336"/>
              <a:gd name="connsiteY152" fmla="*/ 2205270 h 2323145"/>
              <a:gd name="connsiteX153" fmla="*/ 4333906 w 11269336"/>
              <a:gd name="connsiteY153" fmla="*/ 2205251 h 2323145"/>
              <a:gd name="connsiteX154" fmla="*/ 4308819 w 11269336"/>
              <a:gd name="connsiteY154" fmla="*/ 2203822 h 2323145"/>
              <a:gd name="connsiteX155" fmla="*/ 4301210 w 11269336"/>
              <a:gd name="connsiteY155" fmla="*/ 2204456 h 2323145"/>
              <a:gd name="connsiteX156" fmla="*/ 4283095 w 11269336"/>
              <a:gd name="connsiteY156" fmla="*/ 2198177 h 2323145"/>
              <a:gd name="connsiteX157" fmla="*/ 4250119 w 11269336"/>
              <a:gd name="connsiteY157" fmla="*/ 2196342 h 2323145"/>
              <a:gd name="connsiteX158" fmla="*/ 4189203 w 11269336"/>
              <a:gd name="connsiteY158" fmla="*/ 2178994 h 2323145"/>
              <a:gd name="connsiteX159" fmla="*/ 4154035 w 11269336"/>
              <a:gd name="connsiteY159" fmla="*/ 2171950 h 2323145"/>
              <a:gd name="connsiteX160" fmla="*/ 4129569 w 11269336"/>
              <a:gd name="connsiteY160" fmla="*/ 2163850 h 2323145"/>
              <a:gd name="connsiteX161" fmla="*/ 4061250 w 11269336"/>
              <a:gd name="connsiteY161" fmla="*/ 2159236 h 2323145"/>
              <a:gd name="connsiteX162" fmla="*/ 3945480 w 11269336"/>
              <a:gd name="connsiteY162" fmla="*/ 2158279 h 2323145"/>
              <a:gd name="connsiteX163" fmla="*/ 3921468 w 11269336"/>
              <a:gd name="connsiteY163" fmla="*/ 2156588 h 2323145"/>
              <a:gd name="connsiteX164" fmla="*/ 3903348 w 11269336"/>
              <a:gd name="connsiteY164" fmla="*/ 2149220 h 2323145"/>
              <a:gd name="connsiteX165" fmla="*/ 3901342 w 11269336"/>
              <a:gd name="connsiteY165" fmla="*/ 2142355 h 2323145"/>
              <a:gd name="connsiteX166" fmla="*/ 3888539 w 11269336"/>
              <a:gd name="connsiteY166" fmla="*/ 2140476 h 2323145"/>
              <a:gd name="connsiteX167" fmla="*/ 3885662 w 11269336"/>
              <a:gd name="connsiteY167" fmla="*/ 2138740 h 2323145"/>
              <a:gd name="connsiteX168" fmla="*/ 3868627 w 11269336"/>
              <a:gd name="connsiteY168" fmla="*/ 2130023 h 2323145"/>
              <a:gd name="connsiteX169" fmla="*/ 3819177 w 11269336"/>
              <a:gd name="connsiteY169" fmla="*/ 2142111 h 2323145"/>
              <a:gd name="connsiteX170" fmla="*/ 3769100 w 11269336"/>
              <a:gd name="connsiteY170" fmla="*/ 2131731 h 2323145"/>
              <a:gd name="connsiteX171" fmla="*/ 3562752 w 11269336"/>
              <a:gd name="connsiteY171" fmla="*/ 2131785 h 2323145"/>
              <a:gd name="connsiteX172" fmla="*/ 3541402 w 11269336"/>
              <a:gd name="connsiteY172" fmla="*/ 2106821 h 2323145"/>
              <a:gd name="connsiteX173" fmla="*/ 3365341 w 11269336"/>
              <a:gd name="connsiteY173" fmla="*/ 2077638 h 2323145"/>
              <a:gd name="connsiteX174" fmla="*/ 3170922 w 11269336"/>
              <a:gd name="connsiteY174" fmla="*/ 2115957 h 2323145"/>
              <a:gd name="connsiteX175" fmla="*/ 3156256 w 11269336"/>
              <a:gd name="connsiteY175" fmla="*/ 2124773 h 2323145"/>
              <a:gd name="connsiteX176" fmla="*/ 3140298 w 11269336"/>
              <a:gd name="connsiteY176" fmla="*/ 2129182 h 2323145"/>
              <a:gd name="connsiteX177" fmla="*/ 3138514 w 11269336"/>
              <a:gd name="connsiteY177" fmla="*/ 2128069 h 2323145"/>
              <a:gd name="connsiteX178" fmla="*/ 3120467 w 11269336"/>
              <a:gd name="connsiteY178" fmla="*/ 2128281 h 2323145"/>
              <a:gd name="connsiteX179" fmla="*/ 3116175 w 11269336"/>
              <a:gd name="connsiteY179" fmla="*/ 2131633 h 2323145"/>
              <a:gd name="connsiteX180" fmla="*/ 3103685 w 11269336"/>
              <a:gd name="connsiteY180" fmla="*/ 2132814 h 2323145"/>
              <a:gd name="connsiteX181" fmla="*/ 3078794 w 11269336"/>
              <a:gd name="connsiteY181" fmla="*/ 2137935 h 2323145"/>
              <a:gd name="connsiteX182" fmla="*/ 3074407 w 11269336"/>
              <a:gd name="connsiteY182" fmla="*/ 2136274 h 2323145"/>
              <a:gd name="connsiteX183" fmla="*/ 3037285 w 11269336"/>
              <a:gd name="connsiteY183" fmla="*/ 2139919 h 2323145"/>
              <a:gd name="connsiteX184" fmla="*/ 3036901 w 11269336"/>
              <a:gd name="connsiteY184" fmla="*/ 2138726 h 2323145"/>
              <a:gd name="connsiteX185" fmla="*/ 3026996 w 11269336"/>
              <a:gd name="connsiteY185" fmla="*/ 2134322 h 2323145"/>
              <a:gd name="connsiteX186" fmla="*/ 3007772 w 11269336"/>
              <a:gd name="connsiteY186" fmla="*/ 2128742 h 2323145"/>
              <a:gd name="connsiteX187" fmla="*/ 2965030 w 11269336"/>
              <a:gd name="connsiteY187" fmla="*/ 2100494 h 2323145"/>
              <a:gd name="connsiteX188" fmla="*/ 2926342 w 11269336"/>
              <a:gd name="connsiteY188" fmla="*/ 2104155 h 2323145"/>
              <a:gd name="connsiteX189" fmla="*/ 2918608 w 11269336"/>
              <a:gd name="connsiteY189" fmla="*/ 2104215 h 2323145"/>
              <a:gd name="connsiteX190" fmla="*/ 2918475 w 11269336"/>
              <a:gd name="connsiteY190" fmla="*/ 2103937 h 2323145"/>
              <a:gd name="connsiteX191" fmla="*/ 2910360 w 11269336"/>
              <a:gd name="connsiteY191" fmla="*/ 2103444 h 2323145"/>
              <a:gd name="connsiteX192" fmla="*/ 2904507 w 11269336"/>
              <a:gd name="connsiteY192" fmla="*/ 2104326 h 2323145"/>
              <a:gd name="connsiteX193" fmla="*/ 2889503 w 11269336"/>
              <a:gd name="connsiteY193" fmla="*/ 2104443 h 2323145"/>
              <a:gd name="connsiteX194" fmla="*/ 2884480 w 11269336"/>
              <a:gd name="connsiteY194" fmla="*/ 2102626 h 2323145"/>
              <a:gd name="connsiteX195" fmla="*/ 2882689 w 11269336"/>
              <a:gd name="connsiteY195" fmla="*/ 2099228 h 2323145"/>
              <a:gd name="connsiteX196" fmla="*/ 2881291 w 11269336"/>
              <a:gd name="connsiteY196" fmla="*/ 2099618 h 2323145"/>
              <a:gd name="connsiteX197" fmla="*/ 2853979 w 11269336"/>
              <a:gd name="connsiteY197" fmla="*/ 2090388 h 2323145"/>
              <a:gd name="connsiteX198" fmla="*/ 2791790 w 11269336"/>
              <a:gd name="connsiteY198" fmla="*/ 2080332 h 2323145"/>
              <a:gd name="connsiteX199" fmla="*/ 2755844 w 11269336"/>
              <a:gd name="connsiteY199" fmla="*/ 2078874 h 2323145"/>
              <a:gd name="connsiteX200" fmla="*/ 2657742 w 11269336"/>
              <a:gd name="connsiteY200" fmla="*/ 2070179 h 2323145"/>
              <a:gd name="connsiteX201" fmla="*/ 2559549 w 11269336"/>
              <a:gd name="connsiteY201" fmla="*/ 2057873 h 2323145"/>
              <a:gd name="connsiteX202" fmla="*/ 2512054 w 11269336"/>
              <a:gd name="connsiteY202" fmla="*/ 2031671 h 2323145"/>
              <a:gd name="connsiteX203" fmla="*/ 2506437 w 11269336"/>
              <a:gd name="connsiteY203" fmla="*/ 2030918 h 2323145"/>
              <a:gd name="connsiteX204" fmla="*/ 2491752 w 11269336"/>
              <a:gd name="connsiteY204" fmla="*/ 2033906 h 2323145"/>
              <a:gd name="connsiteX205" fmla="*/ 2486338 w 11269336"/>
              <a:gd name="connsiteY205" fmla="*/ 2035862 h 2323145"/>
              <a:gd name="connsiteX206" fmla="*/ 2478186 w 11269336"/>
              <a:gd name="connsiteY206" fmla="*/ 2036953 h 2323145"/>
              <a:gd name="connsiteX207" fmla="*/ 2477950 w 11269336"/>
              <a:gd name="connsiteY207" fmla="*/ 2036715 h 2323145"/>
              <a:gd name="connsiteX208" fmla="*/ 2470381 w 11269336"/>
              <a:gd name="connsiteY208" fmla="*/ 2038256 h 2323145"/>
              <a:gd name="connsiteX209" fmla="*/ 2433781 w 11269336"/>
              <a:gd name="connsiteY209" fmla="*/ 2049140 h 2323145"/>
              <a:gd name="connsiteX210" fmla="*/ 2381172 w 11269336"/>
              <a:gd name="connsiteY210" fmla="*/ 2030645 h 2323145"/>
              <a:gd name="connsiteX211" fmla="*/ 2360198 w 11269336"/>
              <a:gd name="connsiteY211" fmla="*/ 2029059 h 2323145"/>
              <a:gd name="connsiteX212" fmla="*/ 2348815 w 11269336"/>
              <a:gd name="connsiteY212" fmla="*/ 2026798 h 2323145"/>
              <a:gd name="connsiteX213" fmla="*/ 2347988 w 11269336"/>
              <a:gd name="connsiteY213" fmla="*/ 2025745 h 2323145"/>
              <a:gd name="connsiteX214" fmla="*/ 2312920 w 11269336"/>
              <a:gd name="connsiteY214" fmla="*/ 2036311 h 2323145"/>
              <a:gd name="connsiteX215" fmla="*/ 2307986 w 11269336"/>
              <a:gd name="connsiteY215" fmla="*/ 2035583 h 2323145"/>
              <a:gd name="connsiteX216" fmla="*/ 2285481 w 11269336"/>
              <a:gd name="connsiteY216" fmla="*/ 2045197 h 2323145"/>
              <a:gd name="connsiteX217" fmla="*/ 2273666 w 11269336"/>
              <a:gd name="connsiteY217" fmla="*/ 2048710 h 2323145"/>
              <a:gd name="connsiteX218" fmla="*/ 2270719 w 11269336"/>
              <a:gd name="connsiteY218" fmla="*/ 2052702 h 2323145"/>
              <a:gd name="connsiteX219" fmla="*/ 2253080 w 11269336"/>
              <a:gd name="connsiteY219" fmla="*/ 2056363 h 2323145"/>
              <a:gd name="connsiteX220" fmla="*/ 2250906 w 11269336"/>
              <a:gd name="connsiteY220" fmla="*/ 2055654 h 2323145"/>
              <a:gd name="connsiteX221" fmla="*/ 2236905 w 11269336"/>
              <a:gd name="connsiteY221" fmla="*/ 2062882 h 2323145"/>
              <a:gd name="connsiteX222" fmla="*/ 2225830 w 11269336"/>
              <a:gd name="connsiteY222" fmla="*/ 2074027 h 2323145"/>
              <a:gd name="connsiteX223" fmla="*/ 2073776 w 11269336"/>
              <a:gd name="connsiteY223" fmla="*/ 2089244 h 2323145"/>
              <a:gd name="connsiteX224" fmla="*/ 1948256 w 11269336"/>
              <a:gd name="connsiteY224" fmla="*/ 2146616 h 2323145"/>
              <a:gd name="connsiteX225" fmla="*/ 1865582 w 11269336"/>
              <a:gd name="connsiteY225" fmla="*/ 2153738 h 2323145"/>
              <a:gd name="connsiteX226" fmla="*/ 1835210 w 11269336"/>
              <a:gd name="connsiteY226" fmla="*/ 2134244 h 2323145"/>
              <a:gd name="connsiteX227" fmla="*/ 1632661 w 11269336"/>
              <a:gd name="connsiteY227" fmla="*/ 2173882 h 2323145"/>
              <a:gd name="connsiteX228" fmla="*/ 1579590 w 11269336"/>
              <a:gd name="connsiteY228" fmla="*/ 2173680 h 2323145"/>
              <a:gd name="connsiteX229" fmla="*/ 1535601 w 11269336"/>
              <a:gd name="connsiteY229" fmla="*/ 2194590 h 2323145"/>
              <a:gd name="connsiteX230" fmla="*/ 1515594 w 11269336"/>
              <a:gd name="connsiteY230" fmla="*/ 2189622 h 2323145"/>
              <a:gd name="connsiteX231" fmla="*/ 1512113 w 11269336"/>
              <a:gd name="connsiteY231" fmla="*/ 2188534 h 2323145"/>
              <a:gd name="connsiteX232" fmla="*/ 1498838 w 11269336"/>
              <a:gd name="connsiteY232" fmla="*/ 2189213 h 2323145"/>
              <a:gd name="connsiteX233" fmla="*/ 1494279 w 11269336"/>
              <a:gd name="connsiteY233" fmla="*/ 2183112 h 2323145"/>
              <a:gd name="connsiteX234" fmla="*/ 1473714 w 11269336"/>
              <a:gd name="connsiteY234" fmla="*/ 2179625 h 2323145"/>
              <a:gd name="connsiteX235" fmla="*/ 1449503 w 11269336"/>
              <a:gd name="connsiteY235" fmla="*/ 2182633 h 2323145"/>
              <a:gd name="connsiteX236" fmla="*/ 1266687 w 11269336"/>
              <a:gd name="connsiteY236" fmla="*/ 2212688 h 2323145"/>
              <a:gd name="connsiteX237" fmla="*/ 1239614 w 11269336"/>
              <a:gd name="connsiteY237" fmla="*/ 2209727 h 2323145"/>
              <a:gd name="connsiteX238" fmla="*/ 1202436 w 11269336"/>
              <a:gd name="connsiteY238" fmla="*/ 2209817 h 2323145"/>
              <a:gd name="connsiteX239" fmla="*/ 1136097 w 11269336"/>
              <a:gd name="connsiteY239" fmla="*/ 2205112 h 2323145"/>
              <a:gd name="connsiteX240" fmla="*/ 988232 w 11269336"/>
              <a:gd name="connsiteY240" fmla="*/ 2235635 h 2323145"/>
              <a:gd name="connsiteX241" fmla="*/ 981959 w 11269336"/>
              <a:gd name="connsiteY241" fmla="*/ 2231607 h 2323145"/>
              <a:gd name="connsiteX242" fmla="*/ 938600 w 11269336"/>
              <a:gd name="connsiteY242" fmla="*/ 2238113 h 2323145"/>
              <a:gd name="connsiteX243" fmla="*/ 791788 w 11269336"/>
              <a:gd name="connsiteY243" fmla="*/ 2293224 h 2323145"/>
              <a:gd name="connsiteX244" fmla="*/ 706914 w 11269336"/>
              <a:gd name="connsiteY244" fmla="*/ 2305046 h 2323145"/>
              <a:gd name="connsiteX245" fmla="*/ 675971 w 11269336"/>
              <a:gd name="connsiteY245" fmla="*/ 2304030 h 2323145"/>
              <a:gd name="connsiteX246" fmla="*/ 624180 w 11269336"/>
              <a:gd name="connsiteY246" fmla="*/ 2302650 h 2323145"/>
              <a:gd name="connsiteX247" fmla="*/ 583453 w 11269336"/>
              <a:gd name="connsiteY247" fmla="*/ 2288788 h 2323145"/>
              <a:gd name="connsiteX248" fmla="*/ 540946 w 11269336"/>
              <a:gd name="connsiteY248" fmla="*/ 2292721 h 2323145"/>
              <a:gd name="connsiteX249" fmla="*/ 533680 w 11269336"/>
              <a:gd name="connsiteY249" fmla="*/ 2310233 h 2323145"/>
              <a:gd name="connsiteX250" fmla="*/ 487366 w 11269336"/>
              <a:gd name="connsiteY250" fmla="*/ 2309053 h 2323145"/>
              <a:gd name="connsiteX251" fmla="*/ 416820 w 11269336"/>
              <a:gd name="connsiteY251" fmla="*/ 2305443 h 2323145"/>
              <a:gd name="connsiteX252" fmla="*/ 376805 w 11269336"/>
              <a:gd name="connsiteY252" fmla="*/ 2307647 h 2323145"/>
              <a:gd name="connsiteX253" fmla="*/ 266777 w 11269336"/>
              <a:gd name="connsiteY253" fmla="*/ 2309012 h 2323145"/>
              <a:gd name="connsiteX254" fmla="*/ 156013 w 11269336"/>
              <a:gd name="connsiteY254" fmla="*/ 2306832 h 2323145"/>
              <a:gd name="connsiteX255" fmla="*/ 87258 w 11269336"/>
              <a:gd name="connsiteY255" fmla="*/ 2285511 h 2323145"/>
              <a:gd name="connsiteX256" fmla="*/ 23798 w 11269336"/>
              <a:gd name="connsiteY256" fmla="*/ 2281822 h 2323145"/>
              <a:gd name="connsiteX257" fmla="*/ 0 w 11269336"/>
              <a:gd name="connsiteY257" fmla="*/ 2285369 h 2323145"/>
              <a:gd name="connsiteX258" fmla="*/ 0 w 11269336"/>
              <a:gd name="connsiteY258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20601 w 11269336"/>
              <a:gd name="connsiteY146" fmla="*/ 2205158 h 2323145"/>
              <a:gd name="connsiteX147" fmla="*/ 4405765 w 11269336"/>
              <a:gd name="connsiteY147" fmla="*/ 2199902 h 2323145"/>
              <a:gd name="connsiteX148" fmla="*/ 4401354 w 11269336"/>
              <a:gd name="connsiteY148" fmla="*/ 2194745 h 2323145"/>
              <a:gd name="connsiteX149" fmla="*/ 4366646 w 11269336"/>
              <a:gd name="connsiteY149" fmla="*/ 2198564 h 2323145"/>
              <a:gd name="connsiteX150" fmla="*/ 4354009 w 11269336"/>
              <a:gd name="connsiteY150" fmla="*/ 2204984 h 2323145"/>
              <a:gd name="connsiteX151" fmla="*/ 4348284 w 11269336"/>
              <a:gd name="connsiteY151" fmla="*/ 2205270 h 2323145"/>
              <a:gd name="connsiteX152" fmla="*/ 4333906 w 11269336"/>
              <a:gd name="connsiteY152" fmla="*/ 2205251 h 2323145"/>
              <a:gd name="connsiteX153" fmla="*/ 4308819 w 11269336"/>
              <a:gd name="connsiteY153" fmla="*/ 2203822 h 2323145"/>
              <a:gd name="connsiteX154" fmla="*/ 4301210 w 11269336"/>
              <a:gd name="connsiteY154" fmla="*/ 2204456 h 2323145"/>
              <a:gd name="connsiteX155" fmla="*/ 4283095 w 11269336"/>
              <a:gd name="connsiteY155" fmla="*/ 2198177 h 2323145"/>
              <a:gd name="connsiteX156" fmla="*/ 4250119 w 11269336"/>
              <a:gd name="connsiteY156" fmla="*/ 2196342 h 2323145"/>
              <a:gd name="connsiteX157" fmla="*/ 4189203 w 11269336"/>
              <a:gd name="connsiteY157" fmla="*/ 2178994 h 2323145"/>
              <a:gd name="connsiteX158" fmla="*/ 4154035 w 11269336"/>
              <a:gd name="connsiteY158" fmla="*/ 2171950 h 2323145"/>
              <a:gd name="connsiteX159" fmla="*/ 4129569 w 11269336"/>
              <a:gd name="connsiteY159" fmla="*/ 2163850 h 2323145"/>
              <a:gd name="connsiteX160" fmla="*/ 4061250 w 11269336"/>
              <a:gd name="connsiteY160" fmla="*/ 2159236 h 2323145"/>
              <a:gd name="connsiteX161" fmla="*/ 3945480 w 11269336"/>
              <a:gd name="connsiteY161" fmla="*/ 2158279 h 2323145"/>
              <a:gd name="connsiteX162" fmla="*/ 3921468 w 11269336"/>
              <a:gd name="connsiteY162" fmla="*/ 2156588 h 2323145"/>
              <a:gd name="connsiteX163" fmla="*/ 3903348 w 11269336"/>
              <a:gd name="connsiteY163" fmla="*/ 2149220 h 2323145"/>
              <a:gd name="connsiteX164" fmla="*/ 3901342 w 11269336"/>
              <a:gd name="connsiteY164" fmla="*/ 2142355 h 2323145"/>
              <a:gd name="connsiteX165" fmla="*/ 3888539 w 11269336"/>
              <a:gd name="connsiteY165" fmla="*/ 2140476 h 2323145"/>
              <a:gd name="connsiteX166" fmla="*/ 3885662 w 11269336"/>
              <a:gd name="connsiteY166" fmla="*/ 2138740 h 2323145"/>
              <a:gd name="connsiteX167" fmla="*/ 3868627 w 11269336"/>
              <a:gd name="connsiteY167" fmla="*/ 2130023 h 2323145"/>
              <a:gd name="connsiteX168" fmla="*/ 3819177 w 11269336"/>
              <a:gd name="connsiteY168" fmla="*/ 2142111 h 2323145"/>
              <a:gd name="connsiteX169" fmla="*/ 3769100 w 11269336"/>
              <a:gd name="connsiteY169" fmla="*/ 2131731 h 2323145"/>
              <a:gd name="connsiteX170" fmla="*/ 3562752 w 11269336"/>
              <a:gd name="connsiteY170" fmla="*/ 2131785 h 2323145"/>
              <a:gd name="connsiteX171" fmla="*/ 3541402 w 11269336"/>
              <a:gd name="connsiteY171" fmla="*/ 2106821 h 2323145"/>
              <a:gd name="connsiteX172" fmla="*/ 3365341 w 11269336"/>
              <a:gd name="connsiteY172" fmla="*/ 2077638 h 2323145"/>
              <a:gd name="connsiteX173" fmla="*/ 3170922 w 11269336"/>
              <a:gd name="connsiteY173" fmla="*/ 2115957 h 2323145"/>
              <a:gd name="connsiteX174" fmla="*/ 3156256 w 11269336"/>
              <a:gd name="connsiteY174" fmla="*/ 2124773 h 2323145"/>
              <a:gd name="connsiteX175" fmla="*/ 3140298 w 11269336"/>
              <a:gd name="connsiteY175" fmla="*/ 2129182 h 2323145"/>
              <a:gd name="connsiteX176" fmla="*/ 3138514 w 11269336"/>
              <a:gd name="connsiteY176" fmla="*/ 2128069 h 2323145"/>
              <a:gd name="connsiteX177" fmla="*/ 3120467 w 11269336"/>
              <a:gd name="connsiteY177" fmla="*/ 2128281 h 2323145"/>
              <a:gd name="connsiteX178" fmla="*/ 3116175 w 11269336"/>
              <a:gd name="connsiteY178" fmla="*/ 2131633 h 2323145"/>
              <a:gd name="connsiteX179" fmla="*/ 3103685 w 11269336"/>
              <a:gd name="connsiteY179" fmla="*/ 2132814 h 2323145"/>
              <a:gd name="connsiteX180" fmla="*/ 3078794 w 11269336"/>
              <a:gd name="connsiteY180" fmla="*/ 2137935 h 2323145"/>
              <a:gd name="connsiteX181" fmla="*/ 3074407 w 11269336"/>
              <a:gd name="connsiteY181" fmla="*/ 2136274 h 2323145"/>
              <a:gd name="connsiteX182" fmla="*/ 3037285 w 11269336"/>
              <a:gd name="connsiteY182" fmla="*/ 2139919 h 2323145"/>
              <a:gd name="connsiteX183" fmla="*/ 3036901 w 11269336"/>
              <a:gd name="connsiteY183" fmla="*/ 2138726 h 2323145"/>
              <a:gd name="connsiteX184" fmla="*/ 3026996 w 11269336"/>
              <a:gd name="connsiteY184" fmla="*/ 2134322 h 2323145"/>
              <a:gd name="connsiteX185" fmla="*/ 3007772 w 11269336"/>
              <a:gd name="connsiteY185" fmla="*/ 2128742 h 2323145"/>
              <a:gd name="connsiteX186" fmla="*/ 2965030 w 11269336"/>
              <a:gd name="connsiteY186" fmla="*/ 2100494 h 2323145"/>
              <a:gd name="connsiteX187" fmla="*/ 2926342 w 11269336"/>
              <a:gd name="connsiteY187" fmla="*/ 2104155 h 2323145"/>
              <a:gd name="connsiteX188" fmla="*/ 2918608 w 11269336"/>
              <a:gd name="connsiteY188" fmla="*/ 2104215 h 2323145"/>
              <a:gd name="connsiteX189" fmla="*/ 2918475 w 11269336"/>
              <a:gd name="connsiteY189" fmla="*/ 2103937 h 2323145"/>
              <a:gd name="connsiteX190" fmla="*/ 2910360 w 11269336"/>
              <a:gd name="connsiteY190" fmla="*/ 2103444 h 2323145"/>
              <a:gd name="connsiteX191" fmla="*/ 2904507 w 11269336"/>
              <a:gd name="connsiteY191" fmla="*/ 2104326 h 2323145"/>
              <a:gd name="connsiteX192" fmla="*/ 2889503 w 11269336"/>
              <a:gd name="connsiteY192" fmla="*/ 2104443 h 2323145"/>
              <a:gd name="connsiteX193" fmla="*/ 2884480 w 11269336"/>
              <a:gd name="connsiteY193" fmla="*/ 2102626 h 2323145"/>
              <a:gd name="connsiteX194" fmla="*/ 2882689 w 11269336"/>
              <a:gd name="connsiteY194" fmla="*/ 2099228 h 2323145"/>
              <a:gd name="connsiteX195" fmla="*/ 2881291 w 11269336"/>
              <a:gd name="connsiteY195" fmla="*/ 2099618 h 2323145"/>
              <a:gd name="connsiteX196" fmla="*/ 2853979 w 11269336"/>
              <a:gd name="connsiteY196" fmla="*/ 2090388 h 2323145"/>
              <a:gd name="connsiteX197" fmla="*/ 2791790 w 11269336"/>
              <a:gd name="connsiteY197" fmla="*/ 2080332 h 2323145"/>
              <a:gd name="connsiteX198" fmla="*/ 2755844 w 11269336"/>
              <a:gd name="connsiteY198" fmla="*/ 2078874 h 2323145"/>
              <a:gd name="connsiteX199" fmla="*/ 2657742 w 11269336"/>
              <a:gd name="connsiteY199" fmla="*/ 2070179 h 2323145"/>
              <a:gd name="connsiteX200" fmla="*/ 2559549 w 11269336"/>
              <a:gd name="connsiteY200" fmla="*/ 2057873 h 2323145"/>
              <a:gd name="connsiteX201" fmla="*/ 2512054 w 11269336"/>
              <a:gd name="connsiteY201" fmla="*/ 2031671 h 2323145"/>
              <a:gd name="connsiteX202" fmla="*/ 2506437 w 11269336"/>
              <a:gd name="connsiteY202" fmla="*/ 2030918 h 2323145"/>
              <a:gd name="connsiteX203" fmla="*/ 2491752 w 11269336"/>
              <a:gd name="connsiteY203" fmla="*/ 2033906 h 2323145"/>
              <a:gd name="connsiteX204" fmla="*/ 2486338 w 11269336"/>
              <a:gd name="connsiteY204" fmla="*/ 2035862 h 2323145"/>
              <a:gd name="connsiteX205" fmla="*/ 2478186 w 11269336"/>
              <a:gd name="connsiteY205" fmla="*/ 2036953 h 2323145"/>
              <a:gd name="connsiteX206" fmla="*/ 2477950 w 11269336"/>
              <a:gd name="connsiteY206" fmla="*/ 2036715 h 2323145"/>
              <a:gd name="connsiteX207" fmla="*/ 2470381 w 11269336"/>
              <a:gd name="connsiteY207" fmla="*/ 2038256 h 2323145"/>
              <a:gd name="connsiteX208" fmla="*/ 2433781 w 11269336"/>
              <a:gd name="connsiteY208" fmla="*/ 2049140 h 2323145"/>
              <a:gd name="connsiteX209" fmla="*/ 2381172 w 11269336"/>
              <a:gd name="connsiteY209" fmla="*/ 2030645 h 2323145"/>
              <a:gd name="connsiteX210" fmla="*/ 2360198 w 11269336"/>
              <a:gd name="connsiteY210" fmla="*/ 2029059 h 2323145"/>
              <a:gd name="connsiteX211" fmla="*/ 2348815 w 11269336"/>
              <a:gd name="connsiteY211" fmla="*/ 2026798 h 2323145"/>
              <a:gd name="connsiteX212" fmla="*/ 2347988 w 11269336"/>
              <a:gd name="connsiteY212" fmla="*/ 2025745 h 2323145"/>
              <a:gd name="connsiteX213" fmla="*/ 2312920 w 11269336"/>
              <a:gd name="connsiteY213" fmla="*/ 2036311 h 2323145"/>
              <a:gd name="connsiteX214" fmla="*/ 2307986 w 11269336"/>
              <a:gd name="connsiteY214" fmla="*/ 2035583 h 2323145"/>
              <a:gd name="connsiteX215" fmla="*/ 2285481 w 11269336"/>
              <a:gd name="connsiteY215" fmla="*/ 2045197 h 2323145"/>
              <a:gd name="connsiteX216" fmla="*/ 2273666 w 11269336"/>
              <a:gd name="connsiteY216" fmla="*/ 2048710 h 2323145"/>
              <a:gd name="connsiteX217" fmla="*/ 2270719 w 11269336"/>
              <a:gd name="connsiteY217" fmla="*/ 2052702 h 2323145"/>
              <a:gd name="connsiteX218" fmla="*/ 2253080 w 11269336"/>
              <a:gd name="connsiteY218" fmla="*/ 2056363 h 2323145"/>
              <a:gd name="connsiteX219" fmla="*/ 2250906 w 11269336"/>
              <a:gd name="connsiteY219" fmla="*/ 2055654 h 2323145"/>
              <a:gd name="connsiteX220" fmla="*/ 2236905 w 11269336"/>
              <a:gd name="connsiteY220" fmla="*/ 2062882 h 2323145"/>
              <a:gd name="connsiteX221" fmla="*/ 2225830 w 11269336"/>
              <a:gd name="connsiteY221" fmla="*/ 2074027 h 2323145"/>
              <a:gd name="connsiteX222" fmla="*/ 2073776 w 11269336"/>
              <a:gd name="connsiteY222" fmla="*/ 2089244 h 2323145"/>
              <a:gd name="connsiteX223" fmla="*/ 1948256 w 11269336"/>
              <a:gd name="connsiteY223" fmla="*/ 2146616 h 2323145"/>
              <a:gd name="connsiteX224" fmla="*/ 1865582 w 11269336"/>
              <a:gd name="connsiteY224" fmla="*/ 2153738 h 2323145"/>
              <a:gd name="connsiteX225" fmla="*/ 1835210 w 11269336"/>
              <a:gd name="connsiteY225" fmla="*/ 2134244 h 2323145"/>
              <a:gd name="connsiteX226" fmla="*/ 1632661 w 11269336"/>
              <a:gd name="connsiteY226" fmla="*/ 2173882 h 2323145"/>
              <a:gd name="connsiteX227" fmla="*/ 1579590 w 11269336"/>
              <a:gd name="connsiteY227" fmla="*/ 2173680 h 2323145"/>
              <a:gd name="connsiteX228" fmla="*/ 1535601 w 11269336"/>
              <a:gd name="connsiteY228" fmla="*/ 2194590 h 2323145"/>
              <a:gd name="connsiteX229" fmla="*/ 1515594 w 11269336"/>
              <a:gd name="connsiteY229" fmla="*/ 2189622 h 2323145"/>
              <a:gd name="connsiteX230" fmla="*/ 1512113 w 11269336"/>
              <a:gd name="connsiteY230" fmla="*/ 2188534 h 2323145"/>
              <a:gd name="connsiteX231" fmla="*/ 1498838 w 11269336"/>
              <a:gd name="connsiteY231" fmla="*/ 2189213 h 2323145"/>
              <a:gd name="connsiteX232" fmla="*/ 1494279 w 11269336"/>
              <a:gd name="connsiteY232" fmla="*/ 2183112 h 2323145"/>
              <a:gd name="connsiteX233" fmla="*/ 1473714 w 11269336"/>
              <a:gd name="connsiteY233" fmla="*/ 2179625 h 2323145"/>
              <a:gd name="connsiteX234" fmla="*/ 1449503 w 11269336"/>
              <a:gd name="connsiteY234" fmla="*/ 2182633 h 2323145"/>
              <a:gd name="connsiteX235" fmla="*/ 1266687 w 11269336"/>
              <a:gd name="connsiteY235" fmla="*/ 2212688 h 2323145"/>
              <a:gd name="connsiteX236" fmla="*/ 1239614 w 11269336"/>
              <a:gd name="connsiteY236" fmla="*/ 2209727 h 2323145"/>
              <a:gd name="connsiteX237" fmla="*/ 1202436 w 11269336"/>
              <a:gd name="connsiteY237" fmla="*/ 2209817 h 2323145"/>
              <a:gd name="connsiteX238" fmla="*/ 1136097 w 11269336"/>
              <a:gd name="connsiteY238" fmla="*/ 2205112 h 2323145"/>
              <a:gd name="connsiteX239" fmla="*/ 988232 w 11269336"/>
              <a:gd name="connsiteY239" fmla="*/ 2235635 h 2323145"/>
              <a:gd name="connsiteX240" fmla="*/ 981959 w 11269336"/>
              <a:gd name="connsiteY240" fmla="*/ 2231607 h 2323145"/>
              <a:gd name="connsiteX241" fmla="*/ 938600 w 11269336"/>
              <a:gd name="connsiteY241" fmla="*/ 2238113 h 2323145"/>
              <a:gd name="connsiteX242" fmla="*/ 791788 w 11269336"/>
              <a:gd name="connsiteY242" fmla="*/ 2293224 h 2323145"/>
              <a:gd name="connsiteX243" fmla="*/ 706914 w 11269336"/>
              <a:gd name="connsiteY243" fmla="*/ 2305046 h 2323145"/>
              <a:gd name="connsiteX244" fmla="*/ 675971 w 11269336"/>
              <a:gd name="connsiteY244" fmla="*/ 2304030 h 2323145"/>
              <a:gd name="connsiteX245" fmla="*/ 624180 w 11269336"/>
              <a:gd name="connsiteY245" fmla="*/ 2302650 h 2323145"/>
              <a:gd name="connsiteX246" fmla="*/ 583453 w 11269336"/>
              <a:gd name="connsiteY246" fmla="*/ 2288788 h 2323145"/>
              <a:gd name="connsiteX247" fmla="*/ 540946 w 11269336"/>
              <a:gd name="connsiteY247" fmla="*/ 2292721 h 2323145"/>
              <a:gd name="connsiteX248" fmla="*/ 533680 w 11269336"/>
              <a:gd name="connsiteY248" fmla="*/ 2310233 h 2323145"/>
              <a:gd name="connsiteX249" fmla="*/ 487366 w 11269336"/>
              <a:gd name="connsiteY249" fmla="*/ 2309053 h 2323145"/>
              <a:gd name="connsiteX250" fmla="*/ 416820 w 11269336"/>
              <a:gd name="connsiteY250" fmla="*/ 2305443 h 2323145"/>
              <a:gd name="connsiteX251" fmla="*/ 376805 w 11269336"/>
              <a:gd name="connsiteY251" fmla="*/ 2307647 h 2323145"/>
              <a:gd name="connsiteX252" fmla="*/ 266777 w 11269336"/>
              <a:gd name="connsiteY252" fmla="*/ 2309012 h 2323145"/>
              <a:gd name="connsiteX253" fmla="*/ 156013 w 11269336"/>
              <a:gd name="connsiteY253" fmla="*/ 2306832 h 2323145"/>
              <a:gd name="connsiteX254" fmla="*/ 87258 w 11269336"/>
              <a:gd name="connsiteY254" fmla="*/ 2285511 h 2323145"/>
              <a:gd name="connsiteX255" fmla="*/ 23798 w 11269336"/>
              <a:gd name="connsiteY255" fmla="*/ 2281822 h 2323145"/>
              <a:gd name="connsiteX256" fmla="*/ 0 w 11269336"/>
              <a:gd name="connsiteY256" fmla="*/ 2285369 h 2323145"/>
              <a:gd name="connsiteX257" fmla="*/ 0 w 11269336"/>
              <a:gd name="connsiteY257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05765 w 11269336"/>
              <a:gd name="connsiteY146" fmla="*/ 2199902 h 2323145"/>
              <a:gd name="connsiteX147" fmla="*/ 4401354 w 11269336"/>
              <a:gd name="connsiteY147" fmla="*/ 2194745 h 2323145"/>
              <a:gd name="connsiteX148" fmla="*/ 4366646 w 11269336"/>
              <a:gd name="connsiteY148" fmla="*/ 2198564 h 2323145"/>
              <a:gd name="connsiteX149" fmla="*/ 4354009 w 11269336"/>
              <a:gd name="connsiteY149" fmla="*/ 2204984 h 2323145"/>
              <a:gd name="connsiteX150" fmla="*/ 4348284 w 11269336"/>
              <a:gd name="connsiteY150" fmla="*/ 2205270 h 2323145"/>
              <a:gd name="connsiteX151" fmla="*/ 4333906 w 11269336"/>
              <a:gd name="connsiteY151" fmla="*/ 2205251 h 2323145"/>
              <a:gd name="connsiteX152" fmla="*/ 4308819 w 11269336"/>
              <a:gd name="connsiteY152" fmla="*/ 2203822 h 2323145"/>
              <a:gd name="connsiteX153" fmla="*/ 4301210 w 11269336"/>
              <a:gd name="connsiteY153" fmla="*/ 2204456 h 2323145"/>
              <a:gd name="connsiteX154" fmla="*/ 4283095 w 11269336"/>
              <a:gd name="connsiteY154" fmla="*/ 2198177 h 2323145"/>
              <a:gd name="connsiteX155" fmla="*/ 4250119 w 11269336"/>
              <a:gd name="connsiteY155" fmla="*/ 2196342 h 2323145"/>
              <a:gd name="connsiteX156" fmla="*/ 4189203 w 11269336"/>
              <a:gd name="connsiteY156" fmla="*/ 2178994 h 2323145"/>
              <a:gd name="connsiteX157" fmla="*/ 4154035 w 11269336"/>
              <a:gd name="connsiteY157" fmla="*/ 2171950 h 2323145"/>
              <a:gd name="connsiteX158" fmla="*/ 4129569 w 11269336"/>
              <a:gd name="connsiteY158" fmla="*/ 2163850 h 2323145"/>
              <a:gd name="connsiteX159" fmla="*/ 4061250 w 11269336"/>
              <a:gd name="connsiteY159" fmla="*/ 2159236 h 2323145"/>
              <a:gd name="connsiteX160" fmla="*/ 3945480 w 11269336"/>
              <a:gd name="connsiteY160" fmla="*/ 2158279 h 2323145"/>
              <a:gd name="connsiteX161" fmla="*/ 3921468 w 11269336"/>
              <a:gd name="connsiteY161" fmla="*/ 2156588 h 2323145"/>
              <a:gd name="connsiteX162" fmla="*/ 3903348 w 11269336"/>
              <a:gd name="connsiteY162" fmla="*/ 2149220 h 2323145"/>
              <a:gd name="connsiteX163" fmla="*/ 3901342 w 11269336"/>
              <a:gd name="connsiteY163" fmla="*/ 2142355 h 2323145"/>
              <a:gd name="connsiteX164" fmla="*/ 3888539 w 11269336"/>
              <a:gd name="connsiteY164" fmla="*/ 2140476 h 2323145"/>
              <a:gd name="connsiteX165" fmla="*/ 3885662 w 11269336"/>
              <a:gd name="connsiteY165" fmla="*/ 2138740 h 2323145"/>
              <a:gd name="connsiteX166" fmla="*/ 3868627 w 11269336"/>
              <a:gd name="connsiteY166" fmla="*/ 2130023 h 2323145"/>
              <a:gd name="connsiteX167" fmla="*/ 3819177 w 11269336"/>
              <a:gd name="connsiteY167" fmla="*/ 2142111 h 2323145"/>
              <a:gd name="connsiteX168" fmla="*/ 3769100 w 11269336"/>
              <a:gd name="connsiteY168" fmla="*/ 2131731 h 2323145"/>
              <a:gd name="connsiteX169" fmla="*/ 3562752 w 11269336"/>
              <a:gd name="connsiteY169" fmla="*/ 2131785 h 2323145"/>
              <a:gd name="connsiteX170" fmla="*/ 3541402 w 11269336"/>
              <a:gd name="connsiteY170" fmla="*/ 2106821 h 2323145"/>
              <a:gd name="connsiteX171" fmla="*/ 3365341 w 11269336"/>
              <a:gd name="connsiteY171" fmla="*/ 2077638 h 2323145"/>
              <a:gd name="connsiteX172" fmla="*/ 3170922 w 11269336"/>
              <a:gd name="connsiteY172" fmla="*/ 2115957 h 2323145"/>
              <a:gd name="connsiteX173" fmla="*/ 3156256 w 11269336"/>
              <a:gd name="connsiteY173" fmla="*/ 2124773 h 2323145"/>
              <a:gd name="connsiteX174" fmla="*/ 3140298 w 11269336"/>
              <a:gd name="connsiteY174" fmla="*/ 2129182 h 2323145"/>
              <a:gd name="connsiteX175" fmla="*/ 3138514 w 11269336"/>
              <a:gd name="connsiteY175" fmla="*/ 2128069 h 2323145"/>
              <a:gd name="connsiteX176" fmla="*/ 3120467 w 11269336"/>
              <a:gd name="connsiteY176" fmla="*/ 2128281 h 2323145"/>
              <a:gd name="connsiteX177" fmla="*/ 3116175 w 11269336"/>
              <a:gd name="connsiteY177" fmla="*/ 2131633 h 2323145"/>
              <a:gd name="connsiteX178" fmla="*/ 3103685 w 11269336"/>
              <a:gd name="connsiteY178" fmla="*/ 2132814 h 2323145"/>
              <a:gd name="connsiteX179" fmla="*/ 3078794 w 11269336"/>
              <a:gd name="connsiteY179" fmla="*/ 2137935 h 2323145"/>
              <a:gd name="connsiteX180" fmla="*/ 3074407 w 11269336"/>
              <a:gd name="connsiteY180" fmla="*/ 2136274 h 2323145"/>
              <a:gd name="connsiteX181" fmla="*/ 3037285 w 11269336"/>
              <a:gd name="connsiteY181" fmla="*/ 2139919 h 2323145"/>
              <a:gd name="connsiteX182" fmla="*/ 3036901 w 11269336"/>
              <a:gd name="connsiteY182" fmla="*/ 2138726 h 2323145"/>
              <a:gd name="connsiteX183" fmla="*/ 3026996 w 11269336"/>
              <a:gd name="connsiteY183" fmla="*/ 2134322 h 2323145"/>
              <a:gd name="connsiteX184" fmla="*/ 3007772 w 11269336"/>
              <a:gd name="connsiteY184" fmla="*/ 2128742 h 2323145"/>
              <a:gd name="connsiteX185" fmla="*/ 2965030 w 11269336"/>
              <a:gd name="connsiteY185" fmla="*/ 2100494 h 2323145"/>
              <a:gd name="connsiteX186" fmla="*/ 2926342 w 11269336"/>
              <a:gd name="connsiteY186" fmla="*/ 2104155 h 2323145"/>
              <a:gd name="connsiteX187" fmla="*/ 2918608 w 11269336"/>
              <a:gd name="connsiteY187" fmla="*/ 2104215 h 2323145"/>
              <a:gd name="connsiteX188" fmla="*/ 2918475 w 11269336"/>
              <a:gd name="connsiteY188" fmla="*/ 2103937 h 2323145"/>
              <a:gd name="connsiteX189" fmla="*/ 2910360 w 11269336"/>
              <a:gd name="connsiteY189" fmla="*/ 2103444 h 2323145"/>
              <a:gd name="connsiteX190" fmla="*/ 2904507 w 11269336"/>
              <a:gd name="connsiteY190" fmla="*/ 2104326 h 2323145"/>
              <a:gd name="connsiteX191" fmla="*/ 2889503 w 11269336"/>
              <a:gd name="connsiteY191" fmla="*/ 2104443 h 2323145"/>
              <a:gd name="connsiteX192" fmla="*/ 2884480 w 11269336"/>
              <a:gd name="connsiteY192" fmla="*/ 2102626 h 2323145"/>
              <a:gd name="connsiteX193" fmla="*/ 2882689 w 11269336"/>
              <a:gd name="connsiteY193" fmla="*/ 2099228 h 2323145"/>
              <a:gd name="connsiteX194" fmla="*/ 2881291 w 11269336"/>
              <a:gd name="connsiteY194" fmla="*/ 2099618 h 2323145"/>
              <a:gd name="connsiteX195" fmla="*/ 2853979 w 11269336"/>
              <a:gd name="connsiteY195" fmla="*/ 2090388 h 2323145"/>
              <a:gd name="connsiteX196" fmla="*/ 2791790 w 11269336"/>
              <a:gd name="connsiteY196" fmla="*/ 2080332 h 2323145"/>
              <a:gd name="connsiteX197" fmla="*/ 2755844 w 11269336"/>
              <a:gd name="connsiteY197" fmla="*/ 2078874 h 2323145"/>
              <a:gd name="connsiteX198" fmla="*/ 2657742 w 11269336"/>
              <a:gd name="connsiteY198" fmla="*/ 2070179 h 2323145"/>
              <a:gd name="connsiteX199" fmla="*/ 2559549 w 11269336"/>
              <a:gd name="connsiteY199" fmla="*/ 2057873 h 2323145"/>
              <a:gd name="connsiteX200" fmla="*/ 2512054 w 11269336"/>
              <a:gd name="connsiteY200" fmla="*/ 2031671 h 2323145"/>
              <a:gd name="connsiteX201" fmla="*/ 2506437 w 11269336"/>
              <a:gd name="connsiteY201" fmla="*/ 2030918 h 2323145"/>
              <a:gd name="connsiteX202" fmla="*/ 2491752 w 11269336"/>
              <a:gd name="connsiteY202" fmla="*/ 2033906 h 2323145"/>
              <a:gd name="connsiteX203" fmla="*/ 2486338 w 11269336"/>
              <a:gd name="connsiteY203" fmla="*/ 2035862 h 2323145"/>
              <a:gd name="connsiteX204" fmla="*/ 2478186 w 11269336"/>
              <a:gd name="connsiteY204" fmla="*/ 2036953 h 2323145"/>
              <a:gd name="connsiteX205" fmla="*/ 2477950 w 11269336"/>
              <a:gd name="connsiteY205" fmla="*/ 2036715 h 2323145"/>
              <a:gd name="connsiteX206" fmla="*/ 2470381 w 11269336"/>
              <a:gd name="connsiteY206" fmla="*/ 2038256 h 2323145"/>
              <a:gd name="connsiteX207" fmla="*/ 2433781 w 11269336"/>
              <a:gd name="connsiteY207" fmla="*/ 2049140 h 2323145"/>
              <a:gd name="connsiteX208" fmla="*/ 2381172 w 11269336"/>
              <a:gd name="connsiteY208" fmla="*/ 2030645 h 2323145"/>
              <a:gd name="connsiteX209" fmla="*/ 2360198 w 11269336"/>
              <a:gd name="connsiteY209" fmla="*/ 2029059 h 2323145"/>
              <a:gd name="connsiteX210" fmla="*/ 2348815 w 11269336"/>
              <a:gd name="connsiteY210" fmla="*/ 2026798 h 2323145"/>
              <a:gd name="connsiteX211" fmla="*/ 2347988 w 11269336"/>
              <a:gd name="connsiteY211" fmla="*/ 2025745 h 2323145"/>
              <a:gd name="connsiteX212" fmla="*/ 2312920 w 11269336"/>
              <a:gd name="connsiteY212" fmla="*/ 2036311 h 2323145"/>
              <a:gd name="connsiteX213" fmla="*/ 2307986 w 11269336"/>
              <a:gd name="connsiteY213" fmla="*/ 2035583 h 2323145"/>
              <a:gd name="connsiteX214" fmla="*/ 2285481 w 11269336"/>
              <a:gd name="connsiteY214" fmla="*/ 2045197 h 2323145"/>
              <a:gd name="connsiteX215" fmla="*/ 2273666 w 11269336"/>
              <a:gd name="connsiteY215" fmla="*/ 2048710 h 2323145"/>
              <a:gd name="connsiteX216" fmla="*/ 2270719 w 11269336"/>
              <a:gd name="connsiteY216" fmla="*/ 2052702 h 2323145"/>
              <a:gd name="connsiteX217" fmla="*/ 2253080 w 11269336"/>
              <a:gd name="connsiteY217" fmla="*/ 2056363 h 2323145"/>
              <a:gd name="connsiteX218" fmla="*/ 2250906 w 11269336"/>
              <a:gd name="connsiteY218" fmla="*/ 2055654 h 2323145"/>
              <a:gd name="connsiteX219" fmla="*/ 2236905 w 11269336"/>
              <a:gd name="connsiteY219" fmla="*/ 2062882 h 2323145"/>
              <a:gd name="connsiteX220" fmla="*/ 2225830 w 11269336"/>
              <a:gd name="connsiteY220" fmla="*/ 2074027 h 2323145"/>
              <a:gd name="connsiteX221" fmla="*/ 2073776 w 11269336"/>
              <a:gd name="connsiteY221" fmla="*/ 2089244 h 2323145"/>
              <a:gd name="connsiteX222" fmla="*/ 1948256 w 11269336"/>
              <a:gd name="connsiteY222" fmla="*/ 2146616 h 2323145"/>
              <a:gd name="connsiteX223" fmla="*/ 1865582 w 11269336"/>
              <a:gd name="connsiteY223" fmla="*/ 2153738 h 2323145"/>
              <a:gd name="connsiteX224" fmla="*/ 1835210 w 11269336"/>
              <a:gd name="connsiteY224" fmla="*/ 2134244 h 2323145"/>
              <a:gd name="connsiteX225" fmla="*/ 1632661 w 11269336"/>
              <a:gd name="connsiteY225" fmla="*/ 2173882 h 2323145"/>
              <a:gd name="connsiteX226" fmla="*/ 1579590 w 11269336"/>
              <a:gd name="connsiteY226" fmla="*/ 2173680 h 2323145"/>
              <a:gd name="connsiteX227" fmla="*/ 1535601 w 11269336"/>
              <a:gd name="connsiteY227" fmla="*/ 2194590 h 2323145"/>
              <a:gd name="connsiteX228" fmla="*/ 1515594 w 11269336"/>
              <a:gd name="connsiteY228" fmla="*/ 2189622 h 2323145"/>
              <a:gd name="connsiteX229" fmla="*/ 1512113 w 11269336"/>
              <a:gd name="connsiteY229" fmla="*/ 2188534 h 2323145"/>
              <a:gd name="connsiteX230" fmla="*/ 1498838 w 11269336"/>
              <a:gd name="connsiteY230" fmla="*/ 2189213 h 2323145"/>
              <a:gd name="connsiteX231" fmla="*/ 1494279 w 11269336"/>
              <a:gd name="connsiteY231" fmla="*/ 2183112 h 2323145"/>
              <a:gd name="connsiteX232" fmla="*/ 1473714 w 11269336"/>
              <a:gd name="connsiteY232" fmla="*/ 2179625 h 2323145"/>
              <a:gd name="connsiteX233" fmla="*/ 1449503 w 11269336"/>
              <a:gd name="connsiteY233" fmla="*/ 2182633 h 2323145"/>
              <a:gd name="connsiteX234" fmla="*/ 1266687 w 11269336"/>
              <a:gd name="connsiteY234" fmla="*/ 2212688 h 2323145"/>
              <a:gd name="connsiteX235" fmla="*/ 1239614 w 11269336"/>
              <a:gd name="connsiteY235" fmla="*/ 2209727 h 2323145"/>
              <a:gd name="connsiteX236" fmla="*/ 1202436 w 11269336"/>
              <a:gd name="connsiteY236" fmla="*/ 2209817 h 2323145"/>
              <a:gd name="connsiteX237" fmla="*/ 1136097 w 11269336"/>
              <a:gd name="connsiteY237" fmla="*/ 2205112 h 2323145"/>
              <a:gd name="connsiteX238" fmla="*/ 988232 w 11269336"/>
              <a:gd name="connsiteY238" fmla="*/ 2235635 h 2323145"/>
              <a:gd name="connsiteX239" fmla="*/ 981959 w 11269336"/>
              <a:gd name="connsiteY239" fmla="*/ 2231607 h 2323145"/>
              <a:gd name="connsiteX240" fmla="*/ 938600 w 11269336"/>
              <a:gd name="connsiteY240" fmla="*/ 2238113 h 2323145"/>
              <a:gd name="connsiteX241" fmla="*/ 791788 w 11269336"/>
              <a:gd name="connsiteY241" fmla="*/ 2293224 h 2323145"/>
              <a:gd name="connsiteX242" fmla="*/ 706914 w 11269336"/>
              <a:gd name="connsiteY242" fmla="*/ 2305046 h 2323145"/>
              <a:gd name="connsiteX243" fmla="*/ 675971 w 11269336"/>
              <a:gd name="connsiteY243" fmla="*/ 2304030 h 2323145"/>
              <a:gd name="connsiteX244" fmla="*/ 624180 w 11269336"/>
              <a:gd name="connsiteY244" fmla="*/ 2302650 h 2323145"/>
              <a:gd name="connsiteX245" fmla="*/ 583453 w 11269336"/>
              <a:gd name="connsiteY245" fmla="*/ 2288788 h 2323145"/>
              <a:gd name="connsiteX246" fmla="*/ 540946 w 11269336"/>
              <a:gd name="connsiteY246" fmla="*/ 2292721 h 2323145"/>
              <a:gd name="connsiteX247" fmla="*/ 533680 w 11269336"/>
              <a:gd name="connsiteY247" fmla="*/ 2310233 h 2323145"/>
              <a:gd name="connsiteX248" fmla="*/ 487366 w 11269336"/>
              <a:gd name="connsiteY248" fmla="*/ 2309053 h 2323145"/>
              <a:gd name="connsiteX249" fmla="*/ 416820 w 11269336"/>
              <a:gd name="connsiteY249" fmla="*/ 2305443 h 2323145"/>
              <a:gd name="connsiteX250" fmla="*/ 376805 w 11269336"/>
              <a:gd name="connsiteY250" fmla="*/ 2307647 h 2323145"/>
              <a:gd name="connsiteX251" fmla="*/ 266777 w 11269336"/>
              <a:gd name="connsiteY251" fmla="*/ 2309012 h 2323145"/>
              <a:gd name="connsiteX252" fmla="*/ 156013 w 11269336"/>
              <a:gd name="connsiteY252" fmla="*/ 2306832 h 2323145"/>
              <a:gd name="connsiteX253" fmla="*/ 87258 w 11269336"/>
              <a:gd name="connsiteY253" fmla="*/ 2285511 h 2323145"/>
              <a:gd name="connsiteX254" fmla="*/ 23798 w 11269336"/>
              <a:gd name="connsiteY254" fmla="*/ 2281822 h 2323145"/>
              <a:gd name="connsiteX255" fmla="*/ 0 w 11269336"/>
              <a:gd name="connsiteY255" fmla="*/ 2285369 h 2323145"/>
              <a:gd name="connsiteX256" fmla="*/ 0 w 11269336"/>
              <a:gd name="connsiteY25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05765 w 11269336"/>
              <a:gd name="connsiteY145" fmla="*/ 2199902 h 2323145"/>
              <a:gd name="connsiteX146" fmla="*/ 4401354 w 11269336"/>
              <a:gd name="connsiteY146" fmla="*/ 2194745 h 2323145"/>
              <a:gd name="connsiteX147" fmla="*/ 4366646 w 11269336"/>
              <a:gd name="connsiteY147" fmla="*/ 2198564 h 2323145"/>
              <a:gd name="connsiteX148" fmla="*/ 4354009 w 11269336"/>
              <a:gd name="connsiteY148" fmla="*/ 2204984 h 2323145"/>
              <a:gd name="connsiteX149" fmla="*/ 4348284 w 11269336"/>
              <a:gd name="connsiteY149" fmla="*/ 2205270 h 2323145"/>
              <a:gd name="connsiteX150" fmla="*/ 4333906 w 11269336"/>
              <a:gd name="connsiteY150" fmla="*/ 2205251 h 2323145"/>
              <a:gd name="connsiteX151" fmla="*/ 4308819 w 11269336"/>
              <a:gd name="connsiteY151" fmla="*/ 2203822 h 2323145"/>
              <a:gd name="connsiteX152" fmla="*/ 4301210 w 11269336"/>
              <a:gd name="connsiteY152" fmla="*/ 2204456 h 2323145"/>
              <a:gd name="connsiteX153" fmla="*/ 4283095 w 11269336"/>
              <a:gd name="connsiteY153" fmla="*/ 2198177 h 2323145"/>
              <a:gd name="connsiteX154" fmla="*/ 4250119 w 11269336"/>
              <a:gd name="connsiteY154" fmla="*/ 2196342 h 2323145"/>
              <a:gd name="connsiteX155" fmla="*/ 4189203 w 11269336"/>
              <a:gd name="connsiteY155" fmla="*/ 2178994 h 2323145"/>
              <a:gd name="connsiteX156" fmla="*/ 4154035 w 11269336"/>
              <a:gd name="connsiteY156" fmla="*/ 2171950 h 2323145"/>
              <a:gd name="connsiteX157" fmla="*/ 4129569 w 11269336"/>
              <a:gd name="connsiteY157" fmla="*/ 2163850 h 2323145"/>
              <a:gd name="connsiteX158" fmla="*/ 4061250 w 11269336"/>
              <a:gd name="connsiteY158" fmla="*/ 2159236 h 2323145"/>
              <a:gd name="connsiteX159" fmla="*/ 3945480 w 11269336"/>
              <a:gd name="connsiteY159" fmla="*/ 2158279 h 2323145"/>
              <a:gd name="connsiteX160" fmla="*/ 3921468 w 11269336"/>
              <a:gd name="connsiteY160" fmla="*/ 2156588 h 2323145"/>
              <a:gd name="connsiteX161" fmla="*/ 3903348 w 11269336"/>
              <a:gd name="connsiteY161" fmla="*/ 2149220 h 2323145"/>
              <a:gd name="connsiteX162" fmla="*/ 3901342 w 11269336"/>
              <a:gd name="connsiteY162" fmla="*/ 2142355 h 2323145"/>
              <a:gd name="connsiteX163" fmla="*/ 3888539 w 11269336"/>
              <a:gd name="connsiteY163" fmla="*/ 2140476 h 2323145"/>
              <a:gd name="connsiteX164" fmla="*/ 3885662 w 11269336"/>
              <a:gd name="connsiteY164" fmla="*/ 2138740 h 2323145"/>
              <a:gd name="connsiteX165" fmla="*/ 3868627 w 11269336"/>
              <a:gd name="connsiteY165" fmla="*/ 2130023 h 2323145"/>
              <a:gd name="connsiteX166" fmla="*/ 3819177 w 11269336"/>
              <a:gd name="connsiteY166" fmla="*/ 2142111 h 2323145"/>
              <a:gd name="connsiteX167" fmla="*/ 3769100 w 11269336"/>
              <a:gd name="connsiteY167" fmla="*/ 2131731 h 2323145"/>
              <a:gd name="connsiteX168" fmla="*/ 3562752 w 11269336"/>
              <a:gd name="connsiteY168" fmla="*/ 2131785 h 2323145"/>
              <a:gd name="connsiteX169" fmla="*/ 3541402 w 11269336"/>
              <a:gd name="connsiteY169" fmla="*/ 2106821 h 2323145"/>
              <a:gd name="connsiteX170" fmla="*/ 3365341 w 11269336"/>
              <a:gd name="connsiteY170" fmla="*/ 2077638 h 2323145"/>
              <a:gd name="connsiteX171" fmla="*/ 3170922 w 11269336"/>
              <a:gd name="connsiteY171" fmla="*/ 2115957 h 2323145"/>
              <a:gd name="connsiteX172" fmla="*/ 3156256 w 11269336"/>
              <a:gd name="connsiteY172" fmla="*/ 2124773 h 2323145"/>
              <a:gd name="connsiteX173" fmla="*/ 3140298 w 11269336"/>
              <a:gd name="connsiteY173" fmla="*/ 2129182 h 2323145"/>
              <a:gd name="connsiteX174" fmla="*/ 3138514 w 11269336"/>
              <a:gd name="connsiteY174" fmla="*/ 2128069 h 2323145"/>
              <a:gd name="connsiteX175" fmla="*/ 3120467 w 11269336"/>
              <a:gd name="connsiteY175" fmla="*/ 2128281 h 2323145"/>
              <a:gd name="connsiteX176" fmla="*/ 3116175 w 11269336"/>
              <a:gd name="connsiteY176" fmla="*/ 2131633 h 2323145"/>
              <a:gd name="connsiteX177" fmla="*/ 3103685 w 11269336"/>
              <a:gd name="connsiteY177" fmla="*/ 2132814 h 2323145"/>
              <a:gd name="connsiteX178" fmla="*/ 3078794 w 11269336"/>
              <a:gd name="connsiteY178" fmla="*/ 2137935 h 2323145"/>
              <a:gd name="connsiteX179" fmla="*/ 3074407 w 11269336"/>
              <a:gd name="connsiteY179" fmla="*/ 2136274 h 2323145"/>
              <a:gd name="connsiteX180" fmla="*/ 3037285 w 11269336"/>
              <a:gd name="connsiteY180" fmla="*/ 2139919 h 2323145"/>
              <a:gd name="connsiteX181" fmla="*/ 3036901 w 11269336"/>
              <a:gd name="connsiteY181" fmla="*/ 2138726 h 2323145"/>
              <a:gd name="connsiteX182" fmla="*/ 3026996 w 11269336"/>
              <a:gd name="connsiteY182" fmla="*/ 2134322 h 2323145"/>
              <a:gd name="connsiteX183" fmla="*/ 3007772 w 11269336"/>
              <a:gd name="connsiteY183" fmla="*/ 2128742 h 2323145"/>
              <a:gd name="connsiteX184" fmla="*/ 2965030 w 11269336"/>
              <a:gd name="connsiteY184" fmla="*/ 2100494 h 2323145"/>
              <a:gd name="connsiteX185" fmla="*/ 2926342 w 11269336"/>
              <a:gd name="connsiteY185" fmla="*/ 2104155 h 2323145"/>
              <a:gd name="connsiteX186" fmla="*/ 2918608 w 11269336"/>
              <a:gd name="connsiteY186" fmla="*/ 2104215 h 2323145"/>
              <a:gd name="connsiteX187" fmla="*/ 2918475 w 11269336"/>
              <a:gd name="connsiteY187" fmla="*/ 2103937 h 2323145"/>
              <a:gd name="connsiteX188" fmla="*/ 2910360 w 11269336"/>
              <a:gd name="connsiteY188" fmla="*/ 2103444 h 2323145"/>
              <a:gd name="connsiteX189" fmla="*/ 2904507 w 11269336"/>
              <a:gd name="connsiteY189" fmla="*/ 2104326 h 2323145"/>
              <a:gd name="connsiteX190" fmla="*/ 2889503 w 11269336"/>
              <a:gd name="connsiteY190" fmla="*/ 2104443 h 2323145"/>
              <a:gd name="connsiteX191" fmla="*/ 2884480 w 11269336"/>
              <a:gd name="connsiteY191" fmla="*/ 2102626 h 2323145"/>
              <a:gd name="connsiteX192" fmla="*/ 2882689 w 11269336"/>
              <a:gd name="connsiteY192" fmla="*/ 2099228 h 2323145"/>
              <a:gd name="connsiteX193" fmla="*/ 2881291 w 11269336"/>
              <a:gd name="connsiteY193" fmla="*/ 2099618 h 2323145"/>
              <a:gd name="connsiteX194" fmla="*/ 2853979 w 11269336"/>
              <a:gd name="connsiteY194" fmla="*/ 2090388 h 2323145"/>
              <a:gd name="connsiteX195" fmla="*/ 2791790 w 11269336"/>
              <a:gd name="connsiteY195" fmla="*/ 2080332 h 2323145"/>
              <a:gd name="connsiteX196" fmla="*/ 2755844 w 11269336"/>
              <a:gd name="connsiteY196" fmla="*/ 2078874 h 2323145"/>
              <a:gd name="connsiteX197" fmla="*/ 2657742 w 11269336"/>
              <a:gd name="connsiteY197" fmla="*/ 2070179 h 2323145"/>
              <a:gd name="connsiteX198" fmla="*/ 2559549 w 11269336"/>
              <a:gd name="connsiteY198" fmla="*/ 2057873 h 2323145"/>
              <a:gd name="connsiteX199" fmla="*/ 2512054 w 11269336"/>
              <a:gd name="connsiteY199" fmla="*/ 2031671 h 2323145"/>
              <a:gd name="connsiteX200" fmla="*/ 2506437 w 11269336"/>
              <a:gd name="connsiteY200" fmla="*/ 2030918 h 2323145"/>
              <a:gd name="connsiteX201" fmla="*/ 2491752 w 11269336"/>
              <a:gd name="connsiteY201" fmla="*/ 2033906 h 2323145"/>
              <a:gd name="connsiteX202" fmla="*/ 2486338 w 11269336"/>
              <a:gd name="connsiteY202" fmla="*/ 2035862 h 2323145"/>
              <a:gd name="connsiteX203" fmla="*/ 2478186 w 11269336"/>
              <a:gd name="connsiteY203" fmla="*/ 2036953 h 2323145"/>
              <a:gd name="connsiteX204" fmla="*/ 2477950 w 11269336"/>
              <a:gd name="connsiteY204" fmla="*/ 2036715 h 2323145"/>
              <a:gd name="connsiteX205" fmla="*/ 2470381 w 11269336"/>
              <a:gd name="connsiteY205" fmla="*/ 2038256 h 2323145"/>
              <a:gd name="connsiteX206" fmla="*/ 2433781 w 11269336"/>
              <a:gd name="connsiteY206" fmla="*/ 2049140 h 2323145"/>
              <a:gd name="connsiteX207" fmla="*/ 2381172 w 11269336"/>
              <a:gd name="connsiteY207" fmla="*/ 2030645 h 2323145"/>
              <a:gd name="connsiteX208" fmla="*/ 2360198 w 11269336"/>
              <a:gd name="connsiteY208" fmla="*/ 2029059 h 2323145"/>
              <a:gd name="connsiteX209" fmla="*/ 2348815 w 11269336"/>
              <a:gd name="connsiteY209" fmla="*/ 2026798 h 2323145"/>
              <a:gd name="connsiteX210" fmla="*/ 2347988 w 11269336"/>
              <a:gd name="connsiteY210" fmla="*/ 2025745 h 2323145"/>
              <a:gd name="connsiteX211" fmla="*/ 2312920 w 11269336"/>
              <a:gd name="connsiteY211" fmla="*/ 2036311 h 2323145"/>
              <a:gd name="connsiteX212" fmla="*/ 2307986 w 11269336"/>
              <a:gd name="connsiteY212" fmla="*/ 2035583 h 2323145"/>
              <a:gd name="connsiteX213" fmla="*/ 2285481 w 11269336"/>
              <a:gd name="connsiteY213" fmla="*/ 2045197 h 2323145"/>
              <a:gd name="connsiteX214" fmla="*/ 2273666 w 11269336"/>
              <a:gd name="connsiteY214" fmla="*/ 2048710 h 2323145"/>
              <a:gd name="connsiteX215" fmla="*/ 2270719 w 11269336"/>
              <a:gd name="connsiteY215" fmla="*/ 2052702 h 2323145"/>
              <a:gd name="connsiteX216" fmla="*/ 2253080 w 11269336"/>
              <a:gd name="connsiteY216" fmla="*/ 2056363 h 2323145"/>
              <a:gd name="connsiteX217" fmla="*/ 2250906 w 11269336"/>
              <a:gd name="connsiteY217" fmla="*/ 2055654 h 2323145"/>
              <a:gd name="connsiteX218" fmla="*/ 2236905 w 11269336"/>
              <a:gd name="connsiteY218" fmla="*/ 2062882 h 2323145"/>
              <a:gd name="connsiteX219" fmla="*/ 2225830 w 11269336"/>
              <a:gd name="connsiteY219" fmla="*/ 2074027 h 2323145"/>
              <a:gd name="connsiteX220" fmla="*/ 2073776 w 11269336"/>
              <a:gd name="connsiteY220" fmla="*/ 2089244 h 2323145"/>
              <a:gd name="connsiteX221" fmla="*/ 1948256 w 11269336"/>
              <a:gd name="connsiteY221" fmla="*/ 2146616 h 2323145"/>
              <a:gd name="connsiteX222" fmla="*/ 1865582 w 11269336"/>
              <a:gd name="connsiteY222" fmla="*/ 2153738 h 2323145"/>
              <a:gd name="connsiteX223" fmla="*/ 1835210 w 11269336"/>
              <a:gd name="connsiteY223" fmla="*/ 2134244 h 2323145"/>
              <a:gd name="connsiteX224" fmla="*/ 1632661 w 11269336"/>
              <a:gd name="connsiteY224" fmla="*/ 2173882 h 2323145"/>
              <a:gd name="connsiteX225" fmla="*/ 1579590 w 11269336"/>
              <a:gd name="connsiteY225" fmla="*/ 2173680 h 2323145"/>
              <a:gd name="connsiteX226" fmla="*/ 1535601 w 11269336"/>
              <a:gd name="connsiteY226" fmla="*/ 2194590 h 2323145"/>
              <a:gd name="connsiteX227" fmla="*/ 1515594 w 11269336"/>
              <a:gd name="connsiteY227" fmla="*/ 2189622 h 2323145"/>
              <a:gd name="connsiteX228" fmla="*/ 1512113 w 11269336"/>
              <a:gd name="connsiteY228" fmla="*/ 2188534 h 2323145"/>
              <a:gd name="connsiteX229" fmla="*/ 1498838 w 11269336"/>
              <a:gd name="connsiteY229" fmla="*/ 2189213 h 2323145"/>
              <a:gd name="connsiteX230" fmla="*/ 1494279 w 11269336"/>
              <a:gd name="connsiteY230" fmla="*/ 2183112 h 2323145"/>
              <a:gd name="connsiteX231" fmla="*/ 1473714 w 11269336"/>
              <a:gd name="connsiteY231" fmla="*/ 2179625 h 2323145"/>
              <a:gd name="connsiteX232" fmla="*/ 1449503 w 11269336"/>
              <a:gd name="connsiteY232" fmla="*/ 2182633 h 2323145"/>
              <a:gd name="connsiteX233" fmla="*/ 1266687 w 11269336"/>
              <a:gd name="connsiteY233" fmla="*/ 2212688 h 2323145"/>
              <a:gd name="connsiteX234" fmla="*/ 1239614 w 11269336"/>
              <a:gd name="connsiteY234" fmla="*/ 2209727 h 2323145"/>
              <a:gd name="connsiteX235" fmla="*/ 1202436 w 11269336"/>
              <a:gd name="connsiteY235" fmla="*/ 2209817 h 2323145"/>
              <a:gd name="connsiteX236" fmla="*/ 1136097 w 11269336"/>
              <a:gd name="connsiteY236" fmla="*/ 2205112 h 2323145"/>
              <a:gd name="connsiteX237" fmla="*/ 988232 w 11269336"/>
              <a:gd name="connsiteY237" fmla="*/ 2235635 h 2323145"/>
              <a:gd name="connsiteX238" fmla="*/ 981959 w 11269336"/>
              <a:gd name="connsiteY238" fmla="*/ 2231607 h 2323145"/>
              <a:gd name="connsiteX239" fmla="*/ 938600 w 11269336"/>
              <a:gd name="connsiteY239" fmla="*/ 2238113 h 2323145"/>
              <a:gd name="connsiteX240" fmla="*/ 791788 w 11269336"/>
              <a:gd name="connsiteY240" fmla="*/ 2293224 h 2323145"/>
              <a:gd name="connsiteX241" fmla="*/ 706914 w 11269336"/>
              <a:gd name="connsiteY241" fmla="*/ 2305046 h 2323145"/>
              <a:gd name="connsiteX242" fmla="*/ 675971 w 11269336"/>
              <a:gd name="connsiteY242" fmla="*/ 2304030 h 2323145"/>
              <a:gd name="connsiteX243" fmla="*/ 624180 w 11269336"/>
              <a:gd name="connsiteY243" fmla="*/ 2302650 h 2323145"/>
              <a:gd name="connsiteX244" fmla="*/ 583453 w 11269336"/>
              <a:gd name="connsiteY244" fmla="*/ 2288788 h 2323145"/>
              <a:gd name="connsiteX245" fmla="*/ 540946 w 11269336"/>
              <a:gd name="connsiteY245" fmla="*/ 2292721 h 2323145"/>
              <a:gd name="connsiteX246" fmla="*/ 533680 w 11269336"/>
              <a:gd name="connsiteY246" fmla="*/ 2310233 h 2323145"/>
              <a:gd name="connsiteX247" fmla="*/ 487366 w 11269336"/>
              <a:gd name="connsiteY247" fmla="*/ 2309053 h 2323145"/>
              <a:gd name="connsiteX248" fmla="*/ 416820 w 11269336"/>
              <a:gd name="connsiteY248" fmla="*/ 2305443 h 2323145"/>
              <a:gd name="connsiteX249" fmla="*/ 376805 w 11269336"/>
              <a:gd name="connsiteY249" fmla="*/ 2307647 h 2323145"/>
              <a:gd name="connsiteX250" fmla="*/ 266777 w 11269336"/>
              <a:gd name="connsiteY250" fmla="*/ 2309012 h 2323145"/>
              <a:gd name="connsiteX251" fmla="*/ 156013 w 11269336"/>
              <a:gd name="connsiteY251" fmla="*/ 2306832 h 2323145"/>
              <a:gd name="connsiteX252" fmla="*/ 87258 w 11269336"/>
              <a:gd name="connsiteY252" fmla="*/ 2285511 h 2323145"/>
              <a:gd name="connsiteX253" fmla="*/ 23798 w 11269336"/>
              <a:gd name="connsiteY253" fmla="*/ 2281822 h 2323145"/>
              <a:gd name="connsiteX254" fmla="*/ 0 w 11269336"/>
              <a:gd name="connsiteY254" fmla="*/ 2285369 h 2323145"/>
              <a:gd name="connsiteX255" fmla="*/ 0 w 11269336"/>
              <a:gd name="connsiteY25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05765 w 11269336"/>
              <a:gd name="connsiteY144" fmla="*/ 2199902 h 2323145"/>
              <a:gd name="connsiteX145" fmla="*/ 4401354 w 11269336"/>
              <a:gd name="connsiteY145" fmla="*/ 2194745 h 2323145"/>
              <a:gd name="connsiteX146" fmla="*/ 4366646 w 11269336"/>
              <a:gd name="connsiteY146" fmla="*/ 2198564 h 2323145"/>
              <a:gd name="connsiteX147" fmla="*/ 4354009 w 11269336"/>
              <a:gd name="connsiteY147" fmla="*/ 2204984 h 2323145"/>
              <a:gd name="connsiteX148" fmla="*/ 4348284 w 11269336"/>
              <a:gd name="connsiteY148" fmla="*/ 2205270 h 2323145"/>
              <a:gd name="connsiteX149" fmla="*/ 4333906 w 11269336"/>
              <a:gd name="connsiteY149" fmla="*/ 2205251 h 2323145"/>
              <a:gd name="connsiteX150" fmla="*/ 4308819 w 11269336"/>
              <a:gd name="connsiteY150" fmla="*/ 2203822 h 2323145"/>
              <a:gd name="connsiteX151" fmla="*/ 4301210 w 11269336"/>
              <a:gd name="connsiteY151" fmla="*/ 2204456 h 2323145"/>
              <a:gd name="connsiteX152" fmla="*/ 4283095 w 11269336"/>
              <a:gd name="connsiteY152" fmla="*/ 2198177 h 2323145"/>
              <a:gd name="connsiteX153" fmla="*/ 4250119 w 11269336"/>
              <a:gd name="connsiteY153" fmla="*/ 2196342 h 2323145"/>
              <a:gd name="connsiteX154" fmla="*/ 4189203 w 11269336"/>
              <a:gd name="connsiteY154" fmla="*/ 2178994 h 2323145"/>
              <a:gd name="connsiteX155" fmla="*/ 4154035 w 11269336"/>
              <a:gd name="connsiteY155" fmla="*/ 2171950 h 2323145"/>
              <a:gd name="connsiteX156" fmla="*/ 4129569 w 11269336"/>
              <a:gd name="connsiteY156" fmla="*/ 2163850 h 2323145"/>
              <a:gd name="connsiteX157" fmla="*/ 4061250 w 11269336"/>
              <a:gd name="connsiteY157" fmla="*/ 2159236 h 2323145"/>
              <a:gd name="connsiteX158" fmla="*/ 3945480 w 11269336"/>
              <a:gd name="connsiteY158" fmla="*/ 2158279 h 2323145"/>
              <a:gd name="connsiteX159" fmla="*/ 3921468 w 11269336"/>
              <a:gd name="connsiteY159" fmla="*/ 2156588 h 2323145"/>
              <a:gd name="connsiteX160" fmla="*/ 3903348 w 11269336"/>
              <a:gd name="connsiteY160" fmla="*/ 2149220 h 2323145"/>
              <a:gd name="connsiteX161" fmla="*/ 3901342 w 11269336"/>
              <a:gd name="connsiteY161" fmla="*/ 2142355 h 2323145"/>
              <a:gd name="connsiteX162" fmla="*/ 3888539 w 11269336"/>
              <a:gd name="connsiteY162" fmla="*/ 2140476 h 2323145"/>
              <a:gd name="connsiteX163" fmla="*/ 3885662 w 11269336"/>
              <a:gd name="connsiteY163" fmla="*/ 2138740 h 2323145"/>
              <a:gd name="connsiteX164" fmla="*/ 3868627 w 11269336"/>
              <a:gd name="connsiteY164" fmla="*/ 2130023 h 2323145"/>
              <a:gd name="connsiteX165" fmla="*/ 3819177 w 11269336"/>
              <a:gd name="connsiteY165" fmla="*/ 2142111 h 2323145"/>
              <a:gd name="connsiteX166" fmla="*/ 3769100 w 11269336"/>
              <a:gd name="connsiteY166" fmla="*/ 2131731 h 2323145"/>
              <a:gd name="connsiteX167" fmla="*/ 3562752 w 11269336"/>
              <a:gd name="connsiteY167" fmla="*/ 2131785 h 2323145"/>
              <a:gd name="connsiteX168" fmla="*/ 3541402 w 11269336"/>
              <a:gd name="connsiteY168" fmla="*/ 2106821 h 2323145"/>
              <a:gd name="connsiteX169" fmla="*/ 3365341 w 11269336"/>
              <a:gd name="connsiteY169" fmla="*/ 2077638 h 2323145"/>
              <a:gd name="connsiteX170" fmla="*/ 3170922 w 11269336"/>
              <a:gd name="connsiteY170" fmla="*/ 2115957 h 2323145"/>
              <a:gd name="connsiteX171" fmla="*/ 3156256 w 11269336"/>
              <a:gd name="connsiteY171" fmla="*/ 2124773 h 2323145"/>
              <a:gd name="connsiteX172" fmla="*/ 3140298 w 11269336"/>
              <a:gd name="connsiteY172" fmla="*/ 2129182 h 2323145"/>
              <a:gd name="connsiteX173" fmla="*/ 3138514 w 11269336"/>
              <a:gd name="connsiteY173" fmla="*/ 2128069 h 2323145"/>
              <a:gd name="connsiteX174" fmla="*/ 3120467 w 11269336"/>
              <a:gd name="connsiteY174" fmla="*/ 2128281 h 2323145"/>
              <a:gd name="connsiteX175" fmla="*/ 3116175 w 11269336"/>
              <a:gd name="connsiteY175" fmla="*/ 2131633 h 2323145"/>
              <a:gd name="connsiteX176" fmla="*/ 3103685 w 11269336"/>
              <a:gd name="connsiteY176" fmla="*/ 2132814 h 2323145"/>
              <a:gd name="connsiteX177" fmla="*/ 3078794 w 11269336"/>
              <a:gd name="connsiteY177" fmla="*/ 2137935 h 2323145"/>
              <a:gd name="connsiteX178" fmla="*/ 3074407 w 11269336"/>
              <a:gd name="connsiteY178" fmla="*/ 2136274 h 2323145"/>
              <a:gd name="connsiteX179" fmla="*/ 3037285 w 11269336"/>
              <a:gd name="connsiteY179" fmla="*/ 2139919 h 2323145"/>
              <a:gd name="connsiteX180" fmla="*/ 3036901 w 11269336"/>
              <a:gd name="connsiteY180" fmla="*/ 2138726 h 2323145"/>
              <a:gd name="connsiteX181" fmla="*/ 3026996 w 11269336"/>
              <a:gd name="connsiteY181" fmla="*/ 2134322 h 2323145"/>
              <a:gd name="connsiteX182" fmla="*/ 3007772 w 11269336"/>
              <a:gd name="connsiteY182" fmla="*/ 2128742 h 2323145"/>
              <a:gd name="connsiteX183" fmla="*/ 2965030 w 11269336"/>
              <a:gd name="connsiteY183" fmla="*/ 2100494 h 2323145"/>
              <a:gd name="connsiteX184" fmla="*/ 2926342 w 11269336"/>
              <a:gd name="connsiteY184" fmla="*/ 2104155 h 2323145"/>
              <a:gd name="connsiteX185" fmla="*/ 2918608 w 11269336"/>
              <a:gd name="connsiteY185" fmla="*/ 2104215 h 2323145"/>
              <a:gd name="connsiteX186" fmla="*/ 2918475 w 11269336"/>
              <a:gd name="connsiteY186" fmla="*/ 2103937 h 2323145"/>
              <a:gd name="connsiteX187" fmla="*/ 2910360 w 11269336"/>
              <a:gd name="connsiteY187" fmla="*/ 2103444 h 2323145"/>
              <a:gd name="connsiteX188" fmla="*/ 2904507 w 11269336"/>
              <a:gd name="connsiteY188" fmla="*/ 2104326 h 2323145"/>
              <a:gd name="connsiteX189" fmla="*/ 2889503 w 11269336"/>
              <a:gd name="connsiteY189" fmla="*/ 2104443 h 2323145"/>
              <a:gd name="connsiteX190" fmla="*/ 2884480 w 11269336"/>
              <a:gd name="connsiteY190" fmla="*/ 2102626 h 2323145"/>
              <a:gd name="connsiteX191" fmla="*/ 2882689 w 11269336"/>
              <a:gd name="connsiteY191" fmla="*/ 2099228 h 2323145"/>
              <a:gd name="connsiteX192" fmla="*/ 2881291 w 11269336"/>
              <a:gd name="connsiteY192" fmla="*/ 2099618 h 2323145"/>
              <a:gd name="connsiteX193" fmla="*/ 2853979 w 11269336"/>
              <a:gd name="connsiteY193" fmla="*/ 2090388 h 2323145"/>
              <a:gd name="connsiteX194" fmla="*/ 2791790 w 11269336"/>
              <a:gd name="connsiteY194" fmla="*/ 2080332 h 2323145"/>
              <a:gd name="connsiteX195" fmla="*/ 2755844 w 11269336"/>
              <a:gd name="connsiteY195" fmla="*/ 2078874 h 2323145"/>
              <a:gd name="connsiteX196" fmla="*/ 2657742 w 11269336"/>
              <a:gd name="connsiteY196" fmla="*/ 2070179 h 2323145"/>
              <a:gd name="connsiteX197" fmla="*/ 2559549 w 11269336"/>
              <a:gd name="connsiteY197" fmla="*/ 2057873 h 2323145"/>
              <a:gd name="connsiteX198" fmla="*/ 2512054 w 11269336"/>
              <a:gd name="connsiteY198" fmla="*/ 2031671 h 2323145"/>
              <a:gd name="connsiteX199" fmla="*/ 2506437 w 11269336"/>
              <a:gd name="connsiteY199" fmla="*/ 2030918 h 2323145"/>
              <a:gd name="connsiteX200" fmla="*/ 2491752 w 11269336"/>
              <a:gd name="connsiteY200" fmla="*/ 2033906 h 2323145"/>
              <a:gd name="connsiteX201" fmla="*/ 2486338 w 11269336"/>
              <a:gd name="connsiteY201" fmla="*/ 2035862 h 2323145"/>
              <a:gd name="connsiteX202" fmla="*/ 2478186 w 11269336"/>
              <a:gd name="connsiteY202" fmla="*/ 2036953 h 2323145"/>
              <a:gd name="connsiteX203" fmla="*/ 2477950 w 11269336"/>
              <a:gd name="connsiteY203" fmla="*/ 2036715 h 2323145"/>
              <a:gd name="connsiteX204" fmla="*/ 2470381 w 11269336"/>
              <a:gd name="connsiteY204" fmla="*/ 2038256 h 2323145"/>
              <a:gd name="connsiteX205" fmla="*/ 2433781 w 11269336"/>
              <a:gd name="connsiteY205" fmla="*/ 2049140 h 2323145"/>
              <a:gd name="connsiteX206" fmla="*/ 2381172 w 11269336"/>
              <a:gd name="connsiteY206" fmla="*/ 2030645 h 2323145"/>
              <a:gd name="connsiteX207" fmla="*/ 2360198 w 11269336"/>
              <a:gd name="connsiteY207" fmla="*/ 2029059 h 2323145"/>
              <a:gd name="connsiteX208" fmla="*/ 2348815 w 11269336"/>
              <a:gd name="connsiteY208" fmla="*/ 2026798 h 2323145"/>
              <a:gd name="connsiteX209" fmla="*/ 2347988 w 11269336"/>
              <a:gd name="connsiteY209" fmla="*/ 2025745 h 2323145"/>
              <a:gd name="connsiteX210" fmla="*/ 2312920 w 11269336"/>
              <a:gd name="connsiteY210" fmla="*/ 2036311 h 2323145"/>
              <a:gd name="connsiteX211" fmla="*/ 2307986 w 11269336"/>
              <a:gd name="connsiteY211" fmla="*/ 2035583 h 2323145"/>
              <a:gd name="connsiteX212" fmla="*/ 2285481 w 11269336"/>
              <a:gd name="connsiteY212" fmla="*/ 2045197 h 2323145"/>
              <a:gd name="connsiteX213" fmla="*/ 2273666 w 11269336"/>
              <a:gd name="connsiteY213" fmla="*/ 2048710 h 2323145"/>
              <a:gd name="connsiteX214" fmla="*/ 2270719 w 11269336"/>
              <a:gd name="connsiteY214" fmla="*/ 2052702 h 2323145"/>
              <a:gd name="connsiteX215" fmla="*/ 2253080 w 11269336"/>
              <a:gd name="connsiteY215" fmla="*/ 2056363 h 2323145"/>
              <a:gd name="connsiteX216" fmla="*/ 2250906 w 11269336"/>
              <a:gd name="connsiteY216" fmla="*/ 2055654 h 2323145"/>
              <a:gd name="connsiteX217" fmla="*/ 2236905 w 11269336"/>
              <a:gd name="connsiteY217" fmla="*/ 2062882 h 2323145"/>
              <a:gd name="connsiteX218" fmla="*/ 2225830 w 11269336"/>
              <a:gd name="connsiteY218" fmla="*/ 2074027 h 2323145"/>
              <a:gd name="connsiteX219" fmla="*/ 2073776 w 11269336"/>
              <a:gd name="connsiteY219" fmla="*/ 2089244 h 2323145"/>
              <a:gd name="connsiteX220" fmla="*/ 1948256 w 11269336"/>
              <a:gd name="connsiteY220" fmla="*/ 2146616 h 2323145"/>
              <a:gd name="connsiteX221" fmla="*/ 1865582 w 11269336"/>
              <a:gd name="connsiteY221" fmla="*/ 2153738 h 2323145"/>
              <a:gd name="connsiteX222" fmla="*/ 1835210 w 11269336"/>
              <a:gd name="connsiteY222" fmla="*/ 2134244 h 2323145"/>
              <a:gd name="connsiteX223" fmla="*/ 1632661 w 11269336"/>
              <a:gd name="connsiteY223" fmla="*/ 2173882 h 2323145"/>
              <a:gd name="connsiteX224" fmla="*/ 1579590 w 11269336"/>
              <a:gd name="connsiteY224" fmla="*/ 2173680 h 2323145"/>
              <a:gd name="connsiteX225" fmla="*/ 1535601 w 11269336"/>
              <a:gd name="connsiteY225" fmla="*/ 2194590 h 2323145"/>
              <a:gd name="connsiteX226" fmla="*/ 1515594 w 11269336"/>
              <a:gd name="connsiteY226" fmla="*/ 2189622 h 2323145"/>
              <a:gd name="connsiteX227" fmla="*/ 1512113 w 11269336"/>
              <a:gd name="connsiteY227" fmla="*/ 2188534 h 2323145"/>
              <a:gd name="connsiteX228" fmla="*/ 1498838 w 11269336"/>
              <a:gd name="connsiteY228" fmla="*/ 2189213 h 2323145"/>
              <a:gd name="connsiteX229" fmla="*/ 1494279 w 11269336"/>
              <a:gd name="connsiteY229" fmla="*/ 2183112 h 2323145"/>
              <a:gd name="connsiteX230" fmla="*/ 1473714 w 11269336"/>
              <a:gd name="connsiteY230" fmla="*/ 2179625 h 2323145"/>
              <a:gd name="connsiteX231" fmla="*/ 1449503 w 11269336"/>
              <a:gd name="connsiteY231" fmla="*/ 2182633 h 2323145"/>
              <a:gd name="connsiteX232" fmla="*/ 1266687 w 11269336"/>
              <a:gd name="connsiteY232" fmla="*/ 2212688 h 2323145"/>
              <a:gd name="connsiteX233" fmla="*/ 1239614 w 11269336"/>
              <a:gd name="connsiteY233" fmla="*/ 2209727 h 2323145"/>
              <a:gd name="connsiteX234" fmla="*/ 1202436 w 11269336"/>
              <a:gd name="connsiteY234" fmla="*/ 2209817 h 2323145"/>
              <a:gd name="connsiteX235" fmla="*/ 1136097 w 11269336"/>
              <a:gd name="connsiteY235" fmla="*/ 2205112 h 2323145"/>
              <a:gd name="connsiteX236" fmla="*/ 988232 w 11269336"/>
              <a:gd name="connsiteY236" fmla="*/ 2235635 h 2323145"/>
              <a:gd name="connsiteX237" fmla="*/ 981959 w 11269336"/>
              <a:gd name="connsiteY237" fmla="*/ 2231607 h 2323145"/>
              <a:gd name="connsiteX238" fmla="*/ 938600 w 11269336"/>
              <a:gd name="connsiteY238" fmla="*/ 2238113 h 2323145"/>
              <a:gd name="connsiteX239" fmla="*/ 791788 w 11269336"/>
              <a:gd name="connsiteY239" fmla="*/ 2293224 h 2323145"/>
              <a:gd name="connsiteX240" fmla="*/ 706914 w 11269336"/>
              <a:gd name="connsiteY240" fmla="*/ 2305046 h 2323145"/>
              <a:gd name="connsiteX241" fmla="*/ 675971 w 11269336"/>
              <a:gd name="connsiteY241" fmla="*/ 2304030 h 2323145"/>
              <a:gd name="connsiteX242" fmla="*/ 624180 w 11269336"/>
              <a:gd name="connsiteY242" fmla="*/ 2302650 h 2323145"/>
              <a:gd name="connsiteX243" fmla="*/ 583453 w 11269336"/>
              <a:gd name="connsiteY243" fmla="*/ 2288788 h 2323145"/>
              <a:gd name="connsiteX244" fmla="*/ 540946 w 11269336"/>
              <a:gd name="connsiteY244" fmla="*/ 2292721 h 2323145"/>
              <a:gd name="connsiteX245" fmla="*/ 533680 w 11269336"/>
              <a:gd name="connsiteY245" fmla="*/ 2310233 h 2323145"/>
              <a:gd name="connsiteX246" fmla="*/ 487366 w 11269336"/>
              <a:gd name="connsiteY246" fmla="*/ 2309053 h 2323145"/>
              <a:gd name="connsiteX247" fmla="*/ 416820 w 11269336"/>
              <a:gd name="connsiteY247" fmla="*/ 2305443 h 2323145"/>
              <a:gd name="connsiteX248" fmla="*/ 376805 w 11269336"/>
              <a:gd name="connsiteY248" fmla="*/ 2307647 h 2323145"/>
              <a:gd name="connsiteX249" fmla="*/ 266777 w 11269336"/>
              <a:gd name="connsiteY249" fmla="*/ 2309012 h 2323145"/>
              <a:gd name="connsiteX250" fmla="*/ 156013 w 11269336"/>
              <a:gd name="connsiteY250" fmla="*/ 2306832 h 2323145"/>
              <a:gd name="connsiteX251" fmla="*/ 87258 w 11269336"/>
              <a:gd name="connsiteY251" fmla="*/ 2285511 h 2323145"/>
              <a:gd name="connsiteX252" fmla="*/ 23798 w 11269336"/>
              <a:gd name="connsiteY252" fmla="*/ 2281822 h 2323145"/>
              <a:gd name="connsiteX253" fmla="*/ 0 w 11269336"/>
              <a:gd name="connsiteY253" fmla="*/ 2285369 h 2323145"/>
              <a:gd name="connsiteX254" fmla="*/ 0 w 11269336"/>
              <a:gd name="connsiteY254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67257 w 11269336"/>
              <a:gd name="connsiteY142" fmla="*/ 2196121 h 2323145"/>
              <a:gd name="connsiteX143" fmla="*/ 4405765 w 11269336"/>
              <a:gd name="connsiteY143" fmla="*/ 2199902 h 2323145"/>
              <a:gd name="connsiteX144" fmla="*/ 4401354 w 11269336"/>
              <a:gd name="connsiteY144" fmla="*/ 2194745 h 2323145"/>
              <a:gd name="connsiteX145" fmla="*/ 4366646 w 11269336"/>
              <a:gd name="connsiteY145" fmla="*/ 2198564 h 2323145"/>
              <a:gd name="connsiteX146" fmla="*/ 4354009 w 11269336"/>
              <a:gd name="connsiteY146" fmla="*/ 2204984 h 2323145"/>
              <a:gd name="connsiteX147" fmla="*/ 4348284 w 11269336"/>
              <a:gd name="connsiteY147" fmla="*/ 2205270 h 2323145"/>
              <a:gd name="connsiteX148" fmla="*/ 4333906 w 11269336"/>
              <a:gd name="connsiteY148" fmla="*/ 2205251 h 2323145"/>
              <a:gd name="connsiteX149" fmla="*/ 4308819 w 11269336"/>
              <a:gd name="connsiteY149" fmla="*/ 2203822 h 2323145"/>
              <a:gd name="connsiteX150" fmla="*/ 4301210 w 11269336"/>
              <a:gd name="connsiteY150" fmla="*/ 2204456 h 2323145"/>
              <a:gd name="connsiteX151" fmla="*/ 4283095 w 11269336"/>
              <a:gd name="connsiteY151" fmla="*/ 2198177 h 2323145"/>
              <a:gd name="connsiteX152" fmla="*/ 4250119 w 11269336"/>
              <a:gd name="connsiteY152" fmla="*/ 2196342 h 2323145"/>
              <a:gd name="connsiteX153" fmla="*/ 4189203 w 11269336"/>
              <a:gd name="connsiteY153" fmla="*/ 2178994 h 2323145"/>
              <a:gd name="connsiteX154" fmla="*/ 4154035 w 11269336"/>
              <a:gd name="connsiteY154" fmla="*/ 2171950 h 2323145"/>
              <a:gd name="connsiteX155" fmla="*/ 4129569 w 11269336"/>
              <a:gd name="connsiteY155" fmla="*/ 2163850 h 2323145"/>
              <a:gd name="connsiteX156" fmla="*/ 4061250 w 11269336"/>
              <a:gd name="connsiteY156" fmla="*/ 2159236 h 2323145"/>
              <a:gd name="connsiteX157" fmla="*/ 3945480 w 11269336"/>
              <a:gd name="connsiteY157" fmla="*/ 2158279 h 2323145"/>
              <a:gd name="connsiteX158" fmla="*/ 3921468 w 11269336"/>
              <a:gd name="connsiteY158" fmla="*/ 2156588 h 2323145"/>
              <a:gd name="connsiteX159" fmla="*/ 3903348 w 11269336"/>
              <a:gd name="connsiteY159" fmla="*/ 2149220 h 2323145"/>
              <a:gd name="connsiteX160" fmla="*/ 3901342 w 11269336"/>
              <a:gd name="connsiteY160" fmla="*/ 2142355 h 2323145"/>
              <a:gd name="connsiteX161" fmla="*/ 3888539 w 11269336"/>
              <a:gd name="connsiteY161" fmla="*/ 2140476 h 2323145"/>
              <a:gd name="connsiteX162" fmla="*/ 3885662 w 11269336"/>
              <a:gd name="connsiteY162" fmla="*/ 2138740 h 2323145"/>
              <a:gd name="connsiteX163" fmla="*/ 3868627 w 11269336"/>
              <a:gd name="connsiteY163" fmla="*/ 2130023 h 2323145"/>
              <a:gd name="connsiteX164" fmla="*/ 3819177 w 11269336"/>
              <a:gd name="connsiteY164" fmla="*/ 2142111 h 2323145"/>
              <a:gd name="connsiteX165" fmla="*/ 3769100 w 11269336"/>
              <a:gd name="connsiteY165" fmla="*/ 2131731 h 2323145"/>
              <a:gd name="connsiteX166" fmla="*/ 3562752 w 11269336"/>
              <a:gd name="connsiteY166" fmla="*/ 2131785 h 2323145"/>
              <a:gd name="connsiteX167" fmla="*/ 3541402 w 11269336"/>
              <a:gd name="connsiteY167" fmla="*/ 2106821 h 2323145"/>
              <a:gd name="connsiteX168" fmla="*/ 3365341 w 11269336"/>
              <a:gd name="connsiteY168" fmla="*/ 2077638 h 2323145"/>
              <a:gd name="connsiteX169" fmla="*/ 3170922 w 11269336"/>
              <a:gd name="connsiteY169" fmla="*/ 2115957 h 2323145"/>
              <a:gd name="connsiteX170" fmla="*/ 3156256 w 11269336"/>
              <a:gd name="connsiteY170" fmla="*/ 2124773 h 2323145"/>
              <a:gd name="connsiteX171" fmla="*/ 3140298 w 11269336"/>
              <a:gd name="connsiteY171" fmla="*/ 2129182 h 2323145"/>
              <a:gd name="connsiteX172" fmla="*/ 3138514 w 11269336"/>
              <a:gd name="connsiteY172" fmla="*/ 2128069 h 2323145"/>
              <a:gd name="connsiteX173" fmla="*/ 3120467 w 11269336"/>
              <a:gd name="connsiteY173" fmla="*/ 2128281 h 2323145"/>
              <a:gd name="connsiteX174" fmla="*/ 3116175 w 11269336"/>
              <a:gd name="connsiteY174" fmla="*/ 2131633 h 2323145"/>
              <a:gd name="connsiteX175" fmla="*/ 3103685 w 11269336"/>
              <a:gd name="connsiteY175" fmla="*/ 2132814 h 2323145"/>
              <a:gd name="connsiteX176" fmla="*/ 3078794 w 11269336"/>
              <a:gd name="connsiteY176" fmla="*/ 2137935 h 2323145"/>
              <a:gd name="connsiteX177" fmla="*/ 3074407 w 11269336"/>
              <a:gd name="connsiteY177" fmla="*/ 2136274 h 2323145"/>
              <a:gd name="connsiteX178" fmla="*/ 3037285 w 11269336"/>
              <a:gd name="connsiteY178" fmla="*/ 2139919 h 2323145"/>
              <a:gd name="connsiteX179" fmla="*/ 3036901 w 11269336"/>
              <a:gd name="connsiteY179" fmla="*/ 2138726 h 2323145"/>
              <a:gd name="connsiteX180" fmla="*/ 3026996 w 11269336"/>
              <a:gd name="connsiteY180" fmla="*/ 2134322 h 2323145"/>
              <a:gd name="connsiteX181" fmla="*/ 3007772 w 11269336"/>
              <a:gd name="connsiteY181" fmla="*/ 2128742 h 2323145"/>
              <a:gd name="connsiteX182" fmla="*/ 2965030 w 11269336"/>
              <a:gd name="connsiteY182" fmla="*/ 2100494 h 2323145"/>
              <a:gd name="connsiteX183" fmla="*/ 2926342 w 11269336"/>
              <a:gd name="connsiteY183" fmla="*/ 2104155 h 2323145"/>
              <a:gd name="connsiteX184" fmla="*/ 2918608 w 11269336"/>
              <a:gd name="connsiteY184" fmla="*/ 2104215 h 2323145"/>
              <a:gd name="connsiteX185" fmla="*/ 2918475 w 11269336"/>
              <a:gd name="connsiteY185" fmla="*/ 2103937 h 2323145"/>
              <a:gd name="connsiteX186" fmla="*/ 2910360 w 11269336"/>
              <a:gd name="connsiteY186" fmla="*/ 2103444 h 2323145"/>
              <a:gd name="connsiteX187" fmla="*/ 2904507 w 11269336"/>
              <a:gd name="connsiteY187" fmla="*/ 2104326 h 2323145"/>
              <a:gd name="connsiteX188" fmla="*/ 2889503 w 11269336"/>
              <a:gd name="connsiteY188" fmla="*/ 2104443 h 2323145"/>
              <a:gd name="connsiteX189" fmla="*/ 2884480 w 11269336"/>
              <a:gd name="connsiteY189" fmla="*/ 2102626 h 2323145"/>
              <a:gd name="connsiteX190" fmla="*/ 2882689 w 11269336"/>
              <a:gd name="connsiteY190" fmla="*/ 2099228 h 2323145"/>
              <a:gd name="connsiteX191" fmla="*/ 2881291 w 11269336"/>
              <a:gd name="connsiteY191" fmla="*/ 2099618 h 2323145"/>
              <a:gd name="connsiteX192" fmla="*/ 2853979 w 11269336"/>
              <a:gd name="connsiteY192" fmla="*/ 2090388 h 2323145"/>
              <a:gd name="connsiteX193" fmla="*/ 2791790 w 11269336"/>
              <a:gd name="connsiteY193" fmla="*/ 2080332 h 2323145"/>
              <a:gd name="connsiteX194" fmla="*/ 2755844 w 11269336"/>
              <a:gd name="connsiteY194" fmla="*/ 2078874 h 2323145"/>
              <a:gd name="connsiteX195" fmla="*/ 2657742 w 11269336"/>
              <a:gd name="connsiteY195" fmla="*/ 2070179 h 2323145"/>
              <a:gd name="connsiteX196" fmla="*/ 2559549 w 11269336"/>
              <a:gd name="connsiteY196" fmla="*/ 2057873 h 2323145"/>
              <a:gd name="connsiteX197" fmla="*/ 2512054 w 11269336"/>
              <a:gd name="connsiteY197" fmla="*/ 2031671 h 2323145"/>
              <a:gd name="connsiteX198" fmla="*/ 2506437 w 11269336"/>
              <a:gd name="connsiteY198" fmla="*/ 2030918 h 2323145"/>
              <a:gd name="connsiteX199" fmla="*/ 2491752 w 11269336"/>
              <a:gd name="connsiteY199" fmla="*/ 2033906 h 2323145"/>
              <a:gd name="connsiteX200" fmla="*/ 2486338 w 11269336"/>
              <a:gd name="connsiteY200" fmla="*/ 2035862 h 2323145"/>
              <a:gd name="connsiteX201" fmla="*/ 2478186 w 11269336"/>
              <a:gd name="connsiteY201" fmla="*/ 2036953 h 2323145"/>
              <a:gd name="connsiteX202" fmla="*/ 2477950 w 11269336"/>
              <a:gd name="connsiteY202" fmla="*/ 2036715 h 2323145"/>
              <a:gd name="connsiteX203" fmla="*/ 2470381 w 11269336"/>
              <a:gd name="connsiteY203" fmla="*/ 2038256 h 2323145"/>
              <a:gd name="connsiteX204" fmla="*/ 2433781 w 11269336"/>
              <a:gd name="connsiteY204" fmla="*/ 2049140 h 2323145"/>
              <a:gd name="connsiteX205" fmla="*/ 2381172 w 11269336"/>
              <a:gd name="connsiteY205" fmla="*/ 2030645 h 2323145"/>
              <a:gd name="connsiteX206" fmla="*/ 2360198 w 11269336"/>
              <a:gd name="connsiteY206" fmla="*/ 2029059 h 2323145"/>
              <a:gd name="connsiteX207" fmla="*/ 2348815 w 11269336"/>
              <a:gd name="connsiteY207" fmla="*/ 2026798 h 2323145"/>
              <a:gd name="connsiteX208" fmla="*/ 2347988 w 11269336"/>
              <a:gd name="connsiteY208" fmla="*/ 2025745 h 2323145"/>
              <a:gd name="connsiteX209" fmla="*/ 2312920 w 11269336"/>
              <a:gd name="connsiteY209" fmla="*/ 2036311 h 2323145"/>
              <a:gd name="connsiteX210" fmla="*/ 2307986 w 11269336"/>
              <a:gd name="connsiteY210" fmla="*/ 2035583 h 2323145"/>
              <a:gd name="connsiteX211" fmla="*/ 2285481 w 11269336"/>
              <a:gd name="connsiteY211" fmla="*/ 2045197 h 2323145"/>
              <a:gd name="connsiteX212" fmla="*/ 2273666 w 11269336"/>
              <a:gd name="connsiteY212" fmla="*/ 2048710 h 2323145"/>
              <a:gd name="connsiteX213" fmla="*/ 2270719 w 11269336"/>
              <a:gd name="connsiteY213" fmla="*/ 2052702 h 2323145"/>
              <a:gd name="connsiteX214" fmla="*/ 2253080 w 11269336"/>
              <a:gd name="connsiteY214" fmla="*/ 2056363 h 2323145"/>
              <a:gd name="connsiteX215" fmla="*/ 2250906 w 11269336"/>
              <a:gd name="connsiteY215" fmla="*/ 2055654 h 2323145"/>
              <a:gd name="connsiteX216" fmla="*/ 2236905 w 11269336"/>
              <a:gd name="connsiteY216" fmla="*/ 2062882 h 2323145"/>
              <a:gd name="connsiteX217" fmla="*/ 2225830 w 11269336"/>
              <a:gd name="connsiteY217" fmla="*/ 2074027 h 2323145"/>
              <a:gd name="connsiteX218" fmla="*/ 2073776 w 11269336"/>
              <a:gd name="connsiteY218" fmla="*/ 2089244 h 2323145"/>
              <a:gd name="connsiteX219" fmla="*/ 1948256 w 11269336"/>
              <a:gd name="connsiteY219" fmla="*/ 2146616 h 2323145"/>
              <a:gd name="connsiteX220" fmla="*/ 1865582 w 11269336"/>
              <a:gd name="connsiteY220" fmla="*/ 2153738 h 2323145"/>
              <a:gd name="connsiteX221" fmla="*/ 1835210 w 11269336"/>
              <a:gd name="connsiteY221" fmla="*/ 2134244 h 2323145"/>
              <a:gd name="connsiteX222" fmla="*/ 1632661 w 11269336"/>
              <a:gd name="connsiteY222" fmla="*/ 2173882 h 2323145"/>
              <a:gd name="connsiteX223" fmla="*/ 1579590 w 11269336"/>
              <a:gd name="connsiteY223" fmla="*/ 2173680 h 2323145"/>
              <a:gd name="connsiteX224" fmla="*/ 1535601 w 11269336"/>
              <a:gd name="connsiteY224" fmla="*/ 2194590 h 2323145"/>
              <a:gd name="connsiteX225" fmla="*/ 1515594 w 11269336"/>
              <a:gd name="connsiteY225" fmla="*/ 2189622 h 2323145"/>
              <a:gd name="connsiteX226" fmla="*/ 1512113 w 11269336"/>
              <a:gd name="connsiteY226" fmla="*/ 2188534 h 2323145"/>
              <a:gd name="connsiteX227" fmla="*/ 1498838 w 11269336"/>
              <a:gd name="connsiteY227" fmla="*/ 2189213 h 2323145"/>
              <a:gd name="connsiteX228" fmla="*/ 1494279 w 11269336"/>
              <a:gd name="connsiteY228" fmla="*/ 2183112 h 2323145"/>
              <a:gd name="connsiteX229" fmla="*/ 1473714 w 11269336"/>
              <a:gd name="connsiteY229" fmla="*/ 2179625 h 2323145"/>
              <a:gd name="connsiteX230" fmla="*/ 1449503 w 11269336"/>
              <a:gd name="connsiteY230" fmla="*/ 2182633 h 2323145"/>
              <a:gd name="connsiteX231" fmla="*/ 1266687 w 11269336"/>
              <a:gd name="connsiteY231" fmla="*/ 2212688 h 2323145"/>
              <a:gd name="connsiteX232" fmla="*/ 1239614 w 11269336"/>
              <a:gd name="connsiteY232" fmla="*/ 2209727 h 2323145"/>
              <a:gd name="connsiteX233" fmla="*/ 1202436 w 11269336"/>
              <a:gd name="connsiteY233" fmla="*/ 2209817 h 2323145"/>
              <a:gd name="connsiteX234" fmla="*/ 1136097 w 11269336"/>
              <a:gd name="connsiteY234" fmla="*/ 2205112 h 2323145"/>
              <a:gd name="connsiteX235" fmla="*/ 988232 w 11269336"/>
              <a:gd name="connsiteY235" fmla="*/ 2235635 h 2323145"/>
              <a:gd name="connsiteX236" fmla="*/ 981959 w 11269336"/>
              <a:gd name="connsiteY236" fmla="*/ 2231607 h 2323145"/>
              <a:gd name="connsiteX237" fmla="*/ 938600 w 11269336"/>
              <a:gd name="connsiteY237" fmla="*/ 2238113 h 2323145"/>
              <a:gd name="connsiteX238" fmla="*/ 791788 w 11269336"/>
              <a:gd name="connsiteY238" fmla="*/ 2293224 h 2323145"/>
              <a:gd name="connsiteX239" fmla="*/ 706914 w 11269336"/>
              <a:gd name="connsiteY239" fmla="*/ 2305046 h 2323145"/>
              <a:gd name="connsiteX240" fmla="*/ 675971 w 11269336"/>
              <a:gd name="connsiteY240" fmla="*/ 2304030 h 2323145"/>
              <a:gd name="connsiteX241" fmla="*/ 624180 w 11269336"/>
              <a:gd name="connsiteY241" fmla="*/ 2302650 h 2323145"/>
              <a:gd name="connsiteX242" fmla="*/ 583453 w 11269336"/>
              <a:gd name="connsiteY242" fmla="*/ 2288788 h 2323145"/>
              <a:gd name="connsiteX243" fmla="*/ 540946 w 11269336"/>
              <a:gd name="connsiteY243" fmla="*/ 2292721 h 2323145"/>
              <a:gd name="connsiteX244" fmla="*/ 533680 w 11269336"/>
              <a:gd name="connsiteY244" fmla="*/ 2310233 h 2323145"/>
              <a:gd name="connsiteX245" fmla="*/ 487366 w 11269336"/>
              <a:gd name="connsiteY245" fmla="*/ 2309053 h 2323145"/>
              <a:gd name="connsiteX246" fmla="*/ 416820 w 11269336"/>
              <a:gd name="connsiteY246" fmla="*/ 2305443 h 2323145"/>
              <a:gd name="connsiteX247" fmla="*/ 376805 w 11269336"/>
              <a:gd name="connsiteY247" fmla="*/ 2307647 h 2323145"/>
              <a:gd name="connsiteX248" fmla="*/ 266777 w 11269336"/>
              <a:gd name="connsiteY248" fmla="*/ 2309012 h 2323145"/>
              <a:gd name="connsiteX249" fmla="*/ 156013 w 11269336"/>
              <a:gd name="connsiteY249" fmla="*/ 2306832 h 2323145"/>
              <a:gd name="connsiteX250" fmla="*/ 87258 w 11269336"/>
              <a:gd name="connsiteY250" fmla="*/ 2285511 h 2323145"/>
              <a:gd name="connsiteX251" fmla="*/ 23798 w 11269336"/>
              <a:gd name="connsiteY251" fmla="*/ 2281822 h 2323145"/>
              <a:gd name="connsiteX252" fmla="*/ 0 w 11269336"/>
              <a:gd name="connsiteY252" fmla="*/ 2285369 h 2323145"/>
              <a:gd name="connsiteX253" fmla="*/ 0 w 11269336"/>
              <a:gd name="connsiteY25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467257 w 11269336"/>
              <a:gd name="connsiteY141" fmla="*/ 2196121 h 2323145"/>
              <a:gd name="connsiteX142" fmla="*/ 4405765 w 11269336"/>
              <a:gd name="connsiteY142" fmla="*/ 2199902 h 2323145"/>
              <a:gd name="connsiteX143" fmla="*/ 4401354 w 11269336"/>
              <a:gd name="connsiteY143" fmla="*/ 2194745 h 2323145"/>
              <a:gd name="connsiteX144" fmla="*/ 4366646 w 11269336"/>
              <a:gd name="connsiteY144" fmla="*/ 2198564 h 2323145"/>
              <a:gd name="connsiteX145" fmla="*/ 4354009 w 11269336"/>
              <a:gd name="connsiteY145" fmla="*/ 2204984 h 2323145"/>
              <a:gd name="connsiteX146" fmla="*/ 4348284 w 11269336"/>
              <a:gd name="connsiteY146" fmla="*/ 2205270 h 2323145"/>
              <a:gd name="connsiteX147" fmla="*/ 4333906 w 11269336"/>
              <a:gd name="connsiteY147" fmla="*/ 2205251 h 2323145"/>
              <a:gd name="connsiteX148" fmla="*/ 4308819 w 11269336"/>
              <a:gd name="connsiteY148" fmla="*/ 2203822 h 2323145"/>
              <a:gd name="connsiteX149" fmla="*/ 4301210 w 11269336"/>
              <a:gd name="connsiteY149" fmla="*/ 2204456 h 2323145"/>
              <a:gd name="connsiteX150" fmla="*/ 4283095 w 11269336"/>
              <a:gd name="connsiteY150" fmla="*/ 2198177 h 2323145"/>
              <a:gd name="connsiteX151" fmla="*/ 4250119 w 11269336"/>
              <a:gd name="connsiteY151" fmla="*/ 2196342 h 2323145"/>
              <a:gd name="connsiteX152" fmla="*/ 4189203 w 11269336"/>
              <a:gd name="connsiteY152" fmla="*/ 2178994 h 2323145"/>
              <a:gd name="connsiteX153" fmla="*/ 4154035 w 11269336"/>
              <a:gd name="connsiteY153" fmla="*/ 2171950 h 2323145"/>
              <a:gd name="connsiteX154" fmla="*/ 4129569 w 11269336"/>
              <a:gd name="connsiteY154" fmla="*/ 2163850 h 2323145"/>
              <a:gd name="connsiteX155" fmla="*/ 4061250 w 11269336"/>
              <a:gd name="connsiteY155" fmla="*/ 2159236 h 2323145"/>
              <a:gd name="connsiteX156" fmla="*/ 3945480 w 11269336"/>
              <a:gd name="connsiteY156" fmla="*/ 2158279 h 2323145"/>
              <a:gd name="connsiteX157" fmla="*/ 3921468 w 11269336"/>
              <a:gd name="connsiteY157" fmla="*/ 2156588 h 2323145"/>
              <a:gd name="connsiteX158" fmla="*/ 3903348 w 11269336"/>
              <a:gd name="connsiteY158" fmla="*/ 2149220 h 2323145"/>
              <a:gd name="connsiteX159" fmla="*/ 3901342 w 11269336"/>
              <a:gd name="connsiteY159" fmla="*/ 2142355 h 2323145"/>
              <a:gd name="connsiteX160" fmla="*/ 3888539 w 11269336"/>
              <a:gd name="connsiteY160" fmla="*/ 2140476 h 2323145"/>
              <a:gd name="connsiteX161" fmla="*/ 3885662 w 11269336"/>
              <a:gd name="connsiteY161" fmla="*/ 2138740 h 2323145"/>
              <a:gd name="connsiteX162" fmla="*/ 3868627 w 11269336"/>
              <a:gd name="connsiteY162" fmla="*/ 2130023 h 2323145"/>
              <a:gd name="connsiteX163" fmla="*/ 3819177 w 11269336"/>
              <a:gd name="connsiteY163" fmla="*/ 2142111 h 2323145"/>
              <a:gd name="connsiteX164" fmla="*/ 3769100 w 11269336"/>
              <a:gd name="connsiteY164" fmla="*/ 2131731 h 2323145"/>
              <a:gd name="connsiteX165" fmla="*/ 3562752 w 11269336"/>
              <a:gd name="connsiteY165" fmla="*/ 2131785 h 2323145"/>
              <a:gd name="connsiteX166" fmla="*/ 3541402 w 11269336"/>
              <a:gd name="connsiteY166" fmla="*/ 2106821 h 2323145"/>
              <a:gd name="connsiteX167" fmla="*/ 3365341 w 11269336"/>
              <a:gd name="connsiteY167" fmla="*/ 2077638 h 2323145"/>
              <a:gd name="connsiteX168" fmla="*/ 3170922 w 11269336"/>
              <a:gd name="connsiteY168" fmla="*/ 2115957 h 2323145"/>
              <a:gd name="connsiteX169" fmla="*/ 3156256 w 11269336"/>
              <a:gd name="connsiteY169" fmla="*/ 2124773 h 2323145"/>
              <a:gd name="connsiteX170" fmla="*/ 3140298 w 11269336"/>
              <a:gd name="connsiteY170" fmla="*/ 2129182 h 2323145"/>
              <a:gd name="connsiteX171" fmla="*/ 3138514 w 11269336"/>
              <a:gd name="connsiteY171" fmla="*/ 2128069 h 2323145"/>
              <a:gd name="connsiteX172" fmla="*/ 3120467 w 11269336"/>
              <a:gd name="connsiteY172" fmla="*/ 2128281 h 2323145"/>
              <a:gd name="connsiteX173" fmla="*/ 3116175 w 11269336"/>
              <a:gd name="connsiteY173" fmla="*/ 2131633 h 2323145"/>
              <a:gd name="connsiteX174" fmla="*/ 3103685 w 11269336"/>
              <a:gd name="connsiteY174" fmla="*/ 2132814 h 2323145"/>
              <a:gd name="connsiteX175" fmla="*/ 3078794 w 11269336"/>
              <a:gd name="connsiteY175" fmla="*/ 2137935 h 2323145"/>
              <a:gd name="connsiteX176" fmla="*/ 3074407 w 11269336"/>
              <a:gd name="connsiteY176" fmla="*/ 2136274 h 2323145"/>
              <a:gd name="connsiteX177" fmla="*/ 3037285 w 11269336"/>
              <a:gd name="connsiteY177" fmla="*/ 2139919 h 2323145"/>
              <a:gd name="connsiteX178" fmla="*/ 3036901 w 11269336"/>
              <a:gd name="connsiteY178" fmla="*/ 2138726 h 2323145"/>
              <a:gd name="connsiteX179" fmla="*/ 3026996 w 11269336"/>
              <a:gd name="connsiteY179" fmla="*/ 2134322 h 2323145"/>
              <a:gd name="connsiteX180" fmla="*/ 3007772 w 11269336"/>
              <a:gd name="connsiteY180" fmla="*/ 2128742 h 2323145"/>
              <a:gd name="connsiteX181" fmla="*/ 2965030 w 11269336"/>
              <a:gd name="connsiteY181" fmla="*/ 2100494 h 2323145"/>
              <a:gd name="connsiteX182" fmla="*/ 2926342 w 11269336"/>
              <a:gd name="connsiteY182" fmla="*/ 2104155 h 2323145"/>
              <a:gd name="connsiteX183" fmla="*/ 2918608 w 11269336"/>
              <a:gd name="connsiteY183" fmla="*/ 2104215 h 2323145"/>
              <a:gd name="connsiteX184" fmla="*/ 2918475 w 11269336"/>
              <a:gd name="connsiteY184" fmla="*/ 2103937 h 2323145"/>
              <a:gd name="connsiteX185" fmla="*/ 2910360 w 11269336"/>
              <a:gd name="connsiteY185" fmla="*/ 2103444 h 2323145"/>
              <a:gd name="connsiteX186" fmla="*/ 2904507 w 11269336"/>
              <a:gd name="connsiteY186" fmla="*/ 2104326 h 2323145"/>
              <a:gd name="connsiteX187" fmla="*/ 2889503 w 11269336"/>
              <a:gd name="connsiteY187" fmla="*/ 2104443 h 2323145"/>
              <a:gd name="connsiteX188" fmla="*/ 2884480 w 11269336"/>
              <a:gd name="connsiteY188" fmla="*/ 2102626 h 2323145"/>
              <a:gd name="connsiteX189" fmla="*/ 2882689 w 11269336"/>
              <a:gd name="connsiteY189" fmla="*/ 2099228 h 2323145"/>
              <a:gd name="connsiteX190" fmla="*/ 2881291 w 11269336"/>
              <a:gd name="connsiteY190" fmla="*/ 2099618 h 2323145"/>
              <a:gd name="connsiteX191" fmla="*/ 2853979 w 11269336"/>
              <a:gd name="connsiteY191" fmla="*/ 2090388 h 2323145"/>
              <a:gd name="connsiteX192" fmla="*/ 2791790 w 11269336"/>
              <a:gd name="connsiteY192" fmla="*/ 2080332 h 2323145"/>
              <a:gd name="connsiteX193" fmla="*/ 2755844 w 11269336"/>
              <a:gd name="connsiteY193" fmla="*/ 2078874 h 2323145"/>
              <a:gd name="connsiteX194" fmla="*/ 2657742 w 11269336"/>
              <a:gd name="connsiteY194" fmla="*/ 2070179 h 2323145"/>
              <a:gd name="connsiteX195" fmla="*/ 2559549 w 11269336"/>
              <a:gd name="connsiteY195" fmla="*/ 2057873 h 2323145"/>
              <a:gd name="connsiteX196" fmla="*/ 2512054 w 11269336"/>
              <a:gd name="connsiteY196" fmla="*/ 2031671 h 2323145"/>
              <a:gd name="connsiteX197" fmla="*/ 2506437 w 11269336"/>
              <a:gd name="connsiteY197" fmla="*/ 2030918 h 2323145"/>
              <a:gd name="connsiteX198" fmla="*/ 2491752 w 11269336"/>
              <a:gd name="connsiteY198" fmla="*/ 2033906 h 2323145"/>
              <a:gd name="connsiteX199" fmla="*/ 2486338 w 11269336"/>
              <a:gd name="connsiteY199" fmla="*/ 2035862 h 2323145"/>
              <a:gd name="connsiteX200" fmla="*/ 2478186 w 11269336"/>
              <a:gd name="connsiteY200" fmla="*/ 2036953 h 2323145"/>
              <a:gd name="connsiteX201" fmla="*/ 2477950 w 11269336"/>
              <a:gd name="connsiteY201" fmla="*/ 2036715 h 2323145"/>
              <a:gd name="connsiteX202" fmla="*/ 2470381 w 11269336"/>
              <a:gd name="connsiteY202" fmla="*/ 2038256 h 2323145"/>
              <a:gd name="connsiteX203" fmla="*/ 2433781 w 11269336"/>
              <a:gd name="connsiteY203" fmla="*/ 2049140 h 2323145"/>
              <a:gd name="connsiteX204" fmla="*/ 2381172 w 11269336"/>
              <a:gd name="connsiteY204" fmla="*/ 2030645 h 2323145"/>
              <a:gd name="connsiteX205" fmla="*/ 2360198 w 11269336"/>
              <a:gd name="connsiteY205" fmla="*/ 2029059 h 2323145"/>
              <a:gd name="connsiteX206" fmla="*/ 2348815 w 11269336"/>
              <a:gd name="connsiteY206" fmla="*/ 2026798 h 2323145"/>
              <a:gd name="connsiteX207" fmla="*/ 2347988 w 11269336"/>
              <a:gd name="connsiteY207" fmla="*/ 2025745 h 2323145"/>
              <a:gd name="connsiteX208" fmla="*/ 2312920 w 11269336"/>
              <a:gd name="connsiteY208" fmla="*/ 2036311 h 2323145"/>
              <a:gd name="connsiteX209" fmla="*/ 2307986 w 11269336"/>
              <a:gd name="connsiteY209" fmla="*/ 2035583 h 2323145"/>
              <a:gd name="connsiteX210" fmla="*/ 2285481 w 11269336"/>
              <a:gd name="connsiteY210" fmla="*/ 2045197 h 2323145"/>
              <a:gd name="connsiteX211" fmla="*/ 2273666 w 11269336"/>
              <a:gd name="connsiteY211" fmla="*/ 2048710 h 2323145"/>
              <a:gd name="connsiteX212" fmla="*/ 2270719 w 11269336"/>
              <a:gd name="connsiteY212" fmla="*/ 2052702 h 2323145"/>
              <a:gd name="connsiteX213" fmla="*/ 2253080 w 11269336"/>
              <a:gd name="connsiteY213" fmla="*/ 2056363 h 2323145"/>
              <a:gd name="connsiteX214" fmla="*/ 2250906 w 11269336"/>
              <a:gd name="connsiteY214" fmla="*/ 2055654 h 2323145"/>
              <a:gd name="connsiteX215" fmla="*/ 2236905 w 11269336"/>
              <a:gd name="connsiteY215" fmla="*/ 2062882 h 2323145"/>
              <a:gd name="connsiteX216" fmla="*/ 2225830 w 11269336"/>
              <a:gd name="connsiteY216" fmla="*/ 2074027 h 2323145"/>
              <a:gd name="connsiteX217" fmla="*/ 2073776 w 11269336"/>
              <a:gd name="connsiteY217" fmla="*/ 2089244 h 2323145"/>
              <a:gd name="connsiteX218" fmla="*/ 1948256 w 11269336"/>
              <a:gd name="connsiteY218" fmla="*/ 2146616 h 2323145"/>
              <a:gd name="connsiteX219" fmla="*/ 1865582 w 11269336"/>
              <a:gd name="connsiteY219" fmla="*/ 2153738 h 2323145"/>
              <a:gd name="connsiteX220" fmla="*/ 1835210 w 11269336"/>
              <a:gd name="connsiteY220" fmla="*/ 2134244 h 2323145"/>
              <a:gd name="connsiteX221" fmla="*/ 1632661 w 11269336"/>
              <a:gd name="connsiteY221" fmla="*/ 2173882 h 2323145"/>
              <a:gd name="connsiteX222" fmla="*/ 1579590 w 11269336"/>
              <a:gd name="connsiteY222" fmla="*/ 2173680 h 2323145"/>
              <a:gd name="connsiteX223" fmla="*/ 1535601 w 11269336"/>
              <a:gd name="connsiteY223" fmla="*/ 2194590 h 2323145"/>
              <a:gd name="connsiteX224" fmla="*/ 1515594 w 11269336"/>
              <a:gd name="connsiteY224" fmla="*/ 2189622 h 2323145"/>
              <a:gd name="connsiteX225" fmla="*/ 1512113 w 11269336"/>
              <a:gd name="connsiteY225" fmla="*/ 2188534 h 2323145"/>
              <a:gd name="connsiteX226" fmla="*/ 1498838 w 11269336"/>
              <a:gd name="connsiteY226" fmla="*/ 2189213 h 2323145"/>
              <a:gd name="connsiteX227" fmla="*/ 1494279 w 11269336"/>
              <a:gd name="connsiteY227" fmla="*/ 2183112 h 2323145"/>
              <a:gd name="connsiteX228" fmla="*/ 1473714 w 11269336"/>
              <a:gd name="connsiteY228" fmla="*/ 2179625 h 2323145"/>
              <a:gd name="connsiteX229" fmla="*/ 1449503 w 11269336"/>
              <a:gd name="connsiteY229" fmla="*/ 2182633 h 2323145"/>
              <a:gd name="connsiteX230" fmla="*/ 1266687 w 11269336"/>
              <a:gd name="connsiteY230" fmla="*/ 2212688 h 2323145"/>
              <a:gd name="connsiteX231" fmla="*/ 1239614 w 11269336"/>
              <a:gd name="connsiteY231" fmla="*/ 2209727 h 2323145"/>
              <a:gd name="connsiteX232" fmla="*/ 1202436 w 11269336"/>
              <a:gd name="connsiteY232" fmla="*/ 2209817 h 2323145"/>
              <a:gd name="connsiteX233" fmla="*/ 1136097 w 11269336"/>
              <a:gd name="connsiteY233" fmla="*/ 2205112 h 2323145"/>
              <a:gd name="connsiteX234" fmla="*/ 988232 w 11269336"/>
              <a:gd name="connsiteY234" fmla="*/ 2235635 h 2323145"/>
              <a:gd name="connsiteX235" fmla="*/ 981959 w 11269336"/>
              <a:gd name="connsiteY235" fmla="*/ 2231607 h 2323145"/>
              <a:gd name="connsiteX236" fmla="*/ 938600 w 11269336"/>
              <a:gd name="connsiteY236" fmla="*/ 2238113 h 2323145"/>
              <a:gd name="connsiteX237" fmla="*/ 791788 w 11269336"/>
              <a:gd name="connsiteY237" fmla="*/ 2293224 h 2323145"/>
              <a:gd name="connsiteX238" fmla="*/ 706914 w 11269336"/>
              <a:gd name="connsiteY238" fmla="*/ 2305046 h 2323145"/>
              <a:gd name="connsiteX239" fmla="*/ 675971 w 11269336"/>
              <a:gd name="connsiteY239" fmla="*/ 2304030 h 2323145"/>
              <a:gd name="connsiteX240" fmla="*/ 624180 w 11269336"/>
              <a:gd name="connsiteY240" fmla="*/ 2302650 h 2323145"/>
              <a:gd name="connsiteX241" fmla="*/ 583453 w 11269336"/>
              <a:gd name="connsiteY241" fmla="*/ 2288788 h 2323145"/>
              <a:gd name="connsiteX242" fmla="*/ 540946 w 11269336"/>
              <a:gd name="connsiteY242" fmla="*/ 2292721 h 2323145"/>
              <a:gd name="connsiteX243" fmla="*/ 533680 w 11269336"/>
              <a:gd name="connsiteY243" fmla="*/ 2310233 h 2323145"/>
              <a:gd name="connsiteX244" fmla="*/ 487366 w 11269336"/>
              <a:gd name="connsiteY244" fmla="*/ 2309053 h 2323145"/>
              <a:gd name="connsiteX245" fmla="*/ 416820 w 11269336"/>
              <a:gd name="connsiteY245" fmla="*/ 2305443 h 2323145"/>
              <a:gd name="connsiteX246" fmla="*/ 376805 w 11269336"/>
              <a:gd name="connsiteY246" fmla="*/ 2307647 h 2323145"/>
              <a:gd name="connsiteX247" fmla="*/ 266777 w 11269336"/>
              <a:gd name="connsiteY247" fmla="*/ 2309012 h 2323145"/>
              <a:gd name="connsiteX248" fmla="*/ 156013 w 11269336"/>
              <a:gd name="connsiteY248" fmla="*/ 2306832 h 2323145"/>
              <a:gd name="connsiteX249" fmla="*/ 87258 w 11269336"/>
              <a:gd name="connsiteY249" fmla="*/ 2285511 h 2323145"/>
              <a:gd name="connsiteX250" fmla="*/ 23798 w 11269336"/>
              <a:gd name="connsiteY250" fmla="*/ 2281822 h 2323145"/>
              <a:gd name="connsiteX251" fmla="*/ 0 w 11269336"/>
              <a:gd name="connsiteY251" fmla="*/ 2285369 h 2323145"/>
              <a:gd name="connsiteX252" fmla="*/ 0 w 11269336"/>
              <a:gd name="connsiteY25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405765 w 11269336"/>
              <a:gd name="connsiteY141" fmla="*/ 2199902 h 2323145"/>
              <a:gd name="connsiteX142" fmla="*/ 4401354 w 11269336"/>
              <a:gd name="connsiteY142" fmla="*/ 2194745 h 2323145"/>
              <a:gd name="connsiteX143" fmla="*/ 4366646 w 11269336"/>
              <a:gd name="connsiteY143" fmla="*/ 2198564 h 2323145"/>
              <a:gd name="connsiteX144" fmla="*/ 4354009 w 11269336"/>
              <a:gd name="connsiteY144" fmla="*/ 2204984 h 2323145"/>
              <a:gd name="connsiteX145" fmla="*/ 4348284 w 11269336"/>
              <a:gd name="connsiteY145" fmla="*/ 2205270 h 2323145"/>
              <a:gd name="connsiteX146" fmla="*/ 4333906 w 11269336"/>
              <a:gd name="connsiteY146" fmla="*/ 2205251 h 2323145"/>
              <a:gd name="connsiteX147" fmla="*/ 4308819 w 11269336"/>
              <a:gd name="connsiteY147" fmla="*/ 2203822 h 2323145"/>
              <a:gd name="connsiteX148" fmla="*/ 4301210 w 11269336"/>
              <a:gd name="connsiteY148" fmla="*/ 2204456 h 2323145"/>
              <a:gd name="connsiteX149" fmla="*/ 4283095 w 11269336"/>
              <a:gd name="connsiteY149" fmla="*/ 2198177 h 2323145"/>
              <a:gd name="connsiteX150" fmla="*/ 4250119 w 11269336"/>
              <a:gd name="connsiteY150" fmla="*/ 2196342 h 2323145"/>
              <a:gd name="connsiteX151" fmla="*/ 4189203 w 11269336"/>
              <a:gd name="connsiteY151" fmla="*/ 2178994 h 2323145"/>
              <a:gd name="connsiteX152" fmla="*/ 4154035 w 11269336"/>
              <a:gd name="connsiteY152" fmla="*/ 2171950 h 2323145"/>
              <a:gd name="connsiteX153" fmla="*/ 4129569 w 11269336"/>
              <a:gd name="connsiteY153" fmla="*/ 2163850 h 2323145"/>
              <a:gd name="connsiteX154" fmla="*/ 4061250 w 11269336"/>
              <a:gd name="connsiteY154" fmla="*/ 2159236 h 2323145"/>
              <a:gd name="connsiteX155" fmla="*/ 3945480 w 11269336"/>
              <a:gd name="connsiteY155" fmla="*/ 2158279 h 2323145"/>
              <a:gd name="connsiteX156" fmla="*/ 3921468 w 11269336"/>
              <a:gd name="connsiteY156" fmla="*/ 2156588 h 2323145"/>
              <a:gd name="connsiteX157" fmla="*/ 3903348 w 11269336"/>
              <a:gd name="connsiteY157" fmla="*/ 2149220 h 2323145"/>
              <a:gd name="connsiteX158" fmla="*/ 3901342 w 11269336"/>
              <a:gd name="connsiteY158" fmla="*/ 2142355 h 2323145"/>
              <a:gd name="connsiteX159" fmla="*/ 3888539 w 11269336"/>
              <a:gd name="connsiteY159" fmla="*/ 2140476 h 2323145"/>
              <a:gd name="connsiteX160" fmla="*/ 3885662 w 11269336"/>
              <a:gd name="connsiteY160" fmla="*/ 2138740 h 2323145"/>
              <a:gd name="connsiteX161" fmla="*/ 3868627 w 11269336"/>
              <a:gd name="connsiteY161" fmla="*/ 2130023 h 2323145"/>
              <a:gd name="connsiteX162" fmla="*/ 3819177 w 11269336"/>
              <a:gd name="connsiteY162" fmla="*/ 2142111 h 2323145"/>
              <a:gd name="connsiteX163" fmla="*/ 3769100 w 11269336"/>
              <a:gd name="connsiteY163" fmla="*/ 2131731 h 2323145"/>
              <a:gd name="connsiteX164" fmla="*/ 3562752 w 11269336"/>
              <a:gd name="connsiteY164" fmla="*/ 2131785 h 2323145"/>
              <a:gd name="connsiteX165" fmla="*/ 3541402 w 11269336"/>
              <a:gd name="connsiteY165" fmla="*/ 2106821 h 2323145"/>
              <a:gd name="connsiteX166" fmla="*/ 3365341 w 11269336"/>
              <a:gd name="connsiteY166" fmla="*/ 2077638 h 2323145"/>
              <a:gd name="connsiteX167" fmla="*/ 3170922 w 11269336"/>
              <a:gd name="connsiteY167" fmla="*/ 2115957 h 2323145"/>
              <a:gd name="connsiteX168" fmla="*/ 3156256 w 11269336"/>
              <a:gd name="connsiteY168" fmla="*/ 2124773 h 2323145"/>
              <a:gd name="connsiteX169" fmla="*/ 3140298 w 11269336"/>
              <a:gd name="connsiteY169" fmla="*/ 2129182 h 2323145"/>
              <a:gd name="connsiteX170" fmla="*/ 3138514 w 11269336"/>
              <a:gd name="connsiteY170" fmla="*/ 2128069 h 2323145"/>
              <a:gd name="connsiteX171" fmla="*/ 3120467 w 11269336"/>
              <a:gd name="connsiteY171" fmla="*/ 2128281 h 2323145"/>
              <a:gd name="connsiteX172" fmla="*/ 3116175 w 11269336"/>
              <a:gd name="connsiteY172" fmla="*/ 2131633 h 2323145"/>
              <a:gd name="connsiteX173" fmla="*/ 3103685 w 11269336"/>
              <a:gd name="connsiteY173" fmla="*/ 2132814 h 2323145"/>
              <a:gd name="connsiteX174" fmla="*/ 3078794 w 11269336"/>
              <a:gd name="connsiteY174" fmla="*/ 2137935 h 2323145"/>
              <a:gd name="connsiteX175" fmla="*/ 3074407 w 11269336"/>
              <a:gd name="connsiteY175" fmla="*/ 2136274 h 2323145"/>
              <a:gd name="connsiteX176" fmla="*/ 3037285 w 11269336"/>
              <a:gd name="connsiteY176" fmla="*/ 2139919 h 2323145"/>
              <a:gd name="connsiteX177" fmla="*/ 3036901 w 11269336"/>
              <a:gd name="connsiteY177" fmla="*/ 2138726 h 2323145"/>
              <a:gd name="connsiteX178" fmla="*/ 3026996 w 11269336"/>
              <a:gd name="connsiteY178" fmla="*/ 2134322 h 2323145"/>
              <a:gd name="connsiteX179" fmla="*/ 3007772 w 11269336"/>
              <a:gd name="connsiteY179" fmla="*/ 2128742 h 2323145"/>
              <a:gd name="connsiteX180" fmla="*/ 2965030 w 11269336"/>
              <a:gd name="connsiteY180" fmla="*/ 2100494 h 2323145"/>
              <a:gd name="connsiteX181" fmla="*/ 2926342 w 11269336"/>
              <a:gd name="connsiteY181" fmla="*/ 2104155 h 2323145"/>
              <a:gd name="connsiteX182" fmla="*/ 2918608 w 11269336"/>
              <a:gd name="connsiteY182" fmla="*/ 2104215 h 2323145"/>
              <a:gd name="connsiteX183" fmla="*/ 2918475 w 11269336"/>
              <a:gd name="connsiteY183" fmla="*/ 2103937 h 2323145"/>
              <a:gd name="connsiteX184" fmla="*/ 2910360 w 11269336"/>
              <a:gd name="connsiteY184" fmla="*/ 2103444 h 2323145"/>
              <a:gd name="connsiteX185" fmla="*/ 2904507 w 11269336"/>
              <a:gd name="connsiteY185" fmla="*/ 2104326 h 2323145"/>
              <a:gd name="connsiteX186" fmla="*/ 2889503 w 11269336"/>
              <a:gd name="connsiteY186" fmla="*/ 2104443 h 2323145"/>
              <a:gd name="connsiteX187" fmla="*/ 2884480 w 11269336"/>
              <a:gd name="connsiteY187" fmla="*/ 2102626 h 2323145"/>
              <a:gd name="connsiteX188" fmla="*/ 2882689 w 11269336"/>
              <a:gd name="connsiteY188" fmla="*/ 2099228 h 2323145"/>
              <a:gd name="connsiteX189" fmla="*/ 2881291 w 11269336"/>
              <a:gd name="connsiteY189" fmla="*/ 2099618 h 2323145"/>
              <a:gd name="connsiteX190" fmla="*/ 2853979 w 11269336"/>
              <a:gd name="connsiteY190" fmla="*/ 2090388 h 2323145"/>
              <a:gd name="connsiteX191" fmla="*/ 2791790 w 11269336"/>
              <a:gd name="connsiteY191" fmla="*/ 2080332 h 2323145"/>
              <a:gd name="connsiteX192" fmla="*/ 2755844 w 11269336"/>
              <a:gd name="connsiteY192" fmla="*/ 2078874 h 2323145"/>
              <a:gd name="connsiteX193" fmla="*/ 2657742 w 11269336"/>
              <a:gd name="connsiteY193" fmla="*/ 2070179 h 2323145"/>
              <a:gd name="connsiteX194" fmla="*/ 2559549 w 11269336"/>
              <a:gd name="connsiteY194" fmla="*/ 2057873 h 2323145"/>
              <a:gd name="connsiteX195" fmla="*/ 2512054 w 11269336"/>
              <a:gd name="connsiteY195" fmla="*/ 2031671 h 2323145"/>
              <a:gd name="connsiteX196" fmla="*/ 2506437 w 11269336"/>
              <a:gd name="connsiteY196" fmla="*/ 2030918 h 2323145"/>
              <a:gd name="connsiteX197" fmla="*/ 2491752 w 11269336"/>
              <a:gd name="connsiteY197" fmla="*/ 2033906 h 2323145"/>
              <a:gd name="connsiteX198" fmla="*/ 2486338 w 11269336"/>
              <a:gd name="connsiteY198" fmla="*/ 2035862 h 2323145"/>
              <a:gd name="connsiteX199" fmla="*/ 2478186 w 11269336"/>
              <a:gd name="connsiteY199" fmla="*/ 2036953 h 2323145"/>
              <a:gd name="connsiteX200" fmla="*/ 2477950 w 11269336"/>
              <a:gd name="connsiteY200" fmla="*/ 2036715 h 2323145"/>
              <a:gd name="connsiteX201" fmla="*/ 2470381 w 11269336"/>
              <a:gd name="connsiteY201" fmla="*/ 2038256 h 2323145"/>
              <a:gd name="connsiteX202" fmla="*/ 2433781 w 11269336"/>
              <a:gd name="connsiteY202" fmla="*/ 2049140 h 2323145"/>
              <a:gd name="connsiteX203" fmla="*/ 2381172 w 11269336"/>
              <a:gd name="connsiteY203" fmla="*/ 2030645 h 2323145"/>
              <a:gd name="connsiteX204" fmla="*/ 2360198 w 11269336"/>
              <a:gd name="connsiteY204" fmla="*/ 2029059 h 2323145"/>
              <a:gd name="connsiteX205" fmla="*/ 2348815 w 11269336"/>
              <a:gd name="connsiteY205" fmla="*/ 2026798 h 2323145"/>
              <a:gd name="connsiteX206" fmla="*/ 2347988 w 11269336"/>
              <a:gd name="connsiteY206" fmla="*/ 2025745 h 2323145"/>
              <a:gd name="connsiteX207" fmla="*/ 2312920 w 11269336"/>
              <a:gd name="connsiteY207" fmla="*/ 2036311 h 2323145"/>
              <a:gd name="connsiteX208" fmla="*/ 2307986 w 11269336"/>
              <a:gd name="connsiteY208" fmla="*/ 2035583 h 2323145"/>
              <a:gd name="connsiteX209" fmla="*/ 2285481 w 11269336"/>
              <a:gd name="connsiteY209" fmla="*/ 2045197 h 2323145"/>
              <a:gd name="connsiteX210" fmla="*/ 2273666 w 11269336"/>
              <a:gd name="connsiteY210" fmla="*/ 2048710 h 2323145"/>
              <a:gd name="connsiteX211" fmla="*/ 2270719 w 11269336"/>
              <a:gd name="connsiteY211" fmla="*/ 2052702 h 2323145"/>
              <a:gd name="connsiteX212" fmla="*/ 2253080 w 11269336"/>
              <a:gd name="connsiteY212" fmla="*/ 2056363 h 2323145"/>
              <a:gd name="connsiteX213" fmla="*/ 2250906 w 11269336"/>
              <a:gd name="connsiteY213" fmla="*/ 2055654 h 2323145"/>
              <a:gd name="connsiteX214" fmla="*/ 2236905 w 11269336"/>
              <a:gd name="connsiteY214" fmla="*/ 2062882 h 2323145"/>
              <a:gd name="connsiteX215" fmla="*/ 2225830 w 11269336"/>
              <a:gd name="connsiteY215" fmla="*/ 2074027 h 2323145"/>
              <a:gd name="connsiteX216" fmla="*/ 2073776 w 11269336"/>
              <a:gd name="connsiteY216" fmla="*/ 2089244 h 2323145"/>
              <a:gd name="connsiteX217" fmla="*/ 1948256 w 11269336"/>
              <a:gd name="connsiteY217" fmla="*/ 2146616 h 2323145"/>
              <a:gd name="connsiteX218" fmla="*/ 1865582 w 11269336"/>
              <a:gd name="connsiteY218" fmla="*/ 2153738 h 2323145"/>
              <a:gd name="connsiteX219" fmla="*/ 1835210 w 11269336"/>
              <a:gd name="connsiteY219" fmla="*/ 2134244 h 2323145"/>
              <a:gd name="connsiteX220" fmla="*/ 1632661 w 11269336"/>
              <a:gd name="connsiteY220" fmla="*/ 2173882 h 2323145"/>
              <a:gd name="connsiteX221" fmla="*/ 1579590 w 11269336"/>
              <a:gd name="connsiteY221" fmla="*/ 2173680 h 2323145"/>
              <a:gd name="connsiteX222" fmla="*/ 1535601 w 11269336"/>
              <a:gd name="connsiteY222" fmla="*/ 2194590 h 2323145"/>
              <a:gd name="connsiteX223" fmla="*/ 1515594 w 11269336"/>
              <a:gd name="connsiteY223" fmla="*/ 2189622 h 2323145"/>
              <a:gd name="connsiteX224" fmla="*/ 1512113 w 11269336"/>
              <a:gd name="connsiteY224" fmla="*/ 2188534 h 2323145"/>
              <a:gd name="connsiteX225" fmla="*/ 1498838 w 11269336"/>
              <a:gd name="connsiteY225" fmla="*/ 2189213 h 2323145"/>
              <a:gd name="connsiteX226" fmla="*/ 1494279 w 11269336"/>
              <a:gd name="connsiteY226" fmla="*/ 2183112 h 2323145"/>
              <a:gd name="connsiteX227" fmla="*/ 1473714 w 11269336"/>
              <a:gd name="connsiteY227" fmla="*/ 2179625 h 2323145"/>
              <a:gd name="connsiteX228" fmla="*/ 1449503 w 11269336"/>
              <a:gd name="connsiteY228" fmla="*/ 2182633 h 2323145"/>
              <a:gd name="connsiteX229" fmla="*/ 1266687 w 11269336"/>
              <a:gd name="connsiteY229" fmla="*/ 2212688 h 2323145"/>
              <a:gd name="connsiteX230" fmla="*/ 1239614 w 11269336"/>
              <a:gd name="connsiteY230" fmla="*/ 2209727 h 2323145"/>
              <a:gd name="connsiteX231" fmla="*/ 1202436 w 11269336"/>
              <a:gd name="connsiteY231" fmla="*/ 2209817 h 2323145"/>
              <a:gd name="connsiteX232" fmla="*/ 1136097 w 11269336"/>
              <a:gd name="connsiteY232" fmla="*/ 2205112 h 2323145"/>
              <a:gd name="connsiteX233" fmla="*/ 988232 w 11269336"/>
              <a:gd name="connsiteY233" fmla="*/ 2235635 h 2323145"/>
              <a:gd name="connsiteX234" fmla="*/ 981959 w 11269336"/>
              <a:gd name="connsiteY234" fmla="*/ 2231607 h 2323145"/>
              <a:gd name="connsiteX235" fmla="*/ 938600 w 11269336"/>
              <a:gd name="connsiteY235" fmla="*/ 2238113 h 2323145"/>
              <a:gd name="connsiteX236" fmla="*/ 791788 w 11269336"/>
              <a:gd name="connsiteY236" fmla="*/ 2293224 h 2323145"/>
              <a:gd name="connsiteX237" fmla="*/ 706914 w 11269336"/>
              <a:gd name="connsiteY237" fmla="*/ 2305046 h 2323145"/>
              <a:gd name="connsiteX238" fmla="*/ 675971 w 11269336"/>
              <a:gd name="connsiteY238" fmla="*/ 2304030 h 2323145"/>
              <a:gd name="connsiteX239" fmla="*/ 624180 w 11269336"/>
              <a:gd name="connsiteY239" fmla="*/ 2302650 h 2323145"/>
              <a:gd name="connsiteX240" fmla="*/ 583453 w 11269336"/>
              <a:gd name="connsiteY240" fmla="*/ 2288788 h 2323145"/>
              <a:gd name="connsiteX241" fmla="*/ 540946 w 11269336"/>
              <a:gd name="connsiteY241" fmla="*/ 2292721 h 2323145"/>
              <a:gd name="connsiteX242" fmla="*/ 533680 w 11269336"/>
              <a:gd name="connsiteY242" fmla="*/ 2310233 h 2323145"/>
              <a:gd name="connsiteX243" fmla="*/ 487366 w 11269336"/>
              <a:gd name="connsiteY243" fmla="*/ 2309053 h 2323145"/>
              <a:gd name="connsiteX244" fmla="*/ 416820 w 11269336"/>
              <a:gd name="connsiteY244" fmla="*/ 2305443 h 2323145"/>
              <a:gd name="connsiteX245" fmla="*/ 376805 w 11269336"/>
              <a:gd name="connsiteY245" fmla="*/ 2307647 h 2323145"/>
              <a:gd name="connsiteX246" fmla="*/ 266777 w 11269336"/>
              <a:gd name="connsiteY246" fmla="*/ 2309012 h 2323145"/>
              <a:gd name="connsiteX247" fmla="*/ 156013 w 11269336"/>
              <a:gd name="connsiteY247" fmla="*/ 2306832 h 2323145"/>
              <a:gd name="connsiteX248" fmla="*/ 87258 w 11269336"/>
              <a:gd name="connsiteY248" fmla="*/ 2285511 h 2323145"/>
              <a:gd name="connsiteX249" fmla="*/ 23798 w 11269336"/>
              <a:gd name="connsiteY249" fmla="*/ 2281822 h 2323145"/>
              <a:gd name="connsiteX250" fmla="*/ 0 w 11269336"/>
              <a:gd name="connsiteY250" fmla="*/ 2285369 h 2323145"/>
              <a:gd name="connsiteX251" fmla="*/ 0 w 11269336"/>
              <a:gd name="connsiteY251" fmla="*/ 0 h 2323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</a:cxnLst>
            <a:rect l="l" t="t" r="r" b="b"/>
            <a:pathLst>
              <a:path w="11269336" h="2323145">
                <a:moveTo>
                  <a:pt x="0" y="0"/>
                </a:moveTo>
                <a:lnTo>
                  <a:pt x="11269336" y="0"/>
                </a:lnTo>
                <a:lnTo>
                  <a:pt x="11268645" y="511"/>
                </a:lnTo>
                <a:cubicBezTo>
                  <a:pt x="11257520" y="14091"/>
                  <a:pt x="11248967" y="32073"/>
                  <a:pt x="11230739" y="37096"/>
                </a:cubicBezTo>
                <a:cubicBezTo>
                  <a:pt x="11194283" y="47141"/>
                  <a:pt x="11124351" y="55013"/>
                  <a:pt x="11082485" y="78590"/>
                </a:cubicBezTo>
                <a:cubicBezTo>
                  <a:pt x="11064655" y="69818"/>
                  <a:pt x="11049588" y="97621"/>
                  <a:pt x="11031776" y="79197"/>
                </a:cubicBezTo>
                <a:cubicBezTo>
                  <a:pt x="11016683" y="85023"/>
                  <a:pt x="11009945" y="92832"/>
                  <a:pt x="10995894" y="83459"/>
                </a:cubicBezTo>
                <a:cubicBezTo>
                  <a:pt x="10971843" y="134740"/>
                  <a:pt x="10888992" y="106042"/>
                  <a:pt x="10861177" y="147419"/>
                </a:cubicBezTo>
                <a:cubicBezTo>
                  <a:pt x="10850370" y="129415"/>
                  <a:pt x="10807086" y="138624"/>
                  <a:pt x="10782732" y="135645"/>
                </a:cubicBezTo>
                <a:cubicBezTo>
                  <a:pt x="10869014" y="196205"/>
                  <a:pt x="10693356" y="147304"/>
                  <a:pt x="10660773" y="179312"/>
                </a:cubicBezTo>
                <a:cubicBezTo>
                  <a:pt x="10667385" y="121467"/>
                  <a:pt x="10595265" y="182241"/>
                  <a:pt x="10564442" y="160738"/>
                </a:cubicBezTo>
                <a:cubicBezTo>
                  <a:pt x="10544419" y="190949"/>
                  <a:pt x="10518436" y="167191"/>
                  <a:pt x="10490200" y="183533"/>
                </a:cubicBezTo>
                <a:cubicBezTo>
                  <a:pt x="10423905" y="202688"/>
                  <a:pt x="10362764" y="244779"/>
                  <a:pt x="10271351" y="243104"/>
                </a:cubicBezTo>
                <a:cubicBezTo>
                  <a:pt x="10247818" y="329775"/>
                  <a:pt x="10135674" y="303068"/>
                  <a:pt x="10061033" y="364937"/>
                </a:cubicBezTo>
                <a:cubicBezTo>
                  <a:pt x="10014289" y="383940"/>
                  <a:pt x="9930032" y="360289"/>
                  <a:pt x="9921770" y="406154"/>
                </a:cubicBezTo>
                <a:cubicBezTo>
                  <a:pt x="9894276" y="384665"/>
                  <a:pt x="9881945" y="430851"/>
                  <a:pt x="9858388" y="439489"/>
                </a:cubicBezTo>
                <a:cubicBezTo>
                  <a:pt x="9835642" y="426888"/>
                  <a:pt x="9828901" y="443125"/>
                  <a:pt x="9811914" y="449865"/>
                </a:cubicBezTo>
                <a:cubicBezTo>
                  <a:pt x="9801869" y="441287"/>
                  <a:pt x="9787055" y="444835"/>
                  <a:pt x="9784394" y="457816"/>
                </a:cubicBezTo>
                <a:cubicBezTo>
                  <a:pt x="9797169" y="483924"/>
                  <a:pt x="9656844" y="450179"/>
                  <a:pt x="9656836" y="469967"/>
                </a:cubicBezTo>
                <a:cubicBezTo>
                  <a:pt x="9589537" y="485301"/>
                  <a:pt x="9662097" y="527310"/>
                  <a:pt x="9561575" y="559978"/>
                </a:cubicBezTo>
                <a:cubicBezTo>
                  <a:pt x="9479149" y="599104"/>
                  <a:pt x="9215234" y="670585"/>
                  <a:pt x="9162278" y="704724"/>
                </a:cubicBezTo>
                <a:cubicBezTo>
                  <a:pt x="9173017" y="730567"/>
                  <a:pt x="9063215" y="727685"/>
                  <a:pt x="9062863" y="754656"/>
                </a:cubicBezTo>
                <a:cubicBezTo>
                  <a:pt x="9021608" y="774940"/>
                  <a:pt x="8924639" y="816390"/>
                  <a:pt x="8914746" y="826428"/>
                </a:cubicBezTo>
                <a:lnTo>
                  <a:pt x="8917778" y="835198"/>
                </a:lnTo>
                <a:lnTo>
                  <a:pt x="8905560" y="838358"/>
                </a:lnTo>
                <a:lnTo>
                  <a:pt x="8897564" y="834287"/>
                </a:lnTo>
                <a:lnTo>
                  <a:pt x="8878040" y="844150"/>
                </a:lnTo>
                <a:cubicBezTo>
                  <a:pt x="8861112" y="848992"/>
                  <a:pt x="8812843" y="856499"/>
                  <a:pt x="8795998" y="863337"/>
                </a:cubicBezTo>
                <a:cubicBezTo>
                  <a:pt x="8792888" y="873975"/>
                  <a:pt x="8786153" y="880792"/>
                  <a:pt x="8776970" y="885177"/>
                </a:cubicBezTo>
                <a:lnTo>
                  <a:pt x="8755719" y="889754"/>
                </a:lnTo>
                <a:lnTo>
                  <a:pt x="8743257" y="904723"/>
                </a:lnTo>
                <a:cubicBezTo>
                  <a:pt x="8737642" y="908108"/>
                  <a:pt x="8730651" y="908759"/>
                  <a:pt x="8721366" y="904711"/>
                </a:cubicBezTo>
                <a:cubicBezTo>
                  <a:pt x="8711895" y="915873"/>
                  <a:pt x="8676250" y="900745"/>
                  <a:pt x="8678353" y="926318"/>
                </a:cubicBezTo>
                <a:cubicBezTo>
                  <a:pt x="8658506" y="928813"/>
                  <a:pt x="8647569" y="933735"/>
                  <a:pt x="8636849" y="937900"/>
                </a:cubicBezTo>
                <a:lnTo>
                  <a:pt x="8620213" y="943068"/>
                </a:lnTo>
                <a:lnTo>
                  <a:pt x="8612581" y="952695"/>
                </a:lnTo>
                <a:cubicBezTo>
                  <a:pt x="8605836" y="959769"/>
                  <a:pt x="8598255" y="964412"/>
                  <a:pt x="8589038" y="963892"/>
                </a:cubicBezTo>
                <a:lnTo>
                  <a:pt x="8579950" y="960899"/>
                </a:lnTo>
                <a:cubicBezTo>
                  <a:pt x="8579740" y="962476"/>
                  <a:pt x="8579529" y="964053"/>
                  <a:pt x="8579319" y="965630"/>
                </a:cubicBezTo>
                <a:cubicBezTo>
                  <a:pt x="8579138" y="972972"/>
                  <a:pt x="8576531" y="980010"/>
                  <a:pt x="8547429" y="984506"/>
                </a:cubicBezTo>
                <a:cubicBezTo>
                  <a:pt x="8529238" y="1001725"/>
                  <a:pt x="8505565" y="1015840"/>
                  <a:pt x="8478704" y="1025490"/>
                </a:cubicBezTo>
                <a:cubicBezTo>
                  <a:pt x="8473109" y="1019545"/>
                  <a:pt x="8465819" y="1032194"/>
                  <a:pt x="8461421" y="1035512"/>
                </a:cubicBezTo>
                <a:cubicBezTo>
                  <a:pt x="8459739" y="1031087"/>
                  <a:pt x="8447663" y="1032074"/>
                  <a:pt x="8445003" y="1036851"/>
                </a:cubicBezTo>
                <a:cubicBezTo>
                  <a:pt x="8366593" y="1075951"/>
                  <a:pt x="8398773" y="1021402"/>
                  <a:pt x="8357350" y="1060213"/>
                </a:cubicBezTo>
                <a:cubicBezTo>
                  <a:pt x="8349366" y="1063843"/>
                  <a:pt x="8342208" y="1063367"/>
                  <a:pt x="8335565" y="1061151"/>
                </a:cubicBezTo>
                <a:lnTo>
                  <a:pt x="8325267" y="1055919"/>
                </a:lnTo>
                <a:lnTo>
                  <a:pt x="8293586" y="1076144"/>
                </a:lnTo>
                <a:cubicBezTo>
                  <a:pt x="8277595" y="1084193"/>
                  <a:pt x="8260401" y="1090863"/>
                  <a:pt x="8242405" y="1095960"/>
                </a:cubicBezTo>
                <a:cubicBezTo>
                  <a:pt x="8226373" y="1101227"/>
                  <a:pt x="8224213" y="1102052"/>
                  <a:pt x="8197391" y="1107746"/>
                </a:cubicBezTo>
                <a:cubicBezTo>
                  <a:pt x="8090266" y="1152133"/>
                  <a:pt x="8141491" y="1082372"/>
                  <a:pt x="8081474" y="1130125"/>
                </a:cubicBezTo>
                <a:cubicBezTo>
                  <a:pt x="8070634" y="1134173"/>
                  <a:pt x="8061619" y="1132810"/>
                  <a:pt x="8053585" y="1129169"/>
                </a:cubicBezTo>
                <a:lnTo>
                  <a:pt x="8038422" y="1119092"/>
                </a:lnTo>
                <a:lnTo>
                  <a:pt x="8029450" y="1125592"/>
                </a:lnTo>
                <a:cubicBezTo>
                  <a:pt x="7992226" y="1133484"/>
                  <a:pt x="7978616" y="1122765"/>
                  <a:pt x="7959552" y="1140188"/>
                </a:cubicBezTo>
                <a:cubicBezTo>
                  <a:pt x="7922008" y="1119572"/>
                  <a:pt x="7937737" y="1141786"/>
                  <a:pt x="7914188" y="1150862"/>
                </a:cubicBezTo>
                <a:cubicBezTo>
                  <a:pt x="7896037" y="1160155"/>
                  <a:pt x="7933463" y="1163411"/>
                  <a:pt x="7914918" y="1168758"/>
                </a:cubicBezTo>
                <a:cubicBezTo>
                  <a:pt x="7893102" y="1165887"/>
                  <a:pt x="7898453" y="1187420"/>
                  <a:pt x="7875510" y="1183153"/>
                </a:cubicBezTo>
                <a:cubicBezTo>
                  <a:pt x="7877354" y="1165743"/>
                  <a:pt x="7834286" y="1194789"/>
                  <a:pt x="7829932" y="1180782"/>
                </a:cubicBezTo>
                <a:cubicBezTo>
                  <a:pt x="7816047" y="1204874"/>
                  <a:pt x="7801901" y="1181513"/>
                  <a:pt x="7779182" y="1192665"/>
                </a:cubicBezTo>
                <a:cubicBezTo>
                  <a:pt x="7769446" y="1202686"/>
                  <a:pt x="7761564" y="1205661"/>
                  <a:pt x="7748774" y="1199586"/>
                </a:cubicBezTo>
                <a:cubicBezTo>
                  <a:pt x="7704339" y="1247771"/>
                  <a:pt x="7717626" y="1207638"/>
                  <a:pt x="7671846" y="1231966"/>
                </a:cubicBezTo>
                <a:cubicBezTo>
                  <a:pt x="7632956" y="1255682"/>
                  <a:pt x="7587383" y="1275180"/>
                  <a:pt x="7554146" y="1319748"/>
                </a:cubicBezTo>
                <a:cubicBezTo>
                  <a:pt x="7548775" y="1331557"/>
                  <a:pt x="7531272" y="1339155"/>
                  <a:pt x="7515052" y="1336718"/>
                </a:cubicBezTo>
                <a:cubicBezTo>
                  <a:pt x="7512260" y="1336298"/>
                  <a:pt x="7509613" y="1335590"/>
                  <a:pt x="7507193" y="1334617"/>
                </a:cubicBezTo>
                <a:cubicBezTo>
                  <a:pt x="7488273" y="1365207"/>
                  <a:pt x="7468925" y="1356298"/>
                  <a:pt x="7461694" y="1375866"/>
                </a:cubicBezTo>
                <a:cubicBezTo>
                  <a:pt x="7422434" y="1391917"/>
                  <a:pt x="7384603" y="1382819"/>
                  <a:pt x="7377571" y="1400128"/>
                </a:cubicBezTo>
                <a:cubicBezTo>
                  <a:pt x="7356236" y="1403926"/>
                  <a:pt x="7322509" y="1393138"/>
                  <a:pt x="7311261" y="1412652"/>
                </a:cubicBezTo>
                <a:cubicBezTo>
                  <a:pt x="7305349" y="1400071"/>
                  <a:pt x="7289966" y="1428039"/>
                  <a:pt x="7275307" y="1422171"/>
                </a:cubicBezTo>
                <a:cubicBezTo>
                  <a:pt x="7264529" y="1416601"/>
                  <a:pt x="7257348" y="1423786"/>
                  <a:pt x="7247783" y="1426330"/>
                </a:cubicBezTo>
                <a:cubicBezTo>
                  <a:pt x="7233839" y="1423056"/>
                  <a:pt x="7194363" y="1442037"/>
                  <a:pt x="7185047" y="1451812"/>
                </a:cubicBezTo>
                <a:cubicBezTo>
                  <a:pt x="7164447" y="1483396"/>
                  <a:pt x="7101577" y="1475742"/>
                  <a:pt x="7084117" y="1500281"/>
                </a:cubicBezTo>
                <a:cubicBezTo>
                  <a:pt x="7076899" y="1504821"/>
                  <a:pt x="7069494" y="1507565"/>
                  <a:pt x="7062011" y="1509183"/>
                </a:cubicBezTo>
                <a:lnTo>
                  <a:pt x="7040555" y="1511207"/>
                </a:lnTo>
                <a:lnTo>
                  <a:pt x="7033438" y="1506772"/>
                </a:lnTo>
                <a:lnTo>
                  <a:pt x="7020886" y="1510764"/>
                </a:lnTo>
                <a:lnTo>
                  <a:pt x="7017033" y="1510650"/>
                </a:lnTo>
                <a:lnTo>
                  <a:pt x="6995460" y="1511173"/>
                </a:lnTo>
                <a:cubicBezTo>
                  <a:pt x="7010208" y="1537643"/>
                  <a:pt x="6938512" y="1522467"/>
                  <a:pt x="6962144" y="1541508"/>
                </a:cubicBezTo>
                <a:cubicBezTo>
                  <a:pt x="6926351" y="1550586"/>
                  <a:pt x="6958236" y="1566326"/>
                  <a:pt x="6910674" y="1554793"/>
                </a:cubicBezTo>
                <a:cubicBezTo>
                  <a:pt x="6859225" y="1589274"/>
                  <a:pt x="6769015" y="1598548"/>
                  <a:pt x="6732152" y="1642538"/>
                </a:cubicBezTo>
                <a:cubicBezTo>
                  <a:pt x="6734901" y="1628031"/>
                  <a:pt x="6709146" y="1622413"/>
                  <a:pt x="6694106" y="1632377"/>
                </a:cubicBezTo>
                <a:cubicBezTo>
                  <a:pt x="6702628" y="1575914"/>
                  <a:pt x="6638899" y="1692862"/>
                  <a:pt x="6617223" y="1659889"/>
                </a:cubicBezTo>
                <a:cubicBezTo>
                  <a:pt x="6623246" y="1693349"/>
                  <a:pt x="6561228" y="1764690"/>
                  <a:pt x="6521138" y="1744340"/>
                </a:cubicBezTo>
                <a:cubicBezTo>
                  <a:pt x="6469831" y="1761656"/>
                  <a:pt x="6438109" y="1796731"/>
                  <a:pt x="6380677" y="1796883"/>
                </a:cubicBezTo>
                <a:cubicBezTo>
                  <a:pt x="6379865" y="1801686"/>
                  <a:pt x="6377810" y="1805986"/>
                  <a:pt x="6374897" y="1809910"/>
                </a:cubicBezTo>
                <a:lnTo>
                  <a:pt x="6364545" y="1820090"/>
                </a:lnTo>
                <a:lnTo>
                  <a:pt x="6362126" y="1819991"/>
                </a:lnTo>
                <a:cubicBezTo>
                  <a:pt x="6353055" y="1821720"/>
                  <a:pt x="6348796" y="1824537"/>
                  <a:pt x="6346673" y="1827824"/>
                </a:cubicBezTo>
                <a:lnTo>
                  <a:pt x="6345588" y="1832232"/>
                </a:lnTo>
                <a:lnTo>
                  <a:pt x="6335708" y="1838451"/>
                </a:lnTo>
                <a:lnTo>
                  <a:pt x="6318182" y="1852975"/>
                </a:lnTo>
                <a:lnTo>
                  <a:pt x="6313084" y="1853561"/>
                </a:lnTo>
                <a:lnTo>
                  <a:pt x="6283816" y="1872148"/>
                </a:lnTo>
                <a:lnTo>
                  <a:pt x="6282550" y="1871392"/>
                </a:lnTo>
                <a:cubicBezTo>
                  <a:pt x="6279041" y="1870121"/>
                  <a:pt x="6275192" y="1869982"/>
                  <a:pt x="6270527" y="1872208"/>
                </a:cubicBezTo>
                <a:cubicBezTo>
                  <a:pt x="6265029" y="1853962"/>
                  <a:pt x="6262790" y="1867903"/>
                  <a:pt x="6249518" y="1876079"/>
                </a:cubicBezTo>
                <a:cubicBezTo>
                  <a:pt x="6238019" y="1849564"/>
                  <a:pt x="6207959" y="1881750"/>
                  <a:pt x="6190386" y="1872478"/>
                </a:cubicBezTo>
                <a:cubicBezTo>
                  <a:pt x="6180893" y="1879083"/>
                  <a:pt x="6170646" y="1885584"/>
                  <a:pt x="6159777" y="1891745"/>
                </a:cubicBezTo>
                <a:lnTo>
                  <a:pt x="6153131" y="1895079"/>
                </a:lnTo>
                <a:lnTo>
                  <a:pt x="6152798" y="1894920"/>
                </a:lnTo>
                <a:cubicBezTo>
                  <a:pt x="6150925" y="1895166"/>
                  <a:pt x="6148578" y="1896082"/>
                  <a:pt x="6145388" y="1897990"/>
                </a:cubicBezTo>
                <a:lnTo>
                  <a:pt x="6141014" y="1901155"/>
                </a:lnTo>
                <a:lnTo>
                  <a:pt x="6128122" y="1907623"/>
                </a:lnTo>
                <a:lnTo>
                  <a:pt x="6122351" y="1908359"/>
                </a:lnTo>
                <a:cubicBezTo>
                  <a:pt x="6099508" y="1905910"/>
                  <a:pt x="6088334" y="1869006"/>
                  <a:pt x="6064750" y="1896394"/>
                </a:cubicBezTo>
                <a:cubicBezTo>
                  <a:pt x="6025977" y="1903785"/>
                  <a:pt x="5997095" y="1889190"/>
                  <a:pt x="5964230" y="1910038"/>
                </a:cubicBezTo>
                <a:cubicBezTo>
                  <a:pt x="5927910" y="1916874"/>
                  <a:pt x="5894873" y="1914928"/>
                  <a:pt x="5865399" y="1926966"/>
                </a:cubicBezTo>
                <a:cubicBezTo>
                  <a:pt x="5851644" y="1923038"/>
                  <a:pt x="5839380" y="1922808"/>
                  <a:pt x="5829951" y="1934755"/>
                </a:cubicBezTo>
                <a:cubicBezTo>
                  <a:pt x="5795498" y="1938369"/>
                  <a:pt x="5784532" y="1926246"/>
                  <a:pt x="5765285" y="1941322"/>
                </a:cubicBezTo>
                <a:cubicBezTo>
                  <a:pt x="5741789" y="1922874"/>
                  <a:pt x="5742385" y="1931607"/>
                  <a:pt x="5734750" y="1939793"/>
                </a:cubicBezTo>
                <a:lnTo>
                  <a:pt x="5733569" y="1940505"/>
                </a:lnTo>
                <a:lnTo>
                  <a:pt x="5730329" y="1937845"/>
                </a:lnTo>
                <a:lnTo>
                  <a:pt x="5724661" y="1937455"/>
                </a:lnTo>
                <a:lnTo>
                  <a:pt x="5710186" y="1941370"/>
                </a:lnTo>
                <a:lnTo>
                  <a:pt x="5704910" y="1943663"/>
                </a:lnTo>
                <a:cubicBezTo>
                  <a:pt x="5701213" y="1944937"/>
                  <a:pt x="5698678" y="1945391"/>
                  <a:pt x="5696836" y="1945271"/>
                </a:cubicBezTo>
                <a:lnTo>
                  <a:pt x="5696583" y="1945050"/>
                </a:lnTo>
                <a:lnTo>
                  <a:pt x="5689123" y="1947067"/>
                </a:lnTo>
                <a:cubicBezTo>
                  <a:pt x="5676655" y="1951072"/>
                  <a:pt x="5664639" y="1955533"/>
                  <a:pt x="5653291" y="1960245"/>
                </a:cubicBezTo>
                <a:cubicBezTo>
                  <a:pt x="5640346" y="1947636"/>
                  <a:pt x="5600180" y="1973739"/>
                  <a:pt x="5599385" y="1945198"/>
                </a:cubicBezTo>
                <a:cubicBezTo>
                  <a:pt x="5583913" y="1950736"/>
                  <a:pt x="5576590" y="1964134"/>
                  <a:pt x="5578300" y="1944963"/>
                </a:cubicBezTo>
                <a:cubicBezTo>
                  <a:pt x="5573104" y="1946266"/>
                  <a:pt x="5569560" y="1945382"/>
                  <a:pt x="5566758" y="1943441"/>
                </a:cubicBezTo>
                <a:lnTo>
                  <a:pt x="5565857" y="1942445"/>
                </a:lnTo>
                <a:lnTo>
                  <a:pt x="5531534" y="1955208"/>
                </a:lnTo>
                <a:lnTo>
                  <a:pt x="5526552" y="1954799"/>
                </a:lnTo>
                <a:lnTo>
                  <a:pt x="5504723" y="1965811"/>
                </a:lnTo>
                <a:lnTo>
                  <a:pt x="5493156" y="1970063"/>
                </a:lnTo>
                <a:lnTo>
                  <a:pt x="5490486" y="1974227"/>
                </a:lnTo>
                <a:cubicBezTo>
                  <a:pt x="5487271" y="1977077"/>
                  <a:pt x="5482233" y="1979045"/>
                  <a:pt x="5473107" y="1979001"/>
                </a:cubicBezTo>
                <a:lnTo>
                  <a:pt x="5470885" y="1978432"/>
                </a:lnTo>
                <a:lnTo>
                  <a:pt x="5457393" y="1986525"/>
                </a:lnTo>
                <a:cubicBezTo>
                  <a:pt x="5453194" y="1989853"/>
                  <a:pt x="5449663" y="1993721"/>
                  <a:pt x="5447102" y="1998329"/>
                </a:cubicBezTo>
                <a:cubicBezTo>
                  <a:pt x="5386283" y="2017364"/>
                  <a:pt x="5223545" y="2015483"/>
                  <a:pt x="5159151" y="2029640"/>
                </a:cubicBezTo>
                <a:cubicBezTo>
                  <a:pt x="5141359" y="2036610"/>
                  <a:pt x="5090827" y="2076822"/>
                  <a:pt x="5098838" y="2062961"/>
                </a:cubicBezTo>
                <a:cubicBezTo>
                  <a:pt x="5047883" y="2099457"/>
                  <a:pt x="4922007" y="2111466"/>
                  <a:pt x="4860988" y="2135698"/>
                </a:cubicBezTo>
                <a:cubicBezTo>
                  <a:pt x="4805413" y="2152292"/>
                  <a:pt x="4784714" y="2158665"/>
                  <a:pt x="4765388" y="2162525"/>
                </a:cubicBezTo>
                <a:cubicBezTo>
                  <a:pt x="4758560" y="2161978"/>
                  <a:pt x="4751823" y="2160531"/>
                  <a:pt x="4745033" y="2158859"/>
                </a:cubicBezTo>
                <a:lnTo>
                  <a:pt x="4741475" y="2157998"/>
                </a:lnTo>
                <a:lnTo>
                  <a:pt x="4728247" y="2159526"/>
                </a:lnTo>
                <a:lnTo>
                  <a:pt x="4723263" y="2153742"/>
                </a:lnTo>
                <a:lnTo>
                  <a:pt x="4593061" y="2171597"/>
                </a:lnTo>
                <a:lnTo>
                  <a:pt x="4405765" y="2199902"/>
                </a:lnTo>
                <a:cubicBezTo>
                  <a:pt x="4403942" y="2198353"/>
                  <a:pt x="4402457" y="2196614"/>
                  <a:pt x="4401354" y="2194745"/>
                </a:cubicBezTo>
                <a:lnTo>
                  <a:pt x="4366646" y="2198564"/>
                </a:lnTo>
                <a:lnTo>
                  <a:pt x="4354009" y="2204984"/>
                </a:lnTo>
                <a:lnTo>
                  <a:pt x="4348284" y="2205270"/>
                </a:lnTo>
                <a:lnTo>
                  <a:pt x="4333906" y="2205251"/>
                </a:lnTo>
                <a:cubicBezTo>
                  <a:pt x="4326429" y="2204713"/>
                  <a:pt x="4318024" y="2203940"/>
                  <a:pt x="4308819" y="2203822"/>
                </a:cubicBezTo>
                <a:lnTo>
                  <a:pt x="4301210" y="2204456"/>
                </a:lnTo>
                <a:lnTo>
                  <a:pt x="4283095" y="2198177"/>
                </a:lnTo>
                <a:cubicBezTo>
                  <a:pt x="4269863" y="2193337"/>
                  <a:pt x="4259612" y="2190345"/>
                  <a:pt x="4250119" y="2196342"/>
                </a:cubicBezTo>
                <a:cubicBezTo>
                  <a:pt x="4230702" y="2190559"/>
                  <a:pt x="4213171" y="2166890"/>
                  <a:pt x="4189203" y="2178994"/>
                </a:cubicBezTo>
                <a:cubicBezTo>
                  <a:pt x="4194512" y="2165594"/>
                  <a:pt x="4160734" y="2183257"/>
                  <a:pt x="4154035" y="2171950"/>
                </a:cubicBezTo>
                <a:cubicBezTo>
                  <a:pt x="4150098" y="2162547"/>
                  <a:pt x="4138934" y="2165714"/>
                  <a:pt x="4129569" y="2163850"/>
                </a:cubicBezTo>
                <a:cubicBezTo>
                  <a:pt x="4121391" y="2155090"/>
                  <a:pt x="4076089" y="2154737"/>
                  <a:pt x="4061250" y="2159236"/>
                </a:cubicBezTo>
                <a:cubicBezTo>
                  <a:pt x="4020618" y="2177811"/>
                  <a:pt x="3978175" y="2144465"/>
                  <a:pt x="3945480" y="2158279"/>
                </a:cubicBezTo>
                <a:cubicBezTo>
                  <a:pt x="3936362" y="2159139"/>
                  <a:pt x="3928502" y="2158369"/>
                  <a:pt x="3921468" y="2156588"/>
                </a:cubicBezTo>
                <a:lnTo>
                  <a:pt x="3903348" y="2149220"/>
                </a:lnTo>
                <a:lnTo>
                  <a:pt x="3901342" y="2142355"/>
                </a:lnTo>
                <a:lnTo>
                  <a:pt x="3888539" y="2140476"/>
                </a:lnTo>
                <a:lnTo>
                  <a:pt x="3885662" y="2138740"/>
                </a:lnTo>
                <a:cubicBezTo>
                  <a:pt x="3880178" y="2135398"/>
                  <a:pt x="3874645" y="2132286"/>
                  <a:pt x="3868627" y="2130023"/>
                </a:cubicBezTo>
                <a:cubicBezTo>
                  <a:pt x="3859240" y="2159198"/>
                  <a:pt x="3815892" y="2115590"/>
                  <a:pt x="3819177" y="2142111"/>
                </a:cubicBezTo>
                <a:cubicBezTo>
                  <a:pt x="3784478" y="2134756"/>
                  <a:pt x="3796708" y="2161930"/>
                  <a:pt x="3769100" y="2131731"/>
                </a:cubicBezTo>
                <a:cubicBezTo>
                  <a:pt x="3702423" y="2139704"/>
                  <a:pt x="3625642" y="2109386"/>
                  <a:pt x="3562752" y="2131785"/>
                </a:cubicBezTo>
                <a:cubicBezTo>
                  <a:pt x="3576244" y="2120400"/>
                  <a:pt x="3560801" y="2104591"/>
                  <a:pt x="3541402" y="2106821"/>
                </a:cubicBezTo>
                <a:cubicBezTo>
                  <a:pt x="3592232" y="2061584"/>
                  <a:pt x="3356194" y="2115384"/>
                  <a:pt x="3365341" y="2077638"/>
                </a:cubicBezTo>
                <a:cubicBezTo>
                  <a:pt x="3303594" y="2079161"/>
                  <a:pt x="3221644" y="2111487"/>
                  <a:pt x="3170922" y="2115957"/>
                </a:cubicBezTo>
                <a:cubicBezTo>
                  <a:pt x="3166532" y="2119769"/>
                  <a:pt x="3161579" y="2122617"/>
                  <a:pt x="3156256" y="2124773"/>
                </a:cubicBezTo>
                <a:lnTo>
                  <a:pt x="3140298" y="2129182"/>
                </a:lnTo>
                <a:lnTo>
                  <a:pt x="3138514" y="2128069"/>
                </a:lnTo>
                <a:cubicBezTo>
                  <a:pt x="3130169" y="2125710"/>
                  <a:pt x="3124679" y="2126336"/>
                  <a:pt x="3120467" y="2128281"/>
                </a:cubicBezTo>
                <a:lnTo>
                  <a:pt x="3116175" y="2131633"/>
                </a:lnTo>
                <a:lnTo>
                  <a:pt x="3103685" y="2132814"/>
                </a:lnTo>
                <a:lnTo>
                  <a:pt x="3078794" y="2137935"/>
                </a:lnTo>
                <a:lnTo>
                  <a:pt x="3074407" y="2136274"/>
                </a:lnTo>
                <a:lnTo>
                  <a:pt x="3037285" y="2139919"/>
                </a:lnTo>
                <a:lnTo>
                  <a:pt x="3036901" y="2138726"/>
                </a:lnTo>
                <a:cubicBezTo>
                  <a:pt x="3035193" y="2136135"/>
                  <a:pt x="3032337" y="2134379"/>
                  <a:pt x="3026996" y="2134322"/>
                </a:cubicBezTo>
                <a:cubicBezTo>
                  <a:pt x="3037063" y="2116196"/>
                  <a:pt x="3024412" y="2127308"/>
                  <a:pt x="3007772" y="2128742"/>
                </a:cubicBezTo>
                <a:cubicBezTo>
                  <a:pt x="3019697" y="2100910"/>
                  <a:pt x="2971305" y="2115987"/>
                  <a:pt x="2965030" y="2100494"/>
                </a:cubicBezTo>
                <a:cubicBezTo>
                  <a:pt x="2952539" y="2102174"/>
                  <a:pt x="2939545" y="2103445"/>
                  <a:pt x="2926342" y="2104155"/>
                </a:cubicBezTo>
                <a:lnTo>
                  <a:pt x="2918608" y="2104215"/>
                </a:lnTo>
                <a:cubicBezTo>
                  <a:pt x="2918564" y="2104122"/>
                  <a:pt x="2918519" y="2104030"/>
                  <a:pt x="2918475" y="2103937"/>
                </a:cubicBezTo>
                <a:cubicBezTo>
                  <a:pt x="2916840" y="2103354"/>
                  <a:pt x="2914314" y="2103149"/>
                  <a:pt x="2910360" y="2103444"/>
                </a:cubicBezTo>
                <a:lnTo>
                  <a:pt x="2904507" y="2104326"/>
                </a:lnTo>
                <a:lnTo>
                  <a:pt x="2889503" y="2104443"/>
                </a:lnTo>
                <a:lnTo>
                  <a:pt x="2884480" y="2102626"/>
                </a:lnTo>
                <a:lnTo>
                  <a:pt x="2882689" y="2099228"/>
                </a:lnTo>
                <a:lnTo>
                  <a:pt x="2881291" y="2099618"/>
                </a:lnTo>
                <a:cubicBezTo>
                  <a:pt x="2870663" y="2105606"/>
                  <a:pt x="2867338" y="2114210"/>
                  <a:pt x="2853979" y="2090388"/>
                </a:cubicBezTo>
                <a:cubicBezTo>
                  <a:pt x="2829652" y="2100099"/>
                  <a:pt x="2824975" y="2085577"/>
                  <a:pt x="2791790" y="2080332"/>
                </a:cubicBezTo>
                <a:cubicBezTo>
                  <a:pt x="2777850" y="2089504"/>
                  <a:pt x="2766709" y="2086170"/>
                  <a:pt x="2755844" y="2078874"/>
                </a:cubicBezTo>
                <a:cubicBezTo>
                  <a:pt x="2723488" y="2083049"/>
                  <a:pt x="2694065" y="2072780"/>
                  <a:pt x="2657742" y="2070179"/>
                </a:cubicBezTo>
                <a:cubicBezTo>
                  <a:pt x="2618372" y="2082020"/>
                  <a:pt x="2598368" y="2060559"/>
                  <a:pt x="2559549" y="2057873"/>
                </a:cubicBezTo>
                <a:cubicBezTo>
                  <a:pt x="2525789" y="2078403"/>
                  <a:pt x="2531908" y="2039838"/>
                  <a:pt x="2512054" y="2031671"/>
                </a:cubicBezTo>
                <a:lnTo>
                  <a:pt x="2506437" y="2030918"/>
                </a:lnTo>
                <a:lnTo>
                  <a:pt x="2491752" y="2033906"/>
                </a:lnTo>
                <a:lnTo>
                  <a:pt x="2486338" y="2035862"/>
                </a:lnTo>
                <a:cubicBezTo>
                  <a:pt x="2482568" y="2036899"/>
                  <a:pt x="2480011" y="2037191"/>
                  <a:pt x="2478186" y="2036953"/>
                </a:cubicBezTo>
                <a:lnTo>
                  <a:pt x="2477950" y="2036715"/>
                </a:lnTo>
                <a:lnTo>
                  <a:pt x="2470381" y="2038256"/>
                </a:lnTo>
                <a:cubicBezTo>
                  <a:pt x="2457686" y="2041461"/>
                  <a:pt x="2445410" y="2045155"/>
                  <a:pt x="2433781" y="2049140"/>
                </a:cubicBezTo>
                <a:cubicBezTo>
                  <a:pt x="2421781" y="2035703"/>
                  <a:pt x="2379959" y="2059234"/>
                  <a:pt x="2381172" y="2030645"/>
                </a:cubicBezTo>
                <a:cubicBezTo>
                  <a:pt x="2365380" y="2035192"/>
                  <a:pt x="2357148" y="2048120"/>
                  <a:pt x="2360198" y="2029059"/>
                </a:cubicBezTo>
                <a:cubicBezTo>
                  <a:pt x="2354933" y="2030031"/>
                  <a:pt x="2351467" y="2028919"/>
                  <a:pt x="2348815" y="2026798"/>
                </a:cubicBezTo>
                <a:lnTo>
                  <a:pt x="2347988" y="2025745"/>
                </a:lnTo>
                <a:lnTo>
                  <a:pt x="2312920" y="2036311"/>
                </a:lnTo>
                <a:lnTo>
                  <a:pt x="2307986" y="2035583"/>
                </a:lnTo>
                <a:lnTo>
                  <a:pt x="2285481" y="2045197"/>
                </a:lnTo>
                <a:lnTo>
                  <a:pt x="2273666" y="2048710"/>
                </a:lnTo>
                <a:lnTo>
                  <a:pt x="2270719" y="2052702"/>
                </a:lnTo>
                <a:cubicBezTo>
                  <a:pt x="2267315" y="2055347"/>
                  <a:pt x="2262161" y="2056992"/>
                  <a:pt x="2253080" y="2056363"/>
                </a:cubicBezTo>
                <a:lnTo>
                  <a:pt x="2250906" y="2055654"/>
                </a:lnTo>
                <a:lnTo>
                  <a:pt x="2236905" y="2062882"/>
                </a:lnTo>
                <a:cubicBezTo>
                  <a:pt x="2232493" y="2065942"/>
                  <a:pt x="2228705" y="2069583"/>
                  <a:pt x="2225830" y="2074027"/>
                </a:cubicBezTo>
                <a:cubicBezTo>
                  <a:pt x="2173117" y="2059597"/>
                  <a:pt x="2128486" y="2085502"/>
                  <a:pt x="2073776" y="2089244"/>
                </a:cubicBezTo>
                <a:cubicBezTo>
                  <a:pt x="2046050" y="2059365"/>
                  <a:pt x="1957570" y="2112693"/>
                  <a:pt x="1948256" y="2146616"/>
                </a:cubicBezTo>
                <a:cubicBezTo>
                  <a:pt x="1943005" y="2109192"/>
                  <a:pt x="1832736" y="2206239"/>
                  <a:pt x="1865582" y="2153738"/>
                </a:cubicBezTo>
                <a:cubicBezTo>
                  <a:pt x="1847376" y="2159567"/>
                  <a:pt x="1826258" y="2147592"/>
                  <a:pt x="1835210" y="2134244"/>
                </a:cubicBezTo>
                <a:cubicBezTo>
                  <a:pt x="1781916" y="2167476"/>
                  <a:pt x="1695112" y="2153556"/>
                  <a:pt x="1632661" y="2173882"/>
                </a:cubicBezTo>
                <a:cubicBezTo>
                  <a:pt x="1594177" y="2150642"/>
                  <a:pt x="1616426" y="2173975"/>
                  <a:pt x="1579590" y="2173680"/>
                </a:cubicBezTo>
                <a:cubicBezTo>
                  <a:pt x="1592812" y="2198112"/>
                  <a:pt x="1533818" y="2165220"/>
                  <a:pt x="1535601" y="2194590"/>
                </a:cubicBezTo>
                <a:cubicBezTo>
                  <a:pt x="1528840" y="2193608"/>
                  <a:pt x="1522236" y="2191728"/>
                  <a:pt x="1515594" y="2189622"/>
                </a:cubicBezTo>
                <a:lnTo>
                  <a:pt x="1512113" y="2188534"/>
                </a:lnTo>
                <a:lnTo>
                  <a:pt x="1498838" y="2189213"/>
                </a:lnTo>
                <a:lnTo>
                  <a:pt x="1494279" y="2183112"/>
                </a:lnTo>
                <a:lnTo>
                  <a:pt x="1473714" y="2179625"/>
                </a:lnTo>
                <a:cubicBezTo>
                  <a:pt x="1466138" y="2179292"/>
                  <a:pt x="1458132" y="2180071"/>
                  <a:pt x="1449503" y="2182633"/>
                </a:cubicBezTo>
                <a:lnTo>
                  <a:pt x="1266687" y="2212688"/>
                </a:lnTo>
                <a:cubicBezTo>
                  <a:pt x="1256792" y="2212722"/>
                  <a:pt x="1247024" y="2217857"/>
                  <a:pt x="1239614" y="2209727"/>
                </a:cubicBezTo>
                <a:cubicBezTo>
                  <a:pt x="1228778" y="2200326"/>
                  <a:pt x="1202276" y="2223497"/>
                  <a:pt x="1202436" y="2209817"/>
                </a:cubicBezTo>
                <a:cubicBezTo>
                  <a:pt x="1183471" y="2225854"/>
                  <a:pt x="1157340" y="2206849"/>
                  <a:pt x="1136097" y="2205112"/>
                </a:cubicBezTo>
                <a:cubicBezTo>
                  <a:pt x="1100396" y="2209415"/>
                  <a:pt x="1013922" y="2231219"/>
                  <a:pt x="988232" y="2235635"/>
                </a:cubicBezTo>
                <a:cubicBezTo>
                  <a:pt x="986445" y="2234079"/>
                  <a:pt x="984332" y="2232722"/>
                  <a:pt x="981959" y="2231607"/>
                </a:cubicBezTo>
                <a:cubicBezTo>
                  <a:pt x="968170" y="2225130"/>
                  <a:pt x="948759" y="2228043"/>
                  <a:pt x="938600" y="2238113"/>
                </a:cubicBezTo>
                <a:cubicBezTo>
                  <a:pt x="888371" y="2272824"/>
                  <a:pt x="837950" y="2280135"/>
                  <a:pt x="791788" y="2293224"/>
                </a:cubicBezTo>
                <a:cubicBezTo>
                  <a:pt x="739035" y="2305159"/>
                  <a:pt x="769009" y="2269676"/>
                  <a:pt x="706914" y="2305046"/>
                </a:cubicBezTo>
                <a:cubicBezTo>
                  <a:pt x="697882" y="2295919"/>
                  <a:pt x="689339" y="2296797"/>
                  <a:pt x="675971" y="2304030"/>
                </a:cubicBezTo>
                <a:cubicBezTo>
                  <a:pt x="650201" y="2309060"/>
                  <a:pt x="647591" y="2282853"/>
                  <a:pt x="624180" y="2302650"/>
                </a:cubicBezTo>
                <a:cubicBezTo>
                  <a:pt x="626400" y="2287987"/>
                  <a:pt x="574045" y="2305175"/>
                  <a:pt x="583453" y="2288788"/>
                </a:cubicBezTo>
                <a:cubicBezTo>
                  <a:pt x="564313" y="2278832"/>
                  <a:pt x="559671" y="2301039"/>
                  <a:pt x="540946" y="2292721"/>
                </a:cubicBezTo>
                <a:cubicBezTo>
                  <a:pt x="521576" y="2293191"/>
                  <a:pt x="554439" y="2305843"/>
                  <a:pt x="533680" y="2310233"/>
                </a:cubicBezTo>
                <a:cubicBezTo>
                  <a:pt x="508069" y="2313043"/>
                  <a:pt x="512638" y="2338541"/>
                  <a:pt x="487366" y="2309053"/>
                </a:cubicBezTo>
                <a:cubicBezTo>
                  <a:pt x="462164" y="2321083"/>
                  <a:pt x="454441" y="2307251"/>
                  <a:pt x="416820" y="2305443"/>
                </a:cubicBezTo>
                <a:cubicBezTo>
                  <a:pt x="403012" y="2315890"/>
                  <a:pt x="390105" y="2313733"/>
                  <a:pt x="376805" y="2307647"/>
                </a:cubicBezTo>
                <a:cubicBezTo>
                  <a:pt x="341751" y="2315035"/>
                  <a:pt x="307408" y="2307897"/>
                  <a:pt x="266777" y="2309012"/>
                </a:cubicBezTo>
                <a:cubicBezTo>
                  <a:pt x="225310" y="2324664"/>
                  <a:pt x="199419" y="2305548"/>
                  <a:pt x="156013" y="2306832"/>
                </a:cubicBezTo>
                <a:cubicBezTo>
                  <a:pt x="117457" y="2333851"/>
                  <a:pt x="122965" y="2279562"/>
                  <a:pt x="87258" y="2285511"/>
                </a:cubicBezTo>
                <a:cubicBezTo>
                  <a:pt x="38977" y="2309189"/>
                  <a:pt x="74043" y="2277969"/>
                  <a:pt x="23798" y="2281822"/>
                </a:cubicBezTo>
                <a:lnTo>
                  <a:pt x="0" y="2285369"/>
                </a:lnTo>
                <a:lnTo>
                  <a:pt x="0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9CAF6117-6533-0AC4-182A-D3F1F3812D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7974" y="393380"/>
            <a:ext cx="4581400" cy="2646153"/>
          </a:xfrm>
        </p:spPr>
        <p:txBody>
          <a:bodyPr>
            <a:normAutofit/>
          </a:bodyPr>
          <a:lstStyle/>
          <a:p>
            <a:pPr algn="l"/>
            <a:r>
              <a:rPr lang="pl-PL" sz="3600" b="1" dirty="0"/>
              <a:t>Struktura Planu Strategicznego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B9BEC862-0C4A-DB4E-3D4A-C1EEB51963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0554" y="3425091"/>
            <a:ext cx="5934979" cy="393377"/>
          </a:xfrm>
        </p:spPr>
        <p:txBody>
          <a:bodyPr>
            <a:normAutofit/>
          </a:bodyPr>
          <a:lstStyle/>
          <a:p>
            <a:pPr algn="l"/>
            <a:r>
              <a:rPr lang="pl-PL" sz="1600" dirty="0"/>
              <a:t>International </a:t>
            </a:r>
            <a:r>
              <a:rPr lang="pl-PL" sz="1600" dirty="0" err="1"/>
              <a:t>Table</a:t>
            </a:r>
            <a:r>
              <a:rPr lang="pl-PL" sz="1600" dirty="0"/>
              <a:t> </a:t>
            </a:r>
            <a:r>
              <a:rPr lang="pl-PL" sz="1600" dirty="0" err="1"/>
              <a:t>Tennis</a:t>
            </a:r>
            <a:r>
              <a:rPr lang="pl-PL" sz="1600" dirty="0"/>
              <a:t> </a:t>
            </a:r>
            <a:r>
              <a:rPr lang="pl-PL" sz="1600" dirty="0" err="1"/>
              <a:t>Federation</a:t>
            </a:r>
            <a:r>
              <a:rPr lang="pl-PL" sz="1600" dirty="0"/>
              <a:t> 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6D3E1D56-BC37-B252-EDC3-4F46899636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5133" y="1"/>
            <a:ext cx="5467955" cy="6341038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7F171B0B-0A43-224F-42EA-7540C0F766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307088" y="6277971"/>
            <a:ext cx="6884912" cy="580030"/>
          </a:xfrm>
          <a:custGeom>
            <a:avLst/>
            <a:gdLst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59043 h 1161397"/>
              <a:gd name="connsiteX5" fmla="*/ 119094 w 6884912"/>
              <a:gd name="connsiteY5" fmla="*/ 1148463 h 1161397"/>
              <a:gd name="connsiteX6" fmla="*/ 171824 w 6884912"/>
              <a:gd name="connsiteY6" fmla="*/ 1133224 h 1161397"/>
              <a:gd name="connsiteX7" fmla="*/ 376455 w 6884912"/>
              <a:gd name="connsiteY7" fmla="*/ 1137381 h 1161397"/>
              <a:gd name="connsiteX8" fmla="*/ 478946 w 6884912"/>
              <a:gd name="connsiteY8" fmla="*/ 1106011 h 1161397"/>
              <a:gd name="connsiteX9" fmla="*/ 512111 w 6884912"/>
              <a:gd name="connsiteY9" fmla="*/ 1085599 h 1161397"/>
              <a:gd name="connsiteX10" fmla="*/ 567875 w 6884912"/>
              <a:gd name="connsiteY10" fmla="*/ 1051976 h 1161397"/>
              <a:gd name="connsiteX11" fmla="*/ 601644 w 6884912"/>
              <a:gd name="connsiteY11" fmla="*/ 1003997 h 1161397"/>
              <a:gd name="connsiteX12" fmla="*/ 651408 w 6884912"/>
              <a:gd name="connsiteY12" fmla="*/ 984938 h 1161397"/>
              <a:gd name="connsiteX13" fmla="*/ 673197 w 6884912"/>
              <a:gd name="connsiteY13" fmla="*/ 1010060 h 1161397"/>
              <a:gd name="connsiteX14" fmla="*/ 723108 w 6884912"/>
              <a:gd name="connsiteY14" fmla="*/ 980081 h 1161397"/>
              <a:gd name="connsiteX15" fmla="*/ 797699 w 6884912"/>
              <a:gd name="connsiteY15" fmla="*/ 931362 h 1161397"/>
              <a:gd name="connsiteX16" fmla="*/ 843359 w 6884912"/>
              <a:gd name="connsiteY16" fmla="*/ 910894 h 1161397"/>
              <a:gd name="connsiteX17" fmla="*/ 965215 w 6884912"/>
              <a:gd name="connsiteY17" fmla="*/ 846701 h 1161397"/>
              <a:gd name="connsiteX18" fmla="*/ 1085080 w 6884912"/>
              <a:gd name="connsiteY18" fmla="*/ 776086 h 1161397"/>
              <a:gd name="connsiteX19" fmla="*/ 1131224 w 6884912"/>
              <a:gd name="connsiteY19" fmla="*/ 706160 h 1161397"/>
              <a:gd name="connsiteX20" fmla="*/ 1138051 w 6884912"/>
              <a:gd name="connsiteY20" fmla="*/ 702034 h 1161397"/>
              <a:gd name="connsiteX21" fmla="*/ 1158800 w 6884912"/>
              <a:gd name="connsiteY21" fmla="*/ 700004 h 1161397"/>
              <a:gd name="connsiteX22" fmla="*/ 1166947 w 6884912"/>
              <a:gd name="connsiteY22" fmla="*/ 700762 h 1161397"/>
              <a:gd name="connsiteX23" fmla="*/ 1178135 w 6884912"/>
              <a:gd name="connsiteY23" fmla="*/ 698631 h 1161397"/>
              <a:gd name="connsiteX24" fmla="*/ 1178301 w 6884912"/>
              <a:gd name="connsiteY24" fmla="*/ 698094 h 1161397"/>
              <a:gd name="connsiteX25" fmla="*/ 1188995 w 6884912"/>
              <a:gd name="connsiteY25" fmla="*/ 697048 h 1161397"/>
              <a:gd name="connsiteX26" fmla="*/ 1242716 w 6884912"/>
              <a:gd name="connsiteY26" fmla="*/ 698052 h 1161397"/>
              <a:gd name="connsiteX27" fmla="*/ 1299977 w 6884912"/>
              <a:gd name="connsiteY27" fmla="*/ 639196 h 1161397"/>
              <a:gd name="connsiteX28" fmla="*/ 1326190 w 6884912"/>
              <a:gd name="connsiteY28" fmla="*/ 625955 h 1161397"/>
              <a:gd name="connsiteX29" fmla="*/ 1339600 w 6884912"/>
              <a:gd name="connsiteY29" fmla="*/ 616295 h 1161397"/>
              <a:gd name="connsiteX30" fmla="*/ 1340054 w 6884912"/>
              <a:gd name="connsiteY30" fmla="*/ 614022 h 1161397"/>
              <a:gd name="connsiteX31" fmla="*/ 1391606 w 6884912"/>
              <a:gd name="connsiteY31" fmla="*/ 615229 h 1161397"/>
              <a:gd name="connsiteX32" fmla="*/ 1397565 w 6884912"/>
              <a:gd name="connsiteY32" fmla="*/ 611490 h 1161397"/>
              <a:gd name="connsiteX33" fmla="*/ 1432302 w 6884912"/>
              <a:gd name="connsiteY33" fmla="*/ 617267 h 1161397"/>
              <a:gd name="connsiteX34" fmla="*/ 1449644 w 6884912"/>
              <a:gd name="connsiteY34" fmla="*/ 617591 h 1161397"/>
              <a:gd name="connsiteX35" fmla="*/ 1455793 w 6884912"/>
              <a:gd name="connsiteY35" fmla="*/ 623174 h 1161397"/>
              <a:gd name="connsiteX36" fmla="*/ 1480758 w 6884912"/>
              <a:gd name="connsiteY36" fmla="*/ 620863 h 1161397"/>
              <a:gd name="connsiteX37" fmla="*/ 1483154 w 6884912"/>
              <a:gd name="connsiteY37" fmla="*/ 618527 h 1161397"/>
              <a:gd name="connsiteX38" fmla="*/ 1505495 w 6884912"/>
              <a:gd name="connsiteY38" fmla="*/ 624325 h 1161397"/>
              <a:gd name="connsiteX39" fmla="*/ 1526340 w 6884912"/>
              <a:gd name="connsiteY39" fmla="*/ 638496 h 1161397"/>
              <a:gd name="connsiteX40" fmla="*/ 1731986 w 6884912"/>
              <a:gd name="connsiteY40" fmla="*/ 589682 h 1161397"/>
              <a:gd name="connsiteX41" fmla="*/ 1927935 w 6884912"/>
              <a:gd name="connsiteY41" fmla="*/ 628540 h 1161397"/>
              <a:gd name="connsiteX42" fmla="*/ 2039075 w 6884912"/>
              <a:gd name="connsiteY42" fmla="*/ 599964 h 1161397"/>
              <a:gd name="connsiteX43" fmla="*/ 2066980 w 6884912"/>
              <a:gd name="connsiteY43" fmla="*/ 550413 h 1161397"/>
              <a:gd name="connsiteX44" fmla="*/ 2352236 w 6884912"/>
              <a:gd name="connsiteY44" fmla="*/ 519602 h 1161397"/>
              <a:gd name="connsiteX45" fmla="*/ 2420791 w 6884912"/>
              <a:gd name="connsiteY45" fmla="*/ 492826 h 1161397"/>
              <a:gd name="connsiteX46" fmla="*/ 2489932 w 6884912"/>
              <a:gd name="connsiteY46" fmla="*/ 507864 h 1161397"/>
              <a:gd name="connsiteX47" fmla="*/ 2512917 w 6884912"/>
              <a:gd name="connsiteY47" fmla="*/ 489127 h 1161397"/>
              <a:gd name="connsiteX48" fmla="*/ 2516783 w 6884912"/>
              <a:gd name="connsiteY48" fmla="*/ 485473 h 1161397"/>
              <a:gd name="connsiteX49" fmla="*/ 2534360 w 6884912"/>
              <a:gd name="connsiteY49" fmla="*/ 480064 h 1161397"/>
              <a:gd name="connsiteX50" fmla="*/ 2536691 w 6884912"/>
              <a:gd name="connsiteY50" fmla="*/ 467018 h 1161397"/>
              <a:gd name="connsiteX51" fmla="*/ 2561265 w 6884912"/>
              <a:gd name="connsiteY51" fmla="*/ 450623 h 1161397"/>
              <a:gd name="connsiteX52" fmla="*/ 2594349 w 6884912"/>
              <a:gd name="connsiteY52" fmla="*/ 443884 h 1161397"/>
              <a:gd name="connsiteX53" fmla="*/ 2754324 w 6884912"/>
              <a:gd name="connsiteY53" fmla="*/ 424766 h 1161397"/>
              <a:gd name="connsiteX54" fmla="*/ 2848470 w 6884912"/>
              <a:gd name="connsiteY54" fmla="*/ 405966 h 1161397"/>
              <a:gd name="connsiteX55" fmla="*/ 2881772 w 6884912"/>
              <a:gd name="connsiteY55" fmla="*/ 387260 h 1161397"/>
              <a:gd name="connsiteX56" fmla="*/ 2929932 w 6884912"/>
              <a:gd name="connsiteY56" fmla="*/ 368912 h 1161397"/>
              <a:gd name="connsiteX57" fmla="*/ 3013020 w 6884912"/>
              <a:gd name="connsiteY57" fmla="*/ 327578 h 1161397"/>
              <a:gd name="connsiteX58" fmla="*/ 3127968 w 6884912"/>
              <a:gd name="connsiteY58" fmla="*/ 287613 h 1161397"/>
              <a:gd name="connsiteX59" fmla="*/ 3222191 w 6884912"/>
              <a:gd name="connsiteY59" fmla="*/ 307887 h 1161397"/>
              <a:gd name="connsiteX60" fmla="*/ 3227953 w 6884912"/>
              <a:gd name="connsiteY60" fmla="*/ 297650 h 1161397"/>
              <a:gd name="connsiteX61" fmla="*/ 3287859 w 6884912"/>
              <a:gd name="connsiteY61" fmla="*/ 287558 h 1161397"/>
              <a:gd name="connsiteX62" fmla="*/ 3510042 w 6884912"/>
              <a:gd name="connsiteY62" fmla="*/ 311820 h 1161397"/>
              <a:gd name="connsiteX63" fmla="*/ 3626773 w 6884912"/>
              <a:gd name="connsiteY63" fmla="*/ 290452 h 1161397"/>
              <a:gd name="connsiteX64" fmla="*/ 3666217 w 6884912"/>
              <a:gd name="connsiteY64" fmla="*/ 273255 h 1161397"/>
              <a:gd name="connsiteX65" fmla="*/ 3732427 w 6884912"/>
              <a:gd name="connsiteY65" fmla="*/ 245039 h 1161397"/>
              <a:gd name="connsiteX66" fmla="*/ 3777022 w 6884912"/>
              <a:gd name="connsiteY66" fmla="*/ 200276 h 1161397"/>
              <a:gd name="connsiteX67" fmla="*/ 3791246 w 6884912"/>
              <a:gd name="connsiteY67" fmla="*/ 189996 h 1161397"/>
              <a:gd name="connsiteX68" fmla="*/ 3819864 w 6884912"/>
              <a:gd name="connsiteY68" fmla="*/ 194605 h 1161397"/>
              <a:gd name="connsiteX69" fmla="*/ 3830398 w 6884912"/>
              <a:gd name="connsiteY69" fmla="*/ 188383 h 1161397"/>
              <a:gd name="connsiteX70" fmla="*/ 3834360 w 6884912"/>
              <a:gd name="connsiteY70" fmla="*/ 188992 h 1161397"/>
              <a:gd name="connsiteX71" fmla="*/ 3843715 w 6884912"/>
              <a:gd name="connsiteY71" fmla="*/ 188752 h 1161397"/>
              <a:gd name="connsiteX72" fmla="*/ 3842609 w 6884912"/>
              <a:gd name="connsiteY72" fmla="*/ 197386 h 1161397"/>
              <a:gd name="connsiteX73" fmla="*/ 3853961 w 6884912"/>
              <a:gd name="connsiteY73" fmla="*/ 213380 h 1161397"/>
              <a:gd name="connsiteX74" fmla="*/ 3907640 w 6884912"/>
              <a:gd name="connsiteY74" fmla="*/ 207568 h 1161397"/>
              <a:gd name="connsiteX75" fmla="*/ 3910449 w 6884912"/>
              <a:gd name="connsiteY75" fmla="*/ 197808 h 1161397"/>
              <a:gd name="connsiteX76" fmla="*/ 3917197 w 6884912"/>
              <a:gd name="connsiteY76" fmla="*/ 196121 h 1161397"/>
              <a:gd name="connsiteX77" fmla="*/ 3922400 w 6884912"/>
              <a:gd name="connsiteY77" fmla="*/ 205056 h 1161397"/>
              <a:gd name="connsiteX78" fmla="*/ 4013061 w 6884912"/>
              <a:gd name="connsiteY78" fmla="*/ 224874 h 1161397"/>
              <a:gd name="connsiteX79" fmla="*/ 4134285 w 6884912"/>
              <a:gd name="connsiteY79" fmla="*/ 235592 h 1161397"/>
              <a:gd name="connsiteX80" fmla="*/ 4220717 w 6884912"/>
              <a:gd name="connsiteY80" fmla="*/ 192946 h 1161397"/>
              <a:gd name="connsiteX81" fmla="*/ 4228802 w 6884912"/>
              <a:gd name="connsiteY81" fmla="*/ 201468 h 1161397"/>
              <a:gd name="connsiteX82" fmla="*/ 4289361 w 6884912"/>
              <a:gd name="connsiteY82" fmla="*/ 196642 h 1161397"/>
              <a:gd name="connsiteX83" fmla="*/ 4498913 w 6884912"/>
              <a:gd name="connsiteY83" fmla="*/ 118915 h 1161397"/>
              <a:gd name="connsiteX84" fmla="*/ 4617330 w 6884912"/>
              <a:gd name="connsiteY84" fmla="*/ 111163 h 1161397"/>
              <a:gd name="connsiteX85" fmla="*/ 4659778 w 6884912"/>
              <a:gd name="connsiteY85" fmla="*/ 118219 h 1161397"/>
              <a:gd name="connsiteX86" fmla="*/ 4730870 w 6884912"/>
              <a:gd name="connsiteY86" fmla="*/ 129432 h 1161397"/>
              <a:gd name="connsiteX87" fmla="*/ 4785037 w 6884912"/>
              <a:gd name="connsiteY87" fmla="*/ 161964 h 1161397"/>
              <a:gd name="connsiteX88" fmla="*/ 4844073 w 6884912"/>
              <a:gd name="connsiteY88" fmla="*/ 161768 h 1161397"/>
              <a:gd name="connsiteX89" fmla="*/ 4856454 w 6884912"/>
              <a:gd name="connsiteY89" fmla="*/ 130488 h 1161397"/>
              <a:gd name="connsiteX90" fmla="*/ 4920038 w 6884912"/>
              <a:gd name="connsiteY90" fmla="*/ 140418 h 1161397"/>
              <a:gd name="connsiteX91" fmla="*/ 5016639 w 6884912"/>
              <a:gd name="connsiteY91" fmla="*/ 158905 h 1161397"/>
              <a:gd name="connsiteX92" fmla="*/ 5072009 w 6884912"/>
              <a:gd name="connsiteY92" fmla="*/ 161502 h 1161397"/>
              <a:gd name="connsiteX93" fmla="*/ 5223626 w 6884912"/>
              <a:gd name="connsiteY93" fmla="*/ 177356 h 1161397"/>
              <a:gd name="connsiteX94" fmla="*/ 5375773 w 6884912"/>
              <a:gd name="connsiteY94" fmla="*/ 199913 h 1161397"/>
              <a:gd name="connsiteX95" fmla="*/ 5467502 w 6884912"/>
              <a:gd name="connsiteY95" fmla="*/ 250963 h 1161397"/>
              <a:gd name="connsiteX96" fmla="*/ 5592395 w 6884912"/>
              <a:gd name="connsiteY96" fmla="*/ 265434 h 1161397"/>
              <a:gd name="connsiteX97" fmla="*/ 5613532 w 6884912"/>
              <a:gd name="connsiteY97" fmla="*/ 273379 h 1161397"/>
              <a:gd name="connsiteX98" fmla="*/ 5642173 w 6884912"/>
              <a:gd name="connsiteY98" fmla="*/ 266904 h 1161397"/>
              <a:gd name="connsiteX99" fmla="*/ 5756910 w 6884912"/>
              <a:gd name="connsiteY99" fmla="*/ 239211 h 1161397"/>
              <a:gd name="connsiteX100" fmla="*/ 5846667 w 6884912"/>
              <a:gd name="connsiteY100" fmla="*/ 201786 h 1161397"/>
              <a:gd name="connsiteX101" fmla="*/ 5960732 w 6884912"/>
              <a:gd name="connsiteY101" fmla="*/ 220708 h 1161397"/>
              <a:gd name="connsiteX102" fmla="*/ 6029542 w 6884912"/>
              <a:gd name="connsiteY102" fmla="*/ 210339 h 1161397"/>
              <a:gd name="connsiteX103" fmla="*/ 6141123 w 6884912"/>
              <a:gd name="connsiteY103" fmla="*/ 159923 h 1161397"/>
              <a:gd name="connsiteX104" fmla="*/ 6290640 w 6884912"/>
              <a:gd name="connsiteY104" fmla="*/ 167441 h 1161397"/>
              <a:gd name="connsiteX105" fmla="*/ 6322806 w 6884912"/>
              <a:gd name="connsiteY105" fmla="*/ 213293 h 1161397"/>
              <a:gd name="connsiteX106" fmla="*/ 6364914 w 6884912"/>
              <a:gd name="connsiteY106" fmla="*/ 240140 h 1161397"/>
              <a:gd name="connsiteX107" fmla="*/ 6380420 w 6884912"/>
              <a:gd name="connsiteY107" fmla="*/ 173195 h 1161397"/>
              <a:gd name="connsiteX108" fmla="*/ 6507891 w 6884912"/>
              <a:gd name="connsiteY108" fmla="*/ 118474 h 1161397"/>
              <a:gd name="connsiteX109" fmla="*/ 6571807 w 6884912"/>
              <a:gd name="connsiteY109" fmla="*/ 98636 h 1161397"/>
              <a:gd name="connsiteX110" fmla="*/ 6671880 w 6884912"/>
              <a:gd name="connsiteY110" fmla="*/ 82931 h 1161397"/>
              <a:gd name="connsiteX111" fmla="*/ 6702266 w 6884912"/>
              <a:gd name="connsiteY111" fmla="*/ 75470 h 1161397"/>
              <a:gd name="connsiteX112" fmla="*/ 6845802 w 6884912"/>
              <a:gd name="connsiteY112" fmla="*/ 24496 h 1161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6884912" h="1161397">
                <a:moveTo>
                  <a:pt x="6884912" y="0"/>
                </a:moveTo>
                <a:lnTo>
                  <a:pt x="6884912" y="1161397"/>
                </a:lnTo>
                <a:lnTo>
                  <a:pt x="0" y="1161397"/>
                </a:lnTo>
                <a:lnTo>
                  <a:pt x="27135" y="1147460"/>
                </a:lnTo>
                <a:cubicBezTo>
                  <a:pt x="57431" y="1167048"/>
                  <a:pt x="61886" y="1135904"/>
                  <a:pt x="115388" y="1159043"/>
                </a:cubicBezTo>
                <a:cubicBezTo>
                  <a:pt x="116121" y="1155340"/>
                  <a:pt x="117370" y="1151777"/>
                  <a:pt x="119094" y="1148463"/>
                </a:cubicBezTo>
                <a:cubicBezTo>
                  <a:pt x="129121" y="1129214"/>
                  <a:pt x="152727" y="1122391"/>
                  <a:pt x="171824" y="1133224"/>
                </a:cubicBezTo>
                <a:cubicBezTo>
                  <a:pt x="254344" y="1161369"/>
                  <a:pt x="315458" y="1143220"/>
                  <a:pt x="376455" y="1137381"/>
                </a:cubicBezTo>
                <a:cubicBezTo>
                  <a:pt x="443775" y="1125614"/>
                  <a:pt x="382885" y="1083927"/>
                  <a:pt x="478946" y="1106011"/>
                </a:cubicBezTo>
                <a:cubicBezTo>
                  <a:pt x="481662" y="1085172"/>
                  <a:pt x="491731" y="1081489"/>
                  <a:pt x="512111" y="1085599"/>
                </a:cubicBezTo>
                <a:cubicBezTo>
                  <a:pt x="544368" y="1078502"/>
                  <a:pt x="526559" y="1032754"/>
                  <a:pt x="567875" y="1051976"/>
                </a:cubicBezTo>
                <a:cubicBezTo>
                  <a:pt x="553871" y="1028602"/>
                  <a:pt x="624901" y="1025930"/>
                  <a:pt x="601644" y="1003997"/>
                </a:cubicBezTo>
                <a:cubicBezTo>
                  <a:pt x="614803" y="975652"/>
                  <a:pt x="637415" y="1010272"/>
                  <a:pt x="651408" y="984938"/>
                </a:cubicBezTo>
                <a:cubicBezTo>
                  <a:pt x="673042" y="974024"/>
                  <a:pt x="646948" y="1015207"/>
                  <a:pt x="673197" y="1010060"/>
                </a:cubicBezTo>
                <a:cubicBezTo>
                  <a:pt x="703527" y="999318"/>
                  <a:pt x="718626" y="1045053"/>
                  <a:pt x="723108" y="980081"/>
                </a:cubicBezTo>
                <a:cubicBezTo>
                  <a:pt x="760262" y="985126"/>
                  <a:pt x="757827" y="957145"/>
                  <a:pt x="797699" y="931362"/>
                </a:cubicBezTo>
                <a:cubicBezTo>
                  <a:pt x="821097" y="940623"/>
                  <a:pt x="833565" y="929189"/>
                  <a:pt x="843359" y="910894"/>
                </a:cubicBezTo>
                <a:cubicBezTo>
                  <a:pt x="887668" y="902160"/>
                  <a:pt x="919738" y="869376"/>
                  <a:pt x="965215" y="846701"/>
                </a:cubicBezTo>
                <a:cubicBezTo>
                  <a:pt x="1023081" y="848019"/>
                  <a:pt x="1036422" y="800154"/>
                  <a:pt x="1085080" y="776086"/>
                </a:cubicBezTo>
                <a:cubicBezTo>
                  <a:pt x="1140763" y="795544"/>
                  <a:pt x="1110309" y="730471"/>
                  <a:pt x="1131224" y="706160"/>
                </a:cubicBezTo>
                <a:lnTo>
                  <a:pt x="1138051" y="702034"/>
                </a:lnTo>
                <a:lnTo>
                  <a:pt x="1158800" y="700004"/>
                </a:lnTo>
                <a:lnTo>
                  <a:pt x="1166947" y="700762"/>
                </a:lnTo>
                <a:cubicBezTo>
                  <a:pt x="1172432" y="700717"/>
                  <a:pt x="1175913" y="699961"/>
                  <a:pt x="1178135" y="698631"/>
                </a:cubicBezTo>
                <a:lnTo>
                  <a:pt x="1178301" y="698094"/>
                </a:lnTo>
                <a:lnTo>
                  <a:pt x="1188995" y="697048"/>
                </a:lnTo>
                <a:cubicBezTo>
                  <a:pt x="1207294" y="696390"/>
                  <a:pt x="1225337" y="696802"/>
                  <a:pt x="1242716" y="698052"/>
                </a:cubicBezTo>
                <a:cubicBezTo>
                  <a:pt x="1250387" y="668345"/>
                  <a:pt x="1318259" y="689091"/>
                  <a:pt x="1299977" y="639196"/>
                </a:cubicBezTo>
                <a:cubicBezTo>
                  <a:pt x="1323072" y="639367"/>
                  <a:pt x="1341279" y="658105"/>
                  <a:pt x="1326190" y="625955"/>
                </a:cubicBezTo>
                <a:cubicBezTo>
                  <a:pt x="1333572" y="625050"/>
                  <a:pt x="1337406" y="621362"/>
                  <a:pt x="1339600" y="616295"/>
                </a:cubicBezTo>
                <a:lnTo>
                  <a:pt x="1340054" y="614022"/>
                </a:lnTo>
                <a:lnTo>
                  <a:pt x="1391606" y="615229"/>
                </a:lnTo>
                <a:lnTo>
                  <a:pt x="1397565" y="611490"/>
                </a:lnTo>
                <a:lnTo>
                  <a:pt x="1432302" y="617267"/>
                </a:lnTo>
                <a:lnTo>
                  <a:pt x="1449644" y="617591"/>
                </a:lnTo>
                <a:lnTo>
                  <a:pt x="1455793" y="623174"/>
                </a:lnTo>
                <a:cubicBezTo>
                  <a:pt x="1461744" y="626151"/>
                  <a:pt x="1469373" y="626493"/>
                  <a:pt x="1480758" y="620863"/>
                </a:cubicBezTo>
                <a:lnTo>
                  <a:pt x="1483154" y="618527"/>
                </a:lnTo>
                <a:lnTo>
                  <a:pt x="1505495" y="624325"/>
                </a:lnTo>
                <a:cubicBezTo>
                  <a:pt x="1512992" y="627532"/>
                  <a:pt x="1520025" y="632078"/>
                  <a:pt x="1526340" y="638496"/>
                </a:cubicBezTo>
                <a:cubicBezTo>
                  <a:pt x="1586113" y="586768"/>
                  <a:pt x="1659006" y="610309"/>
                  <a:pt x="1731986" y="589682"/>
                </a:cubicBezTo>
                <a:cubicBezTo>
                  <a:pt x="1750397" y="523106"/>
                  <a:pt x="1896056" y="573257"/>
                  <a:pt x="1927935" y="628540"/>
                </a:cubicBezTo>
                <a:cubicBezTo>
                  <a:pt x="1912854" y="559823"/>
                  <a:pt x="2112261" y="676347"/>
                  <a:pt x="2039075" y="599964"/>
                </a:cubicBezTo>
                <a:cubicBezTo>
                  <a:pt x="2066036" y="601198"/>
                  <a:pt x="2086366" y="569532"/>
                  <a:pt x="2066980" y="550413"/>
                </a:cubicBezTo>
                <a:cubicBezTo>
                  <a:pt x="2155364" y="582582"/>
                  <a:pt x="2259548" y="514786"/>
                  <a:pt x="2352236" y="519602"/>
                </a:cubicBezTo>
                <a:cubicBezTo>
                  <a:pt x="2388450" y="459394"/>
                  <a:pt x="2373298" y="511682"/>
                  <a:pt x="2420791" y="492826"/>
                </a:cubicBezTo>
                <a:cubicBezTo>
                  <a:pt x="2417962" y="542563"/>
                  <a:pt x="2475071" y="455098"/>
                  <a:pt x="2489932" y="507864"/>
                </a:cubicBezTo>
                <a:cubicBezTo>
                  <a:pt x="2498105" y="502761"/>
                  <a:pt x="2505553" y="496153"/>
                  <a:pt x="2512917" y="489127"/>
                </a:cubicBezTo>
                <a:lnTo>
                  <a:pt x="2516783" y="485473"/>
                </a:lnTo>
                <a:lnTo>
                  <a:pt x="2534360" y="480064"/>
                </a:lnTo>
                <a:lnTo>
                  <a:pt x="2536691" y="467018"/>
                </a:lnTo>
                <a:lnTo>
                  <a:pt x="2561265" y="450623"/>
                </a:lnTo>
                <a:cubicBezTo>
                  <a:pt x="2570872" y="446262"/>
                  <a:pt x="2581686" y="443655"/>
                  <a:pt x="2594349" y="443884"/>
                </a:cubicBezTo>
                <a:cubicBezTo>
                  <a:pt x="2640435" y="464638"/>
                  <a:pt x="2696955" y="396361"/>
                  <a:pt x="2754324" y="424766"/>
                </a:cubicBezTo>
                <a:cubicBezTo>
                  <a:pt x="2775130" y="430896"/>
                  <a:pt x="2837731" y="423458"/>
                  <a:pt x="2848470" y="405966"/>
                </a:cubicBezTo>
                <a:cubicBezTo>
                  <a:pt x="2861295" y="401100"/>
                  <a:pt x="2876936" y="405309"/>
                  <a:pt x="2881772" y="387260"/>
                </a:cubicBezTo>
                <a:cubicBezTo>
                  <a:pt x="2890299" y="365261"/>
                  <a:pt x="2938134" y="392997"/>
                  <a:pt x="2929932" y="368912"/>
                </a:cubicBezTo>
                <a:cubicBezTo>
                  <a:pt x="2963844" y="387799"/>
                  <a:pt x="2986550" y="341223"/>
                  <a:pt x="3013020" y="327578"/>
                </a:cubicBezTo>
                <a:cubicBezTo>
                  <a:pt x="3040041" y="346996"/>
                  <a:pt x="3068934" y="299222"/>
                  <a:pt x="3127968" y="287613"/>
                </a:cubicBezTo>
                <a:cubicBezTo>
                  <a:pt x="3157770" y="310215"/>
                  <a:pt x="3167695" y="279445"/>
                  <a:pt x="3222191" y="307887"/>
                </a:cubicBezTo>
                <a:cubicBezTo>
                  <a:pt x="3223593" y="304249"/>
                  <a:pt x="3225533" y="300801"/>
                  <a:pt x="3227953" y="297650"/>
                </a:cubicBezTo>
                <a:cubicBezTo>
                  <a:pt x="3242008" y="279345"/>
                  <a:pt x="3268831" y="274825"/>
                  <a:pt x="3287859" y="287558"/>
                </a:cubicBezTo>
                <a:cubicBezTo>
                  <a:pt x="3373144" y="323866"/>
                  <a:pt x="3442657" y="311681"/>
                  <a:pt x="3510042" y="311820"/>
                </a:cubicBezTo>
                <a:cubicBezTo>
                  <a:pt x="3585274" y="306641"/>
                  <a:pt x="3525753" y="258887"/>
                  <a:pt x="3626773" y="290452"/>
                </a:cubicBezTo>
                <a:cubicBezTo>
                  <a:pt x="3633124" y="269835"/>
                  <a:pt x="3644693" y="267134"/>
                  <a:pt x="3666217" y="273255"/>
                </a:cubicBezTo>
                <a:cubicBezTo>
                  <a:pt x="3702502" y="269310"/>
                  <a:pt x="3690563" y="221720"/>
                  <a:pt x="3732427" y="245039"/>
                </a:cubicBezTo>
                <a:cubicBezTo>
                  <a:pt x="3720985" y="220241"/>
                  <a:pt x="3798776" y="224539"/>
                  <a:pt x="3777022" y="200276"/>
                </a:cubicBezTo>
                <a:cubicBezTo>
                  <a:pt x="3781759" y="193499"/>
                  <a:pt x="3786499" y="190723"/>
                  <a:pt x="3791246" y="189996"/>
                </a:cubicBezTo>
                <a:cubicBezTo>
                  <a:pt x="3800740" y="188542"/>
                  <a:pt x="3810265" y="195284"/>
                  <a:pt x="3819864" y="194605"/>
                </a:cubicBezTo>
                <a:lnTo>
                  <a:pt x="3830398" y="188383"/>
                </a:lnTo>
                <a:lnTo>
                  <a:pt x="3834360" y="188992"/>
                </a:lnTo>
                <a:lnTo>
                  <a:pt x="3843715" y="188752"/>
                </a:lnTo>
                <a:lnTo>
                  <a:pt x="3842609" y="197386"/>
                </a:lnTo>
                <a:cubicBezTo>
                  <a:pt x="3840673" y="205638"/>
                  <a:pt x="3839248" y="214671"/>
                  <a:pt x="3853961" y="213380"/>
                </a:cubicBezTo>
                <a:cubicBezTo>
                  <a:pt x="3884396" y="206569"/>
                  <a:pt x="3895082" y="241941"/>
                  <a:pt x="3907640" y="207568"/>
                </a:cubicBezTo>
                <a:lnTo>
                  <a:pt x="3910449" y="197808"/>
                </a:lnTo>
                <a:lnTo>
                  <a:pt x="3917197" y="196121"/>
                </a:lnTo>
                <a:cubicBezTo>
                  <a:pt x="3920833" y="196372"/>
                  <a:pt x="3922919" y="198717"/>
                  <a:pt x="3922400" y="205056"/>
                </a:cubicBezTo>
                <a:cubicBezTo>
                  <a:pt x="3950680" y="178467"/>
                  <a:pt x="3984062" y="218098"/>
                  <a:pt x="4013061" y="224874"/>
                </a:cubicBezTo>
                <a:cubicBezTo>
                  <a:pt x="4034530" y="199451"/>
                  <a:pt x="4074202" y="238734"/>
                  <a:pt x="4134285" y="235592"/>
                </a:cubicBezTo>
                <a:cubicBezTo>
                  <a:pt x="4157674" y="206403"/>
                  <a:pt x="4174806" y="233822"/>
                  <a:pt x="4220717" y="192946"/>
                </a:cubicBezTo>
                <a:cubicBezTo>
                  <a:pt x="4222964" y="196132"/>
                  <a:pt x="4225687" y="199002"/>
                  <a:pt x="4228802" y="201468"/>
                </a:cubicBezTo>
                <a:cubicBezTo>
                  <a:pt x="4246898" y="215792"/>
                  <a:pt x="4274013" y="213632"/>
                  <a:pt x="4289361" y="196642"/>
                </a:cubicBezTo>
                <a:cubicBezTo>
                  <a:pt x="4363212" y="140627"/>
                  <a:pt x="4433598" y="135488"/>
                  <a:pt x="4498913" y="118915"/>
                </a:cubicBezTo>
                <a:cubicBezTo>
                  <a:pt x="4573135" y="105586"/>
                  <a:pt x="4527062" y="166416"/>
                  <a:pt x="4617330" y="111163"/>
                </a:cubicBezTo>
                <a:cubicBezTo>
                  <a:pt x="4628518" y="129608"/>
                  <a:pt x="4640397" y="129405"/>
                  <a:pt x="4659778" y="118219"/>
                </a:cubicBezTo>
                <a:cubicBezTo>
                  <a:pt x="4695929" y="113193"/>
                  <a:pt x="4695958" y="162259"/>
                  <a:pt x="4730870" y="129432"/>
                </a:cubicBezTo>
                <a:cubicBezTo>
                  <a:pt x="4725822" y="156271"/>
                  <a:pt x="4800214" y="133127"/>
                  <a:pt x="4785037" y="161964"/>
                </a:cubicBezTo>
                <a:cubicBezTo>
                  <a:pt x="4810025" y="183633"/>
                  <a:pt x="4819434" y="143205"/>
                  <a:pt x="4844073" y="161768"/>
                </a:cubicBezTo>
                <a:cubicBezTo>
                  <a:pt x="4870797" y="164132"/>
                  <a:pt x="4827288" y="135164"/>
                  <a:pt x="4856454" y="130488"/>
                </a:cubicBezTo>
                <a:cubicBezTo>
                  <a:pt x="4892086" y="129553"/>
                  <a:pt x="4889263" y="81477"/>
                  <a:pt x="4920038" y="140418"/>
                </a:cubicBezTo>
                <a:cubicBezTo>
                  <a:pt x="4956358" y="122308"/>
                  <a:pt x="4965108" y="149263"/>
                  <a:pt x="5016639" y="158905"/>
                </a:cubicBezTo>
                <a:cubicBezTo>
                  <a:pt x="5037063" y="141828"/>
                  <a:pt x="5054534" y="147986"/>
                  <a:pt x="5072009" y="161502"/>
                </a:cubicBezTo>
                <a:cubicBezTo>
                  <a:pt x="5121260" y="153653"/>
                  <a:pt x="5167555" y="172635"/>
                  <a:pt x="5223626" y="177356"/>
                </a:cubicBezTo>
                <a:cubicBezTo>
                  <a:pt x="5282824" y="155243"/>
                  <a:pt x="5315859" y="195041"/>
                  <a:pt x="5375773" y="199913"/>
                </a:cubicBezTo>
                <a:cubicBezTo>
                  <a:pt x="5432511" y="156218"/>
                  <a:pt x="5417550" y="256036"/>
                  <a:pt x="5467502" y="250963"/>
                </a:cubicBezTo>
                <a:cubicBezTo>
                  <a:pt x="5547124" y="209975"/>
                  <a:pt x="5467171" y="283839"/>
                  <a:pt x="5592395" y="265434"/>
                </a:cubicBezTo>
                <a:cubicBezTo>
                  <a:pt x="5599201" y="258867"/>
                  <a:pt x="5614752" y="264706"/>
                  <a:pt x="5613532" y="273379"/>
                </a:cubicBezTo>
                <a:cubicBezTo>
                  <a:pt x="5621390" y="270408"/>
                  <a:pt x="5639720" y="253173"/>
                  <a:pt x="5642173" y="266904"/>
                </a:cubicBezTo>
                <a:cubicBezTo>
                  <a:pt x="5682296" y="267049"/>
                  <a:pt x="5721812" y="257513"/>
                  <a:pt x="5756910" y="239211"/>
                </a:cubicBezTo>
                <a:cubicBezTo>
                  <a:pt x="5834998" y="260050"/>
                  <a:pt x="5790596" y="197229"/>
                  <a:pt x="5846667" y="201786"/>
                </a:cubicBezTo>
                <a:cubicBezTo>
                  <a:pt x="5892444" y="227312"/>
                  <a:pt x="5908324" y="204527"/>
                  <a:pt x="5960732" y="220708"/>
                </a:cubicBezTo>
                <a:cubicBezTo>
                  <a:pt x="5977124" y="175349"/>
                  <a:pt x="6009640" y="223654"/>
                  <a:pt x="6029542" y="210339"/>
                </a:cubicBezTo>
                <a:cubicBezTo>
                  <a:pt x="6063108" y="261420"/>
                  <a:pt x="6107411" y="160034"/>
                  <a:pt x="6141123" y="159923"/>
                </a:cubicBezTo>
                <a:cubicBezTo>
                  <a:pt x="6198068" y="167749"/>
                  <a:pt x="6260628" y="219715"/>
                  <a:pt x="6290640" y="167441"/>
                </a:cubicBezTo>
                <a:cubicBezTo>
                  <a:pt x="6295193" y="188689"/>
                  <a:pt x="6290494" y="217816"/>
                  <a:pt x="6322806" y="213293"/>
                </a:cubicBezTo>
                <a:cubicBezTo>
                  <a:pt x="6335911" y="223881"/>
                  <a:pt x="6338726" y="256581"/>
                  <a:pt x="6364914" y="240140"/>
                </a:cubicBezTo>
                <a:cubicBezTo>
                  <a:pt x="6331888" y="211628"/>
                  <a:pt x="6385856" y="207033"/>
                  <a:pt x="6380420" y="173195"/>
                </a:cubicBezTo>
                <a:cubicBezTo>
                  <a:pt x="6420580" y="151473"/>
                  <a:pt x="6513519" y="179296"/>
                  <a:pt x="6507891" y="118474"/>
                </a:cubicBezTo>
                <a:cubicBezTo>
                  <a:pt x="6519398" y="82452"/>
                  <a:pt x="6571830" y="137398"/>
                  <a:pt x="6571807" y="98636"/>
                </a:cubicBezTo>
                <a:cubicBezTo>
                  <a:pt x="6594702" y="123421"/>
                  <a:pt x="6634676" y="82071"/>
                  <a:pt x="6671880" y="82931"/>
                </a:cubicBezTo>
                <a:cubicBezTo>
                  <a:pt x="6678855" y="65407"/>
                  <a:pt x="6687415" y="66196"/>
                  <a:pt x="6702266" y="75470"/>
                </a:cubicBezTo>
                <a:cubicBezTo>
                  <a:pt x="6747004" y="78450"/>
                  <a:pt x="6798307" y="53072"/>
                  <a:pt x="6845802" y="24496"/>
                </a:cubicBez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68322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CE93F18-6798-9321-975F-B8F0FD4439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D701E13D-F357-A436-BB1D-B810521E9B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789F859-D2D3-BBDA-2BF5-27D8AAFD03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6331A76-0CEF-50F4-04B4-9E2B524545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3008" y="-599639"/>
            <a:ext cx="3616913" cy="2795160"/>
          </a:xfrm>
        </p:spPr>
        <p:txBody>
          <a:bodyPr>
            <a:normAutofit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MISJA</a:t>
            </a:r>
            <a:b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WIZJA</a:t>
            </a:r>
            <a:b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WARTOŚCI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AAA97738-1C05-57FF-2E1B-D51164FADA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6287" y="4121253"/>
            <a:ext cx="3125337" cy="1136843"/>
          </a:xfrm>
        </p:spPr>
        <p:txBody>
          <a:bodyPr>
            <a:normAutofit/>
          </a:bodyPr>
          <a:lstStyle/>
          <a:p>
            <a:endParaRPr lang="pl-PL" sz="1800"/>
          </a:p>
        </p:txBody>
      </p:sp>
      <p:pic>
        <p:nvPicPr>
          <p:cNvPr id="5" name="Obraz 4" descr="Obraz zawierający tekst, plakat, Taniec, projekt graficzny&#10;&#10;Zawartość wygenerowana przez AI może być niepoprawna.">
            <a:extLst>
              <a:ext uri="{FF2B5EF4-FFF2-40B4-BE49-F238E27FC236}">
                <a16:creationId xmlns:a16="http://schemas.microsoft.com/office/drawing/2014/main" id="{B8E7C32A-27A0-7304-0B3C-C2FFA742BE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0680" y="0"/>
            <a:ext cx="7081320" cy="5002347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EF6334BC-5F82-346C-3543-846B82CFD5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451" y="2073069"/>
            <a:ext cx="4029008" cy="5030464"/>
          </a:xfrm>
          <a:prstGeom prst="rect">
            <a:avLst/>
          </a:prstGeom>
        </p:spPr>
      </p:pic>
      <p:pic>
        <p:nvPicPr>
          <p:cNvPr id="9" name="Obraz 8" descr="Obraz zawierający tekst, zrzut ekranu, Czcionka, logo&#10;&#10;Zawartość wygenerowana przez AI może być niepoprawna.">
            <a:extLst>
              <a:ext uri="{FF2B5EF4-FFF2-40B4-BE49-F238E27FC236}">
                <a16:creationId xmlns:a16="http://schemas.microsoft.com/office/drawing/2014/main" id="{C8AF0C20-7893-9B9A-6B20-C8EDB39951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7671" y="2206265"/>
            <a:ext cx="3572707" cy="4779610"/>
          </a:xfrm>
          <a:prstGeom prst="rect">
            <a:avLst/>
          </a:prstGeom>
        </p:spPr>
      </p:pic>
      <p:sp>
        <p:nvSpPr>
          <p:cNvPr id="7" name="pole tekstowe 6">
            <a:extLst>
              <a:ext uri="{FF2B5EF4-FFF2-40B4-BE49-F238E27FC236}">
                <a16:creationId xmlns:a16="http://schemas.microsoft.com/office/drawing/2014/main" id="{58815C87-6792-AF88-D836-EF7FCB45C29C}"/>
              </a:ext>
            </a:extLst>
          </p:cNvPr>
          <p:cNvSpPr txBox="1"/>
          <p:nvPr/>
        </p:nvSpPr>
        <p:spPr>
          <a:xfrm>
            <a:off x="7978018" y="5098832"/>
            <a:ext cx="60960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2000" b="1" dirty="0">
                <a:solidFill>
                  <a:schemeClr val="accent1">
                    <a:lumMod val="75000"/>
                  </a:schemeClr>
                </a:solidFill>
              </a:rPr>
              <a:t>Misja - dlaczego związek istnieje </a:t>
            </a:r>
          </a:p>
          <a:p>
            <a:r>
              <a:rPr lang="pl-PL" sz="2000" b="1" dirty="0">
                <a:solidFill>
                  <a:schemeClr val="accent1">
                    <a:lumMod val="75000"/>
                  </a:schemeClr>
                </a:solidFill>
              </a:rPr>
              <a:t>Wizja - dokąd zmierza </a:t>
            </a:r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8F46F9E5-B139-6C98-BA8E-B638E6A67B6F}"/>
              </a:ext>
            </a:extLst>
          </p:cNvPr>
          <p:cNvSpPr txBox="1"/>
          <p:nvPr/>
        </p:nvSpPr>
        <p:spPr>
          <a:xfrm>
            <a:off x="7837714" y="5903204"/>
            <a:ext cx="43542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/>
              <a:t>Źródło: </a:t>
            </a:r>
            <a:r>
              <a:rPr lang="pl-PL" sz="1200" dirty="0">
                <a:hlinkClick r:id="rId5"/>
              </a:rPr>
              <a:t>https://strategicplan.ittf.com/</a:t>
            </a:r>
            <a:r>
              <a:rPr lang="pl-PL" sz="1200" dirty="0"/>
              <a:t> </a:t>
            </a:r>
          </a:p>
          <a:p>
            <a:r>
              <a:rPr lang="pl-PL" sz="1200" dirty="0"/>
              <a:t> </a:t>
            </a:r>
            <a:r>
              <a:rPr lang="pl-PL" sz="1200" dirty="0">
                <a:hlinkClick r:id="rId6"/>
              </a:rPr>
              <a:t>https://worldathletics.org/about-iaaf/documents/strategic-plans-and-reports</a:t>
            </a:r>
            <a:r>
              <a:rPr lang="pl-PL" sz="1200" dirty="0"/>
              <a:t> </a:t>
            </a:r>
          </a:p>
          <a:p>
            <a:r>
              <a:rPr lang="pl-PL" sz="1200" dirty="0">
                <a:hlinkClick r:id="rId7"/>
              </a:rPr>
              <a:t>https://www.gov.pl/web/sport/kodeks-dobrego-zarzadzania-dla-pzs45</a:t>
            </a:r>
            <a:r>
              <a:rPr lang="pl-PL" sz="1200" dirty="0"/>
              <a:t> </a:t>
            </a:r>
          </a:p>
          <a:p>
            <a:endParaRPr lang="pl-PL" sz="1200" dirty="0"/>
          </a:p>
        </p:txBody>
      </p:sp>
    </p:spTree>
    <p:extLst>
      <p:ext uri="{BB962C8B-B14F-4D97-AF65-F5344CB8AC3E}">
        <p14:creationId xmlns:p14="http://schemas.microsoft.com/office/powerpoint/2010/main" val="42405059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4390791-29C5-67C7-B1FD-E670DA861D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6BE2816C-7705-ED53-851B-8BBE8A2704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E360618-3412-4D52-0B96-60E7D1177B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EC040469-B89D-EAA6-BC0E-D76BA51447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3408" y="992094"/>
            <a:ext cx="3616913" cy="2795160"/>
          </a:xfrm>
        </p:spPr>
        <p:txBody>
          <a:bodyPr>
            <a:normAutofit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MISJA</a:t>
            </a:r>
            <a:b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WIZJA</a:t>
            </a:r>
            <a:b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WARTOŚCI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A1697C75-4278-720B-DAA0-93B686F8D6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6287" y="4121253"/>
            <a:ext cx="3125337" cy="1136843"/>
          </a:xfrm>
        </p:spPr>
        <p:txBody>
          <a:bodyPr>
            <a:normAutofit/>
          </a:bodyPr>
          <a:lstStyle/>
          <a:p>
            <a:r>
              <a:rPr lang="pl-PL" sz="1800" dirty="0"/>
              <a:t>PZPN</a:t>
            </a:r>
          </a:p>
        </p:txBody>
      </p:sp>
      <p:pic>
        <p:nvPicPr>
          <p:cNvPr id="6" name="Obraz 5" descr="Obraz zawierający tekst, obuwie, ubrania, drzewo&#10;&#10;Zawartość wygenerowana przez AI może być niepoprawna.">
            <a:extLst>
              <a:ext uri="{FF2B5EF4-FFF2-40B4-BE49-F238E27FC236}">
                <a16:creationId xmlns:a16="http://schemas.microsoft.com/office/drawing/2014/main" id="{8F7D09F5-840E-F78D-036E-DEB480DA25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7911" y="0"/>
            <a:ext cx="6295869" cy="6858000"/>
          </a:xfrm>
          <a:prstGeom prst="rect">
            <a:avLst/>
          </a:prstGeom>
        </p:spPr>
      </p:pic>
      <p:sp>
        <p:nvSpPr>
          <p:cNvPr id="5" name="pole tekstowe 4">
            <a:extLst>
              <a:ext uri="{FF2B5EF4-FFF2-40B4-BE49-F238E27FC236}">
                <a16:creationId xmlns:a16="http://schemas.microsoft.com/office/drawing/2014/main" id="{7AD62407-B06B-246A-DBC9-3DEE814F1BA3}"/>
              </a:ext>
            </a:extLst>
          </p:cNvPr>
          <p:cNvSpPr txBox="1"/>
          <p:nvPr/>
        </p:nvSpPr>
        <p:spPr>
          <a:xfrm>
            <a:off x="55389" y="6255435"/>
            <a:ext cx="49738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 dirty="0" err="1"/>
              <a:t>Źródło:</a:t>
            </a:r>
            <a:r>
              <a:rPr lang="pl-PL" sz="1200" dirty="0" err="1">
                <a:hlinkClick r:id="rId3"/>
              </a:rPr>
              <a:t>https</a:t>
            </a:r>
            <a:r>
              <a:rPr lang="pl-PL" sz="1200" dirty="0">
                <a:hlinkClick r:id="rId3"/>
              </a:rPr>
              <a:t>://www.pzpn.pl/public/files/strategia%20zrownowazonego%20rozwoju_2023_2027.pdf</a:t>
            </a:r>
            <a:r>
              <a:rPr lang="pl-PL" sz="12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1587678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7F8C97-19B0-C4E2-1B3B-B9A95E8A4C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>
            <a:extLst>
              <a:ext uri="{FF2B5EF4-FFF2-40B4-BE49-F238E27FC236}">
                <a16:creationId xmlns:a16="http://schemas.microsoft.com/office/drawing/2014/main" id="{5017B25E-5BA7-B04C-D4ED-71AEC11A2C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6987" y="3955089"/>
            <a:ext cx="1452199" cy="973365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0134B820-03FA-DEB1-D2A4-7B444495B336}"/>
              </a:ext>
            </a:extLst>
          </p:cNvPr>
          <p:cNvSpPr txBox="1"/>
          <p:nvPr/>
        </p:nvSpPr>
        <p:spPr>
          <a:xfrm>
            <a:off x="2212933" y="26591"/>
            <a:ext cx="729879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0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MASTER PLAN ROZWOJU </a:t>
            </a:r>
          </a:p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0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POLSKICH ZWIĄZKÓW SPORTOWYCH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1C2835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grpSp>
        <p:nvGrpSpPr>
          <p:cNvPr id="3" name="Grupa 2">
            <a:extLst>
              <a:ext uri="{FF2B5EF4-FFF2-40B4-BE49-F238E27FC236}">
                <a16:creationId xmlns:a16="http://schemas.microsoft.com/office/drawing/2014/main" id="{2AF14454-D798-E039-1D23-85D8B46CA323}"/>
              </a:ext>
            </a:extLst>
          </p:cNvPr>
          <p:cNvGrpSpPr/>
          <p:nvPr/>
        </p:nvGrpSpPr>
        <p:grpSpPr>
          <a:xfrm>
            <a:off x="289162" y="1447529"/>
            <a:ext cx="9987086" cy="4645468"/>
            <a:chOff x="1116013" y="1492044"/>
            <a:chExt cx="9987086" cy="4645468"/>
          </a:xfrm>
        </p:grpSpPr>
        <p:sp>
          <p:nvSpPr>
            <p:cNvPr id="50" name="Shape 9155">
              <a:extLst>
                <a:ext uri="{FF2B5EF4-FFF2-40B4-BE49-F238E27FC236}">
                  <a16:creationId xmlns:a16="http://schemas.microsoft.com/office/drawing/2014/main" id="{573C5B1C-B4FF-C2B1-A934-1126E90C5D3D}"/>
                </a:ext>
              </a:extLst>
            </p:cNvPr>
            <p:cNvSpPr/>
            <p:nvPr/>
          </p:nvSpPr>
          <p:spPr>
            <a:xfrm>
              <a:off x="7575670" y="2197032"/>
              <a:ext cx="1859597" cy="1859599"/>
            </a:xfrm>
            <a:prstGeom prst="ellipse">
              <a:avLst/>
            </a:prstGeom>
            <a:solidFill>
              <a:schemeClr val="accent6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49" name="Shape 9155">
              <a:extLst>
                <a:ext uri="{FF2B5EF4-FFF2-40B4-BE49-F238E27FC236}">
                  <a16:creationId xmlns:a16="http://schemas.microsoft.com/office/drawing/2014/main" id="{9BA8239B-04CC-BDA7-57C1-F3887D36CBBA}"/>
                </a:ext>
              </a:extLst>
            </p:cNvPr>
            <p:cNvSpPr/>
            <p:nvPr/>
          </p:nvSpPr>
          <p:spPr>
            <a:xfrm>
              <a:off x="2633515" y="2197032"/>
              <a:ext cx="1859597" cy="1859599"/>
            </a:xfrm>
            <a:prstGeom prst="ellipse">
              <a:avLst/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44" name="Shape 9155">
              <a:extLst>
                <a:ext uri="{FF2B5EF4-FFF2-40B4-BE49-F238E27FC236}">
                  <a16:creationId xmlns:a16="http://schemas.microsoft.com/office/drawing/2014/main" id="{00E98C6F-6560-5CCD-8E63-9C1D185356E1}"/>
                </a:ext>
              </a:extLst>
            </p:cNvPr>
            <p:cNvSpPr/>
            <p:nvPr/>
          </p:nvSpPr>
          <p:spPr>
            <a:xfrm>
              <a:off x="6464308" y="1492044"/>
              <a:ext cx="1859597" cy="1859599"/>
            </a:xfrm>
            <a:prstGeom prst="ellipse">
              <a:avLst/>
            </a:pr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42" name="Shape 9159">
              <a:extLst>
                <a:ext uri="{FF2B5EF4-FFF2-40B4-BE49-F238E27FC236}">
                  <a16:creationId xmlns:a16="http://schemas.microsoft.com/office/drawing/2014/main" id="{882DA7DE-B21C-EFB1-4D64-D7B23CE05ED0}"/>
                </a:ext>
              </a:extLst>
            </p:cNvPr>
            <p:cNvSpPr/>
            <p:nvPr/>
          </p:nvSpPr>
          <p:spPr>
            <a:xfrm>
              <a:off x="3892929" y="1492044"/>
              <a:ext cx="1859597" cy="1859598"/>
            </a:xfrm>
            <a:prstGeom prst="ellipse">
              <a:avLst/>
            </a:pr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38" name="Shape 9165">
              <a:extLst>
                <a:ext uri="{FF2B5EF4-FFF2-40B4-BE49-F238E27FC236}">
                  <a16:creationId xmlns:a16="http://schemas.microsoft.com/office/drawing/2014/main" id="{6CCF4F5D-F54E-DF20-CEF4-68DC9884A8EA}"/>
                </a:ext>
              </a:extLst>
            </p:cNvPr>
            <p:cNvSpPr/>
            <p:nvPr/>
          </p:nvSpPr>
          <p:spPr>
            <a:xfrm>
              <a:off x="8899605" y="1492044"/>
              <a:ext cx="2176383" cy="2176386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36" name="Shape 9168">
              <a:extLst>
                <a:ext uri="{FF2B5EF4-FFF2-40B4-BE49-F238E27FC236}">
                  <a16:creationId xmlns:a16="http://schemas.microsoft.com/office/drawing/2014/main" id="{A6661FC2-43E3-6715-697B-674441CE4598}"/>
                </a:ext>
              </a:extLst>
            </p:cNvPr>
            <p:cNvSpPr/>
            <p:nvPr/>
          </p:nvSpPr>
          <p:spPr>
            <a:xfrm>
              <a:off x="1116013" y="1492044"/>
              <a:ext cx="2181425" cy="2181428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5" name="Shape 9180">
              <a:extLst>
                <a:ext uri="{FF2B5EF4-FFF2-40B4-BE49-F238E27FC236}">
                  <a16:creationId xmlns:a16="http://schemas.microsoft.com/office/drawing/2014/main" id="{438E338D-9E27-D0F4-89A9-278473F9AA1C}"/>
                </a:ext>
              </a:extLst>
            </p:cNvPr>
            <p:cNvSpPr/>
            <p:nvPr/>
          </p:nvSpPr>
          <p:spPr>
            <a:xfrm>
              <a:off x="2116042" y="3846520"/>
              <a:ext cx="181366" cy="181367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6" name="Shape 9181">
              <a:extLst>
                <a:ext uri="{FF2B5EF4-FFF2-40B4-BE49-F238E27FC236}">
                  <a16:creationId xmlns:a16="http://schemas.microsoft.com/office/drawing/2014/main" id="{82A6523D-1F15-C535-F142-C8D13F0EF56C}"/>
                </a:ext>
              </a:extLst>
            </p:cNvPr>
            <p:cNvSpPr/>
            <p:nvPr/>
          </p:nvSpPr>
          <p:spPr>
            <a:xfrm>
              <a:off x="4709733" y="3846520"/>
              <a:ext cx="181367" cy="181367"/>
            </a:xfrm>
            <a:prstGeom prst="ellipse">
              <a:avLst/>
            </a:pr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7" name="Shape 9182">
              <a:extLst>
                <a:ext uri="{FF2B5EF4-FFF2-40B4-BE49-F238E27FC236}">
                  <a16:creationId xmlns:a16="http://schemas.microsoft.com/office/drawing/2014/main" id="{0C9076A9-535D-1A6B-1DA1-9AFCEB8CF6F0}"/>
                </a:ext>
              </a:extLst>
            </p:cNvPr>
            <p:cNvSpPr/>
            <p:nvPr/>
          </p:nvSpPr>
          <p:spPr>
            <a:xfrm>
              <a:off x="9897116" y="3846520"/>
              <a:ext cx="181367" cy="18136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8" name="Shape 9183">
              <a:extLst>
                <a:ext uri="{FF2B5EF4-FFF2-40B4-BE49-F238E27FC236}">
                  <a16:creationId xmlns:a16="http://schemas.microsoft.com/office/drawing/2014/main" id="{E93F742A-CC95-1C93-B647-898E87D2ABCE}"/>
                </a:ext>
              </a:extLst>
            </p:cNvPr>
            <p:cNvSpPr/>
            <p:nvPr/>
          </p:nvSpPr>
          <p:spPr>
            <a:xfrm>
              <a:off x="7303425" y="3846520"/>
              <a:ext cx="181367" cy="181367"/>
            </a:xfrm>
            <a:prstGeom prst="ellipse">
              <a:avLst/>
            </a:pr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9" name="Shape 9184">
              <a:extLst>
                <a:ext uri="{FF2B5EF4-FFF2-40B4-BE49-F238E27FC236}">
                  <a16:creationId xmlns:a16="http://schemas.microsoft.com/office/drawing/2014/main" id="{64733911-22F2-473E-ACB7-DCA8BF6AF2EB}"/>
                </a:ext>
              </a:extLst>
            </p:cNvPr>
            <p:cNvSpPr/>
            <p:nvPr/>
          </p:nvSpPr>
          <p:spPr>
            <a:xfrm>
              <a:off x="3412887" y="4704075"/>
              <a:ext cx="181367" cy="181367"/>
            </a:xfrm>
            <a:prstGeom prst="ellipse">
              <a:avLst/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20" name="Shape 9185">
              <a:extLst>
                <a:ext uri="{FF2B5EF4-FFF2-40B4-BE49-F238E27FC236}">
                  <a16:creationId xmlns:a16="http://schemas.microsoft.com/office/drawing/2014/main" id="{61C061EE-239E-7ABB-7BAE-1D734F31883E}"/>
                </a:ext>
              </a:extLst>
            </p:cNvPr>
            <p:cNvSpPr/>
            <p:nvPr/>
          </p:nvSpPr>
          <p:spPr>
            <a:xfrm>
              <a:off x="6006579" y="4704075"/>
              <a:ext cx="181367" cy="181367"/>
            </a:xfrm>
            <a:prstGeom prst="ellipse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21" name="Shape 9186">
              <a:extLst>
                <a:ext uri="{FF2B5EF4-FFF2-40B4-BE49-F238E27FC236}">
                  <a16:creationId xmlns:a16="http://schemas.microsoft.com/office/drawing/2014/main" id="{468669D5-5451-C81A-2A03-46BD9302B297}"/>
                </a:ext>
              </a:extLst>
            </p:cNvPr>
            <p:cNvSpPr/>
            <p:nvPr/>
          </p:nvSpPr>
          <p:spPr>
            <a:xfrm>
              <a:off x="8600270" y="4704075"/>
              <a:ext cx="181367" cy="181367"/>
            </a:xfrm>
            <a:prstGeom prst="ellipse">
              <a:avLst/>
            </a:prstGeom>
            <a:solidFill>
              <a:schemeClr val="accent6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9" name="Shape 9188">
              <a:extLst>
                <a:ext uri="{FF2B5EF4-FFF2-40B4-BE49-F238E27FC236}">
                  <a16:creationId xmlns:a16="http://schemas.microsoft.com/office/drawing/2014/main" id="{936A2459-C8F0-AD87-F3D5-4C8C827B3C30}"/>
                </a:ext>
              </a:extLst>
            </p:cNvPr>
            <p:cNvSpPr/>
            <p:nvPr/>
          </p:nvSpPr>
          <p:spPr>
            <a:xfrm>
              <a:off x="2301481" y="3999087"/>
              <a:ext cx="1111406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0" name="Shape 9189">
              <a:extLst>
                <a:ext uri="{FF2B5EF4-FFF2-40B4-BE49-F238E27FC236}">
                  <a16:creationId xmlns:a16="http://schemas.microsoft.com/office/drawing/2014/main" id="{B72F854A-50CD-EFDC-44E4-C36ED11193D6}"/>
                </a:ext>
              </a:extLst>
            </p:cNvPr>
            <p:cNvSpPr/>
            <p:nvPr/>
          </p:nvSpPr>
          <p:spPr>
            <a:xfrm flipV="1">
              <a:off x="3598326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1" name="Shape 9190">
              <a:extLst>
                <a:ext uri="{FF2B5EF4-FFF2-40B4-BE49-F238E27FC236}">
                  <a16:creationId xmlns:a16="http://schemas.microsoft.com/office/drawing/2014/main" id="{F793E47E-44CF-B09A-458B-F644B7C0E2E8}"/>
                </a:ext>
              </a:extLst>
            </p:cNvPr>
            <p:cNvSpPr/>
            <p:nvPr/>
          </p:nvSpPr>
          <p:spPr>
            <a:xfrm>
              <a:off x="4895172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2" name="Shape 9191">
              <a:extLst>
                <a:ext uri="{FF2B5EF4-FFF2-40B4-BE49-F238E27FC236}">
                  <a16:creationId xmlns:a16="http://schemas.microsoft.com/office/drawing/2014/main" id="{5A4D8B85-2ACD-2104-79B9-12CE0DD2CC5C}"/>
                </a:ext>
              </a:extLst>
            </p:cNvPr>
            <p:cNvSpPr/>
            <p:nvPr/>
          </p:nvSpPr>
          <p:spPr>
            <a:xfrm flipV="1">
              <a:off x="6192018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3" name="Shape 9192">
              <a:extLst>
                <a:ext uri="{FF2B5EF4-FFF2-40B4-BE49-F238E27FC236}">
                  <a16:creationId xmlns:a16="http://schemas.microsoft.com/office/drawing/2014/main" id="{A3D6B02E-1E2E-1FA9-4924-B0AFE380C947}"/>
                </a:ext>
              </a:extLst>
            </p:cNvPr>
            <p:cNvSpPr/>
            <p:nvPr/>
          </p:nvSpPr>
          <p:spPr>
            <a:xfrm>
              <a:off x="7484989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4" name="Shape 9193">
              <a:extLst>
                <a:ext uri="{FF2B5EF4-FFF2-40B4-BE49-F238E27FC236}">
                  <a16:creationId xmlns:a16="http://schemas.microsoft.com/office/drawing/2014/main" id="{C45E92EA-349F-6F4D-75F1-D79FBCEEF593}"/>
                </a:ext>
              </a:extLst>
            </p:cNvPr>
            <p:cNvSpPr/>
            <p:nvPr/>
          </p:nvSpPr>
          <p:spPr>
            <a:xfrm flipV="1">
              <a:off x="8781834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1" name="Freeform 82">
              <a:extLst>
                <a:ext uri="{FF2B5EF4-FFF2-40B4-BE49-F238E27FC236}">
                  <a16:creationId xmlns:a16="http://schemas.microsoft.com/office/drawing/2014/main" id="{BAD9C430-19B6-975D-D887-CF0371EAB2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1394" y="2191277"/>
              <a:ext cx="830660" cy="777920"/>
            </a:xfrm>
            <a:custGeom>
              <a:avLst/>
              <a:gdLst>
                <a:gd name="T0" fmla="*/ 28575 w 899753"/>
                <a:gd name="T1" fmla="*/ 444500 h 842603"/>
                <a:gd name="T2" fmla="*/ 65686 w 899753"/>
                <a:gd name="T3" fmla="*/ 449899 h 842603"/>
                <a:gd name="T4" fmla="*/ 366179 w 899753"/>
                <a:gd name="T5" fmla="*/ 475816 h 842603"/>
                <a:gd name="T6" fmla="*/ 366179 w 899753"/>
                <a:gd name="T7" fmla="*/ 533047 h 842603"/>
                <a:gd name="T8" fmla="*/ 535161 w 899753"/>
                <a:gd name="T9" fmla="*/ 533047 h 842603"/>
                <a:gd name="T10" fmla="*/ 535161 w 899753"/>
                <a:gd name="T11" fmla="*/ 475816 h 842603"/>
                <a:gd name="T12" fmla="*/ 835293 w 899753"/>
                <a:gd name="T13" fmla="*/ 449899 h 842603"/>
                <a:gd name="T14" fmla="*/ 872765 w 899753"/>
                <a:gd name="T15" fmla="*/ 444500 h 842603"/>
                <a:gd name="T16" fmla="*/ 872765 w 899753"/>
                <a:gd name="T17" fmla="*/ 769894 h 842603"/>
                <a:gd name="T18" fmla="*/ 799984 w 899753"/>
                <a:gd name="T19" fmla="*/ 842603 h 842603"/>
                <a:gd name="T20" fmla="*/ 101356 w 899753"/>
                <a:gd name="T21" fmla="*/ 842603 h 842603"/>
                <a:gd name="T22" fmla="*/ 28575 w 899753"/>
                <a:gd name="T23" fmla="*/ 769894 h 842603"/>
                <a:gd name="T24" fmla="*/ 348884 w 899753"/>
                <a:gd name="T25" fmla="*/ 56606 h 842603"/>
                <a:gd name="T26" fmla="*/ 337362 w 899753"/>
                <a:gd name="T27" fmla="*/ 68144 h 842603"/>
                <a:gd name="T28" fmla="*/ 337362 w 899753"/>
                <a:gd name="T29" fmla="*/ 112852 h 842603"/>
                <a:gd name="T30" fmla="*/ 562391 w 899753"/>
                <a:gd name="T31" fmla="*/ 112852 h 842603"/>
                <a:gd name="T32" fmla="*/ 562391 w 899753"/>
                <a:gd name="T33" fmla="*/ 68144 h 842603"/>
                <a:gd name="T34" fmla="*/ 550869 w 899753"/>
                <a:gd name="T35" fmla="*/ 56606 h 842603"/>
                <a:gd name="T36" fmla="*/ 325841 w 899753"/>
                <a:gd name="T37" fmla="*/ 0 h 842603"/>
                <a:gd name="T38" fmla="*/ 573912 w 899753"/>
                <a:gd name="T39" fmla="*/ 0 h 842603"/>
                <a:gd name="T40" fmla="*/ 618558 w 899753"/>
                <a:gd name="T41" fmla="*/ 44708 h 842603"/>
                <a:gd name="T42" fmla="*/ 618558 w 899753"/>
                <a:gd name="T43" fmla="*/ 112852 h 842603"/>
                <a:gd name="T44" fmla="*/ 855108 w 899753"/>
                <a:gd name="T45" fmla="*/ 112852 h 842603"/>
                <a:gd name="T46" fmla="*/ 899753 w 899753"/>
                <a:gd name="T47" fmla="*/ 157561 h 842603"/>
                <a:gd name="T48" fmla="*/ 899753 w 899753"/>
                <a:gd name="T49" fmla="*/ 390837 h 842603"/>
                <a:gd name="T50" fmla="*/ 816943 w 899753"/>
                <a:gd name="T51" fmla="*/ 402014 h 842603"/>
                <a:gd name="T52" fmla="*/ 534307 w 899753"/>
                <a:gd name="T53" fmla="*/ 425089 h 842603"/>
                <a:gd name="T54" fmla="*/ 534307 w 899753"/>
                <a:gd name="T55" fmla="*/ 366320 h 842603"/>
                <a:gd name="T56" fmla="*/ 365446 w 899753"/>
                <a:gd name="T57" fmla="*/ 366320 h 842603"/>
                <a:gd name="T58" fmla="*/ 365446 w 899753"/>
                <a:gd name="T59" fmla="*/ 425089 h 842603"/>
                <a:gd name="T60" fmla="*/ 83171 w 899753"/>
                <a:gd name="T61" fmla="*/ 402014 h 842603"/>
                <a:gd name="T62" fmla="*/ 0 w 899753"/>
                <a:gd name="T63" fmla="*/ 390837 h 842603"/>
                <a:gd name="T64" fmla="*/ 0 w 899753"/>
                <a:gd name="T65" fmla="*/ 157561 h 842603"/>
                <a:gd name="T66" fmla="*/ 44646 w 899753"/>
                <a:gd name="T67" fmla="*/ 112852 h 842603"/>
                <a:gd name="T68" fmla="*/ 281195 w 899753"/>
                <a:gd name="T69" fmla="*/ 112852 h 842603"/>
                <a:gd name="T70" fmla="*/ 281195 w 899753"/>
                <a:gd name="T71" fmla="*/ 44708 h 84260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899753" h="842603">
                  <a:moveTo>
                    <a:pt x="28575" y="444500"/>
                  </a:moveTo>
                  <a:lnTo>
                    <a:pt x="65686" y="449899"/>
                  </a:lnTo>
                  <a:cubicBezTo>
                    <a:pt x="165490" y="463937"/>
                    <a:pt x="265654" y="472576"/>
                    <a:pt x="366179" y="475816"/>
                  </a:cubicBezTo>
                  <a:lnTo>
                    <a:pt x="366179" y="533047"/>
                  </a:lnTo>
                  <a:lnTo>
                    <a:pt x="535161" y="533047"/>
                  </a:lnTo>
                  <a:lnTo>
                    <a:pt x="535161" y="475816"/>
                  </a:lnTo>
                  <a:cubicBezTo>
                    <a:pt x="635325" y="472576"/>
                    <a:pt x="735850" y="463937"/>
                    <a:pt x="835293" y="449899"/>
                  </a:cubicBezTo>
                  <a:lnTo>
                    <a:pt x="872765" y="444500"/>
                  </a:lnTo>
                  <a:lnTo>
                    <a:pt x="872765" y="769894"/>
                  </a:lnTo>
                  <a:lnTo>
                    <a:pt x="799984" y="842603"/>
                  </a:lnTo>
                  <a:lnTo>
                    <a:pt x="101356" y="842603"/>
                  </a:lnTo>
                  <a:lnTo>
                    <a:pt x="28575" y="769894"/>
                  </a:lnTo>
                  <a:lnTo>
                    <a:pt x="28575" y="444500"/>
                  </a:lnTo>
                  <a:close/>
                  <a:moveTo>
                    <a:pt x="348884" y="56606"/>
                  </a:moveTo>
                  <a:lnTo>
                    <a:pt x="337362" y="68144"/>
                  </a:lnTo>
                  <a:lnTo>
                    <a:pt x="337362" y="112852"/>
                  </a:lnTo>
                  <a:lnTo>
                    <a:pt x="562391" y="112852"/>
                  </a:lnTo>
                  <a:lnTo>
                    <a:pt x="562391" y="68144"/>
                  </a:lnTo>
                  <a:lnTo>
                    <a:pt x="550869" y="56606"/>
                  </a:lnTo>
                  <a:lnTo>
                    <a:pt x="348884" y="56606"/>
                  </a:lnTo>
                  <a:close/>
                  <a:moveTo>
                    <a:pt x="325841" y="0"/>
                  </a:moveTo>
                  <a:lnTo>
                    <a:pt x="573912" y="0"/>
                  </a:lnTo>
                  <a:lnTo>
                    <a:pt x="618558" y="44708"/>
                  </a:lnTo>
                  <a:lnTo>
                    <a:pt x="618558" y="112852"/>
                  </a:lnTo>
                  <a:lnTo>
                    <a:pt x="855108" y="112852"/>
                  </a:lnTo>
                  <a:lnTo>
                    <a:pt x="899753" y="157561"/>
                  </a:lnTo>
                  <a:lnTo>
                    <a:pt x="899753" y="390837"/>
                  </a:lnTo>
                  <a:lnTo>
                    <a:pt x="816943" y="402014"/>
                  </a:lnTo>
                  <a:cubicBezTo>
                    <a:pt x="722971" y="414633"/>
                    <a:pt x="628639" y="422205"/>
                    <a:pt x="534307" y="425089"/>
                  </a:cubicBezTo>
                  <a:lnTo>
                    <a:pt x="534307" y="366320"/>
                  </a:lnTo>
                  <a:lnTo>
                    <a:pt x="365446" y="366320"/>
                  </a:lnTo>
                  <a:lnTo>
                    <a:pt x="365446" y="425089"/>
                  </a:lnTo>
                  <a:cubicBezTo>
                    <a:pt x="271114" y="422205"/>
                    <a:pt x="176782" y="414633"/>
                    <a:pt x="83171" y="402014"/>
                  </a:cubicBezTo>
                  <a:lnTo>
                    <a:pt x="0" y="390837"/>
                  </a:lnTo>
                  <a:lnTo>
                    <a:pt x="0" y="157561"/>
                  </a:lnTo>
                  <a:lnTo>
                    <a:pt x="44646" y="112852"/>
                  </a:lnTo>
                  <a:lnTo>
                    <a:pt x="281195" y="112852"/>
                  </a:lnTo>
                  <a:lnTo>
                    <a:pt x="281195" y="44708"/>
                  </a:lnTo>
                  <a:lnTo>
                    <a:pt x="32584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2" name="Freeform 80">
              <a:extLst>
                <a:ext uri="{FF2B5EF4-FFF2-40B4-BE49-F238E27FC236}">
                  <a16:creationId xmlns:a16="http://schemas.microsoft.com/office/drawing/2014/main" id="{A6FB0607-495C-4356-0045-7C9425C419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7224" y="2732671"/>
              <a:ext cx="492179" cy="788319"/>
            </a:xfrm>
            <a:custGeom>
              <a:avLst/>
              <a:gdLst>
                <a:gd name="T0" fmla="*/ 252413 w 561616"/>
                <a:gd name="T1" fmla="*/ 533400 h 899752"/>
                <a:gd name="T2" fmla="*/ 309199 w 561616"/>
                <a:gd name="T3" fmla="*/ 533400 h 899752"/>
                <a:gd name="T4" fmla="*/ 309199 w 561616"/>
                <a:gd name="T5" fmla="*/ 590188 h 899752"/>
                <a:gd name="T6" fmla="*/ 252413 w 561616"/>
                <a:gd name="T7" fmla="*/ 590188 h 899752"/>
                <a:gd name="T8" fmla="*/ 252763 w 561616"/>
                <a:gd name="T9" fmla="*/ 478263 h 899752"/>
                <a:gd name="T10" fmla="*/ 252763 w 561616"/>
                <a:gd name="T11" fmla="*/ 490131 h 899752"/>
                <a:gd name="T12" fmla="*/ 153527 w 561616"/>
                <a:gd name="T13" fmla="*/ 589389 h 899752"/>
                <a:gd name="T14" fmla="*/ 112179 w 561616"/>
                <a:gd name="T15" fmla="*/ 688648 h 899752"/>
                <a:gd name="T16" fmla="*/ 112179 w 561616"/>
                <a:gd name="T17" fmla="*/ 703033 h 899752"/>
                <a:gd name="T18" fmla="*/ 252763 w 561616"/>
                <a:gd name="T19" fmla="*/ 646931 h 899752"/>
                <a:gd name="T20" fmla="*/ 308853 w 561616"/>
                <a:gd name="T21" fmla="*/ 646931 h 899752"/>
                <a:gd name="T22" fmla="*/ 449436 w 561616"/>
                <a:gd name="T23" fmla="*/ 703033 h 899752"/>
                <a:gd name="T24" fmla="*/ 449436 w 561616"/>
                <a:gd name="T25" fmla="*/ 688648 h 899752"/>
                <a:gd name="T26" fmla="*/ 408088 w 561616"/>
                <a:gd name="T27" fmla="*/ 589389 h 899752"/>
                <a:gd name="T28" fmla="*/ 308853 w 561616"/>
                <a:gd name="T29" fmla="*/ 490131 h 899752"/>
                <a:gd name="T30" fmla="*/ 308853 w 561616"/>
                <a:gd name="T31" fmla="*/ 478263 h 899752"/>
                <a:gd name="T32" fmla="*/ 56089 w 561616"/>
                <a:gd name="T33" fmla="*/ 141287 h 899752"/>
                <a:gd name="T34" fmla="*/ 112179 w 561616"/>
                <a:gd name="T35" fmla="*/ 141287 h 899752"/>
                <a:gd name="T36" fmla="*/ 112179 w 561616"/>
                <a:gd name="T37" fmla="*/ 212135 h 899752"/>
                <a:gd name="T38" fmla="*/ 152089 w 561616"/>
                <a:gd name="T39" fmla="*/ 309955 h 899752"/>
                <a:gd name="T40" fmla="*/ 409526 w 561616"/>
                <a:gd name="T41" fmla="*/ 309955 h 899752"/>
                <a:gd name="T42" fmla="*/ 449436 w 561616"/>
                <a:gd name="T43" fmla="*/ 212135 h 899752"/>
                <a:gd name="T44" fmla="*/ 449436 w 561616"/>
                <a:gd name="T45" fmla="*/ 141287 h 899752"/>
                <a:gd name="T46" fmla="*/ 505526 w 561616"/>
                <a:gd name="T47" fmla="*/ 141287 h 899752"/>
                <a:gd name="T48" fmla="*/ 505526 w 561616"/>
                <a:gd name="T49" fmla="*/ 212135 h 899752"/>
                <a:gd name="T50" fmla="*/ 447998 w 561616"/>
                <a:gd name="T51" fmla="*/ 350953 h 899752"/>
                <a:gd name="T52" fmla="*/ 364942 w 561616"/>
                <a:gd name="T53" fmla="*/ 434028 h 899752"/>
                <a:gd name="T54" fmla="*/ 364942 w 561616"/>
                <a:gd name="T55" fmla="*/ 466755 h 899752"/>
                <a:gd name="T56" fmla="*/ 447998 w 561616"/>
                <a:gd name="T57" fmla="*/ 549830 h 899752"/>
                <a:gd name="T58" fmla="*/ 505526 w 561616"/>
                <a:gd name="T59" fmla="*/ 688648 h 899752"/>
                <a:gd name="T60" fmla="*/ 505526 w 561616"/>
                <a:gd name="T61" fmla="*/ 787547 h 899752"/>
                <a:gd name="T62" fmla="*/ 561616 w 561616"/>
                <a:gd name="T63" fmla="*/ 787547 h 899752"/>
                <a:gd name="T64" fmla="*/ 561616 w 561616"/>
                <a:gd name="T65" fmla="*/ 899752 h 899752"/>
                <a:gd name="T66" fmla="*/ 0 w 561616"/>
                <a:gd name="T67" fmla="*/ 899752 h 899752"/>
                <a:gd name="T68" fmla="*/ 0 w 561616"/>
                <a:gd name="T69" fmla="*/ 787547 h 899752"/>
                <a:gd name="T70" fmla="*/ 56089 w 561616"/>
                <a:gd name="T71" fmla="*/ 787547 h 899752"/>
                <a:gd name="T72" fmla="*/ 56089 w 561616"/>
                <a:gd name="T73" fmla="*/ 688648 h 899752"/>
                <a:gd name="T74" fmla="*/ 113977 w 561616"/>
                <a:gd name="T75" fmla="*/ 549830 h 899752"/>
                <a:gd name="T76" fmla="*/ 196673 w 561616"/>
                <a:gd name="T77" fmla="*/ 466755 h 899752"/>
                <a:gd name="T78" fmla="*/ 196673 w 561616"/>
                <a:gd name="T79" fmla="*/ 434028 h 899752"/>
                <a:gd name="T80" fmla="*/ 113977 w 561616"/>
                <a:gd name="T81" fmla="*/ 350953 h 899752"/>
                <a:gd name="T82" fmla="*/ 56089 w 561616"/>
                <a:gd name="T83" fmla="*/ 212135 h 899752"/>
                <a:gd name="T84" fmla="*/ 0 w 561616"/>
                <a:gd name="T85" fmla="*/ 0 h 899752"/>
                <a:gd name="T86" fmla="*/ 561616 w 561616"/>
                <a:gd name="T87" fmla="*/ 0 h 899752"/>
                <a:gd name="T88" fmla="*/ 561616 w 561616"/>
                <a:gd name="T89" fmla="*/ 112352 h 899752"/>
                <a:gd name="T90" fmla="*/ 0 w 561616"/>
                <a:gd name="T91" fmla="*/ 112352 h 89975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561616" h="899752">
                  <a:moveTo>
                    <a:pt x="252413" y="533400"/>
                  </a:moveTo>
                  <a:lnTo>
                    <a:pt x="309199" y="533400"/>
                  </a:lnTo>
                  <a:lnTo>
                    <a:pt x="309199" y="590188"/>
                  </a:lnTo>
                  <a:lnTo>
                    <a:pt x="252413" y="590188"/>
                  </a:lnTo>
                  <a:lnTo>
                    <a:pt x="252413" y="533400"/>
                  </a:lnTo>
                  <a:close/>
                  <a:moveTo>
                    <a:pt x="252763" y="478263"/>
                  </a:moveTo>
                  <a:lnTo>
                    <a:pt x="252763" y="490131"/>
                  </a:lnTo>
                  <a:lnTo>
                    <a:pt x="153527" y="589389"/>
                  </a:lnTo>
                  <a:cubicBezTo>
                    <a:pt x="126921" y="616002"/>
                    <a:pt x="112179" y="651246"/>
                    <a:pt x="112179" y="688648"/>
                  </a:cubicBezTo>
                  <a:lnTo>
                    <a:pt x="112179" y="703033"/>
                  </a:lnTo>
                  <a:lnTo>
                    <a:pt x="252763" y="646931"/>
                  </a:lnTo>
                  <a:lnTo>
                    <a:pt x="308853" y="646931"/>
                  </a:lnTo>
                  <a:lnTo>
                    <a:pt x="449436" y="703033"/>
                  </a:lnTo>
                  <a:lnTo>
                    <a:pt x="449436" y="688648"/>
                  </a:lnTo>
                  <a:cubicBezTo>
                    <a:pt x="449436" y="651246"/>
                    <a:pt x="434695" y="616002"/>
                    <a:pt x="408088" y="589389"/>
                  </a:cubicBezTo>
                  <a:lnTo>
                    <a:pt x="308853" y="490131"/>
                  </a:lnTo>
                  <a:lnTo>
                    <a:pt x="308853" y="478263"/>
                  </a:lnTo>
                  <a:lnTo>
                    <a:pt x="252763" y="478263"/>
                  </a:lnTo>
                  <a:close/>
                  <a:moveTo>
                    <a:pt x="56089" y="141287"/>
                  </a:moveTo>
                  <a:lnTo>
                    <a:pt x="112179" y="141287"/>
                  </a:lnTo>
                  <a:lnTo>
                    <a:pt x="112179" y="212135"/>
                  </a:lnTo>
                  <a:cubicBezTo>
                    <a:pt x="112179" y="248817"/>
                    <a:pt x="126561" y="283701"/>
                    <a:pt x="152089" y="309955"/>
                  </a:cubicBezTo>
                  <a:lnTo>
                    <a:pt x="409526" y="309955"/>
                  </a:lnTo>
                  <a:cubicBezTo>
                    <a:pt x="435054" y="283701"/>
                    <a:pt x="449436" y="248817"/>
                    <a:pt x="449436" y="212135"/>
                  </a:cubicBezTo>
                  <a:lnTo>
                    <a:pt x="449436" y="141287"/>
                  </a:lnTo>
                  <a:lnTo>
                    <a:pt x="505526" y="141287"/>
                  </a:lnTo>
                  <a:lnTo>
                    <a:pt x="505526" y="212135"/>
                  </a:lnTo>
                  <a:cubicBezTo>
                    <a:pt x="505526" y="264641"/>
                    <a:pt x="485032" y="313911"/>
                    <a:pt x="447998" y="350953"/>
                  </a:cubicBezTo>
                  <a:lnTo>
                    <a:pt x="364942" y="434028"/>
                  </a:lnTo>
                  <a:lnTo>
                    <a:pt x="364942" y="466755"/>
                  </a:lnTo>
                  <a:lnTo>
                    <a:pt x="447998" y="549830"/>
                  </a:lnTo>
                  <a:cubicBezTo>
                    <a:pt x="485032" y="586872"/>
                    <a:pt x="505526" y="636142"/>
                    <a:pt x="505526" y="688648"/>
                  </a:cubicBezTo>
                  <a:lnTo>
                    <a:pt x="505526" y="787547"/>
                  </a:lnTo>
                  <a:lnTo>
                    <a:pt x="561616" y="787547"/>
                  </a:lnTo>
                  <a:lnTo>
                    <a:pt x="561616" y="899752"/>
                  </a:lnTo>
                  <a:lnTo>
                    <a:pt x="0" y="899752"/>
                  </a:lnTo>
                  <a:lnTo>
                    <a:pt x="0" y="787547"/>
                  </a:lnTo>
                  <a:lnTo>
                    <a:pt x="56089" y="787547"/>
                  </a:lnTo>
                  <a:lnTo>
                    <a:pt x="56089" y="688648"/>
                  </a:lnTo>
                  <a:cubicBezTo>
                    <a:pt x="56089" y="636142"/>
                    <a:pt x="76584" y="586872"/>
                    <a:pt x="113977" y="549830"/>
                  </a:cubicBezTo>
                  <a:lnTo>
                    <a:pt x="196673" y="466755"/>
                  </a:lnTo>
                  <a:lnTo>
                    <a:pt x="196673" y="434028"/>
                  </a:lnTo>
                  <a:lnTo>
                    <a:pt x="113977" y="350953"/>
                  </a:lnTo>
                  <a:cubicBezTo>
                    <a:pt x="76584" y="313911"/>
                    <a:pt x="56089" y="264641"/>
                    <a:pt x="56089" y="212135"/>
                  </a:cubicBezTo>
                  <a:lnTo>
                    <a:pt x="56089" y="141287"/>
                  </a:lnTo>
                  <a:close/>
                  <a:moveTo>
                    <a:pt x="0" y="0"/>
                  </a:moveTo>
                  <a:lnTo>
                    <a:pt x="561616" y="0"/>
                  </a:lnTo>
                  <a:lnTo>
                    <a:pt x="561616" y="112352"/>
                  </a:lnTo>
                  <a:lnTo>
                    <a:pt x="0" y="1123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3" name="Freeform 41">
              <a:extLst>
                <a:ext uri="{FF2B5EF4-FFF2-40B4-BE49-F238E27FC236}">
                  <a16:creationId xmlns:a16="http://schemas.microsoft.com/office/drawing/2014/main" id="{B75D5085-3DBD-3CEE-38ED-7C7A8F3B7E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98105" y="2164907"/>
              <a:ext cx="779383" cy="830660"/>
            </a:xfrm>
            <a:custGeom>
              <a:avLst/>
              <a:gdLst>
                <a:gd name="T0" fmla="*/ 450379 w 2344"/>
                <a:gd name="T1" fmla="*/ 478140 h 2500"/>
                <a:gd name="T2" fmla="*/ 731775 w 2344"/>
                <a:gd name="T3" fmla="*/ 421973 h 2500"/>
                <a:gd name="T4" fmla="*/ 731775 w 2344"/>
                <a:gd name="T5" fmla="*/ 703168 h 2500"/>
                <a:gd name="T6" fmla="*/ 450379 w 2344"/>
                <a:gd name="T7" fmla="*/ 646641 h 2500"/>
                <a:gd name="T8" fmla="*/ 731775 w 2344"/>
                <a:gd name="T9" fmla="*/ 703168 h 2500"/>
                <a:gd name="T10" fmla="*/ 366068 w 2344"/>
                <a:gd name="T11" fmla="*/ 365446 h 2500"/>
                <a:gd name="T12" fmla="*/ 337964 w 2344"/>
                <a:gd name="T13" fmla="*/ 337362 h 2500"/>
                <a:gd name="T14" fmla="*/ 366068 w 2344"/>
                <a:gd name="T15" fmla="*/ 309279 h 2500"/>
                <a:gd name="T16" fmla="*/ 394171 w 2344"/>
                <a:gd name="T17" fmla="*/ 337362 h 2500"/>
                <a:gd name="T18" fmla="*/ 366068 w 2344"/>
                <a:gd name="T19" fmla="*/ 478140 h 2500"/>
                <a:gd name="T20" fmla="*/ 337964 w 2344"/>
                <a:gd name="T21" fmla="*/ 449696 h 2500"/>
                <a:gd name="T22" fmla="*/ 366068 w 2344"/>
                <a:gd name="T23" fmla="*/ 421973 h 2500"/>
                <a:gd name="T24" fmla="*/ 394171 w 2344"/>
                <a:gd name="T25" fmla="*/ 449696 h 2500"/>
                <a:gd name="T26" fmla="*/ 366068 w 2344"/>
                <a:gd name="T27" fmla="*/ 478140 h 2500"/>
                <a:gd name="T28" fmla="*/ 366068 w 2344"/>
                <a:gd name="T29" fmla="*/ 590474 h 2500"/>
                <a:gd name="T30" fmla="*/ 337964 w 2344"/>
                <a:gd name="T31" fmla="*/ 562391 h 2500"/>
                <a:gd name="T32" fmla="*/ 366068 w 2344"/>
                <a:gd name="T33" fmla="*/ 534307 h 2500"/>
                <a:gd name="T34" fmla="*/ 394171 w 2344"/>
                <a:gd name="T35" fmla="*/ 562391 h 2500"/>
                <a:gd name="T36" fmla="*/ 366068 w 2344"/>
                <a:gd name="T37" fmla="*/ 703168 h 2500"/>
                <a:gd name="T38" fmla="*/ 337964 w 2344"/>
                <a:gd name="T39" fmla="*/ 674725 h 2500"/>
                <a:gd name="T40" fmla="*/ 366068 w 2344"/>
                <a:gd name="T41" fmla="*/ 646641 h 2500"/>
                <a:gd name="T42" fmla="*/ 394171 w 2344"/>
                <a:gd name="T43" fmla="*/ 674725 h 2500"/>
                <a:gd name="T44" fmla="*/ 366068 w 2344"/>
                <a:gd name="T45" fmla="*/ 703168 h 2500"/>
                <a:gd name="T46" fmla="*/ 619000 w 2344"/>
                <a:gd name="T47" fmla="*/ 534307 h 2500"/>
                <a:gd name="T48" fmla="*/ 450379 w 2344"/>
                <a:gd name="T49" fmla="*/ 590474 h 2500"/>
                <a:gd name="T50" fmla="*/ 450379 w 2344"/>
                <a:gd name="T51" fmla="*/ 309279 h 2500"/>
                <a:gd name="T52" fmla="*/ 703311 w 2344"/>
                <a:gd name="T53" fmla="*/ 365446 h 2500"/>
                <a:gd name="T54" fmla="*/ 450379 w 2344"/>
                <a:gd name="T55" fmla="*/ 309279 h 2500"/>
                <a:gd name="T56" fmla="*/ 647104 w 2344"/>
                <a:gd name="T57" fmla="*/ 140418 h 2500"/>
                <a:gd name="T58" fmla="*/ 450379 w 2344"/>
                <a:gd name="T59" fmla="*/ 196585 h 2500"/>
                <a:gd name="T60" fmla="*/ 225189 w 2344"/>
                <a:gd name="T61" fmla="*/ 815502 h 2500"/>
                <a:gd name="T62" fmla="*/ 197086 w 2344"/>
                <a:gd name="T63" fmla="*/ 843586 h 2500"/>
                <a:gd name="T64" fmla="*/ 168982 w 2344"/>
                <a:gd name="T65" fmla="*/ 815502 h 2500"/>
                <a:gd name="T66" fmla="*/ 168982 w 2344"/>
                <a:gd name="T67" fmla="*/ 309279 h 2500"/>
                <a:gd name="T68" fmla="*/ 225189 w 2344"/>
                <a:gd name="T69" fmla="*/ 281195 h 2500"/>
                <a:gd name="T70" fmla="*/ 112775 w 2344"/>
                <a:gd name="T71" fmla="*/ 590474 h 2500"/>
                <a:gd name="T72" fmla="*/ 56568 w 2344"/>
                <a:gd name="T73" fmla="*/ 309279 h 2500"/>
                <a:gd name="T74" fmla="*/ 84311 w 2344"/>
                <a:gd name="T75" fmla="*/ 281195 h 2500"/>
                <a:gd name="T76" fmla="*/ 112775 w 2344"/>
                <a:gd name="T77" fmla="*/ 309279 h 2500"/>
                <a:gd name="T78" fmla="*/ 225189 w 2344"/>
                <a:gd name="T79" fmla="*/ 0 h 2500"/>
                <a:gd name="T80" fmla="*/ 84311 w 2344"/>
                <a:gd name="T81" fmla="*/ 225028 h 2500"/>
                <a:gd name="T82" fmla="*/ 0 w 2344"/>
                <a:gd name="T83" fmla="*/ 309279 h 2500"/>
                <a:gd name="T84" fmla="*/ 112775 w 2344"/>
                <a:gd name="T85" fmla="*/ 646641 h 2500"/>
                <a:gd name="T86" fmla="*/ 112775 w 2344"/>
                <a:gd name="T87" fmla="*/ 815502 h 2500"/>
                <a:gd name="T88" fmla="*/ 759879 w 2344"/>
                <a:gd name="T89" fmla="*/ 899753 h 2500"/>
                <a:gd name="T90" fmla="*/ 844190 w 2344"/>
                <a:gd name="T91" fmla="*/ 815502 h 2500"/>
                <a:gd name="T92" fmla="*/ 225189 w 2344"/>
                <a:gd name="T93" fmla="*/ 0 h 250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344" h="2500">
                  <a:moveTo>
                    <a:pt x="2031" y="1328"/>
                  </a:moveTo>
                  <a:lnTo>
                    <a:pt x="1250" y="1328"/>
                  </a:lnTo>
                  <a:lnTo>
                    <a:pt x="1250" y="1172"/>
                  </a:lnTo>
                  <a:lnTo>
                    <a:pt x="2031" y="1172"/>
                  </a:lnTo>
                  <a:lnTo>
                    <a:pt x="2031" y="1328"/>
                  </a:lnTo>
                  <a:close/>
                  <a:moveTo>
                    <a:pt x="2031" y="1953"/>
                  </a:moveTo>
                  <a:lnTo>
                    <a:pt x="1250" y="1953"/>
                  </a:lnTo>
                  <a:lnTo>
                    <a:pt x="1250" y="1796"/>
                  </a:lnTo>
                  <a:lnTo>
                    <a:pt x="2031" y="1796"/>
                  </a:lnTo>
                  <a:lnTo>
                    <a:pt x="2031" y="1953"/>
                  </a:lnTo>
                  <a:close/>
                  <a:moveTo>
                    <a:pt x="1016" y="1015"/>
                  </a:moveTo>
                  <a:lnTo>
                    <a:pt x="1016" y="1015"/>
                  </a:lnTo>
                  <a:cubicBezTo>
                    <a:pt x="972" y="1015"/>
                    <a:pt x="938" y="980"/>
                    <a:pt x="938" y="937"/>
                  </a:cubicBezTo>
                  <a:cubicBezTo>
                    <a:pt x="938" y="893"/>
                    <a:pt x="972" y="859"/>
                    <a:pt x="1016" y="859"/>
                  </a:cubicBezTo>
                  <a:cubicBezTo>
                    <a:pt x="1059" y="859"/>
                    <a:pt x="1094" y="893"/>
                    <a:pt x="1094" y="937"/>
                  </a:cubicBezTo>
                  <a:cubicBezTo>
                    <a:pt x="1094" y="980"/>
                    <a:pt x="1059" y="1015"/>
                    <a:pt x="1016" y="1015"/>
                  </a:cubicBezTo>
                  <a:close/>
                  <a:moveTo>
                    <a:pt x="1016" y="1328"/>
                  </a:moveTo>
                  <a:lnTo>
                    <a:pt x="1016" y="1328"/>
                  </a:lnTo>
                  <a:cubicBezTo>
                    <a:pt x="972" y="1328"/>
                    <a:pt x="938" y="1293"/>
                    <a:pt x="938" y="1249"/>
                  </a:cubicBezTo>
                  <a:cubicBezTo>
                    <a:pt x="938" y="1206"/>
                    <a:pt x="972" y="1172"/>
                    <a:pt x="1016" y="1172"/>
                  </a:cubicBezTo>
                  <a:cubicBezTo>
                    <a:pt x="1059" y="1172"/>
                    <a:pt x="1094" y="1206"/>
                    <a:pt x="1094" y="1249"/>
                  </a:cubicBezTo>
                  <a:cubicBezTo>
                    <a:pt x="1094" y="1293"/>
                    <a:pt x="1059" y="1328"/>
                    <a:pt x="1016" y="1328"/>
                  </a:cubicBezTo>
                  <a:close/>
                  <a:moveTo>
                    <a:pt x="1016" y="1640"/>
                  </a:moveTo>
                  <a:lnTo>
                    <a:pt x="1016" y="1640"/>
                  </a:lnTo>
                  <a:cubicBezTo>
                    <a:pt x="972" y="1640"/>
                    <a:pt x="938" y="1605"/>
                    <a:pt x="938" y="1562"/>
                  </a:cubicBezTo>
                  <a:cubicBezTo>
                    <a:pt x="938" y="1519"/>
                    <a:pt x="972" y="1484"/>
                    <a:pt x="1016" y="1484"/>
                  </a:cubicBezTo>
                  <a:cubicBezTo>
                    <a:pt x="1059" y="1484"/>
                    <a:pt x="1094" y="1519"/>
                    <a:pt x="1094" y="1562"/>
                  </a:cubicBezTo>
                  <a:cubicBezTo>
                    <a:pt x="1094" y="1605"/>
                    <a:pt x="1059" y="1640"/>
                    <a:pt x="1016" y="1640"/>
                  </a:cubicBezTo>
                  <a:close/>
                  <a:moveTo>
                    <a:pt x="1016" y="1953"/>
                  </a:moveTo>
                  <a:lnTo>
                    <a:pt x="1016" y="1953"/>
                  </a:lnTo>
                  <a:cubicBezTo>
                    <a:pt x="972" y="1953"/>
                    <a:pt x="938" y="1917"/>
                    <a:pt x="938" y="1874"/>
                  </a:cubicBezTo>
                  <a:cubicBezTo>
                    <a:pt x="938" y="1831"/>
                    <a:pt x="972" y="1796"/>
                    <a:pt x="1016" y="1796"/>
                  </a:cubicBezTo>
                  <a:cubicBezTo>
                    <a:pt x="1059" y="1796"/>
                    <a:pt x="1094" y="1831"/>
                    <a:pt x="1094" y="1874"/>
                  </a:cubicBezTo>
                  <a:cubicBezTo>
                    <a:pt x="1094" y="1917"/>
                    <a:pt x="1059" y="1953"/>
                    <a:pt x="1016" y="1953"/>
                  </a:cubicBezTo>
                  <a:close/>
                  <a:moveTo>
                    <a:pt x="1250" y="1484"/>
                  </a:moveTo>
                  <a:lnTo>
                    <a:pt x="1718" y="1484"/>
                  </a:lnTo>
                  <a:lnTo>
                    <a:pt x="1718" y="1640"/>
                  </a:lnTo>
                  <a:lnTo>
                    <a:pt x="1250" y="1640"/>
                  </a:lnTo>
                  <a:lnTo>
                    <a:pt x="1250" y="1484"/>
                  </a:lnTo>
                  <a:close/>
                  <a:moveTo>
                    <a:pt x="1250" y="859"/>
                  </a:moveTo>
                  <a:lnTo>
                    <a:pt x="1952" y="859"/>
                  </a:lnTo>
                  <a:lnTo>
                    <a:pt x="1952" y="1015"/>
                  </a:lnTo>
                  <a:lnTo>
                    <a:pt x="1250" y="1015"/>
                  </a:lnTo>
                  <a:lnTo>
                    <a:pt x="1250" y="859"/>
                  </a:lnTo>
                  <a:close/>
                  <a:moveTo>
                    <a:pt x="1250" y="390"/>
                  </a:moveTo>
                  <a:lnTo>
                    <a:pt x="1796" y="390"/>
                  </a:lnTo>
                  <a:lnTo>
                    <a:pt x="1796" y="546"/>
                  </a:lnTo>
                  <a:lnTo>
                    <a:pt x="1250" y="546"/>
                  </a:lnTo>
                  <a:lnTo>
                    <a:pt x="1250" y="390"/>
                  </a:lnTo>
                  <a:close/>
                  <a:moveTo>
                    <a:pt x="625" y="2265"/>
                  </a:moveTo>
                  <a:lnTo>
                    <a:pt x="625" y="2265"/>
                  </a:lnTo>
                  <a:cubicBezTo>
                    <a:pt x="625" y="2308"/>
                    <a:pt x="590" y="2343"/>
                    <a:pt x="547" y="2343"/>
                  </a:cubicBezTo>
                  <a:cubicBezTo>
                    <a:pt x="504" y="2343"/>
                    <a:pt x="469" y="2308"/>
                    <a:pt x="469" y="2265"/>
                  </a:cubicBezTo>
                  <a:lnTo>
                    <a:pt x="469" y="859"/>
                  </a:lnTo>
                  <a:cubicBezTo>
                    <a:pt x="469" y="831"/>
                    <a:pt x="463" y="806"/>
                    <a:pt x="454" y="781"/>
                  </a:cubicBezTo>
                  <a:lnTo>
                    <a:pt x="625" y="781"/>
                  </a:lnTo>
                  <a:lnTo>
                    <a:pt x="625" y="2265"/>
                  </a:lnTo>
                  <a:close/>
                  <a:moveTo>
                    <a:pt x="313" y="1640"/>
                  </a:moveTo>
                  <a:lnTo>
                    <a:pt x="157" y="1640"/>
                  </a:lnTo>
                  <a:lnTo>
                    <a:pt x="157" y="859"/>
                  </a:lnTo>
                  <a:cubicBezTo>
                    <a:pt x="157" y="816"/>
                    <a:pt x="191" y="781"/>
                    <a:pt x="234" y="781"/>
                  </a:cubicBezTo>
                  <a:cubicBezTo>
                    <a:pt x="277" y="781"/>
                    <a:pt x="313" y="816"/>
                    <a:pt x="313" y="859"/>
                  </a:cubicBezTo>
                  <a:lnTo>
                    <a:pt x="313" y="1640"/>
                  </a:lnTo>
                  <a:close/>
                  <a:moveTo>
                    <a:pt x="625" y="0"/>
                  </a:moveTo>
                  <a:lnTo>
                    <a:pt x="625" y="625"/>
                  </a:lnTo>
                  <a:lnTo>
                    <a:pt x="234" y="625"/>
                  </a:lnTo>
                  <a:cubicBezTo>
                    <a:pt x="105" y="625"/>
                    <a:pt x="0" y="730"/>
                    <a:pt x="0" y="859"/>
                  </a:cubicBezTo>
                  <a:lnTo>
                    <a:pt x="0" y="1796"/>
                  </a:lnTo>
                  <a:lnTo>
                    <a:pt x="313" y="1796"/>
                  </a:lnTo>
                  <a:lnTo>
                    <a:pt x="313" y="2265"/>
                  </a:lnTo>
                  <a:cubicBezTo>
                    <a:pt x="313" y="2394"/>
                    <a:pt x="418" y="2499"/>
                    <a:pt x="547" y="2499"/>
                  </a:cubicBezTo>
                  <a:lnTo>
                    <a:pt x="2109" y="2499"/>
                  </a:lnTo>
                  <a:cubicBezTo>
                    <a:pt x="2238" y="2499"/>
                    <a:pt x="2343" y="2394"/>
                    <a:pt x="2343" y="2265"/>
                  </a:cubicBezTo>
                  <a:lnTo>
                    <a:pt x="2343" y="0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4" name="Freeform 89">
              <a:extLst>
                <a:ext uri="{FF2B5EF4-FFF2-40B4-BE49-F238E27FC236}">
                  <a16:creationId xmlns:a16="http://schemas.microsoft.com/office/drawing/2014/main" id="{1BC57D24-F319-EBD9-6070-721D8BC095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0730" y="2189715"/>
              <a:ext cx="620464" cy="464256"/>
            </a:xfrm>
            <a:custGeom>
              <a:avLst/>
              <a:gdLst>
                <a:gd name="T0" fmla="*/ 573956 w 901340"/>
                <a:gd name="T1" fmla="*/ 561975 h 674329"/>
                <a:gd name="T2" fmla="*/ 901340 w 901340"/>
                <a:gd name="T3" fmla="*/ 561975 h 674329"/>
                <a:gd name="T4" fmla="*/ 901340 w 901340"/>
                <a:gd name="T5" fmla="*/ 674329 h 674329"/>
                <a:gd name="T6" fmla="*/ 468313 w 901340"/>
                <a:gd name="T7" fmla="*/ 674329 h 674329"/>
                <a:gd name="T8" fmla="*/ 573956 w 901340"/>
                <a:gd name="T9" fmla="*/ 561975 h 674329"/>
                <a:gd name="T10" fmla="*/ 616811 w 901340"/>
                <a:gd name="T11" fmla="*/ 420688 h 674329"/>
                <a:gd name="T12" fmla="*/ 842604 w 901340"/>
                <a:gd name="T13" fmla="*/ 420688 h 674329"/>
                <a:gd name="T14" fmla="*/ 842604 w 901340"/>
                <a:gd name="T15" fmla="*/ 533040 h 674329"/>
                <a:gd name="T16" fmla="*/ 587375 w 901340"/>
                <a:gd name="T17" fmla="*/ 533040 h 674329"/>
                <a:gd name="T18" fmla="*/ 616811 w 901340"/>
                <a:gd name="T19" fmla="*/ 420688 h 674329"/>
                <a:gd name="T20" fmla="*/ 600075 w 901340"/>
                <a:gd name="T21" fmla="*/ 280988 h 674329"/>
                <a:gd name="T22" fmla="*/ 901339 w 901340"/>
                <a:gd name="T23" fmla="*/ 280988 h 674329"/>
                <a:gd name="T24" fmla="*/ 901339 w 901340"/>
                <a:gd name="T25" fmla="*/ 393341 h 674329"/>
                <a:gd name="T26" fmla="*/ 619919 w 901340"/>
                <a:gd name="T27" fmla="*/ 393341 h 674329"/>
                <a:gd name="T28" fmla="*/ 600075 w 901340"/>
                <a:gd name="T29" fmla="*/ 280988 h 674329"/>
                <a:gd name="T30" fmla="*/ 196799 w 901340"/>
                <a:gd name="T31" fmla="*/ 280982 h 674329"/>
                <a:gd name="T32" fmla="*/ 196799 w 901340"/>
                <a:gd name="T33" fmla="*/ 337072 h 674329"/>
                <a:gd name="T34" fmla="*/ 252925 w 901340"/>
                <a:gd name="T35" fmla="*/ 337072 h 674329"/>
                <a:gd name="T36" fmla="*/ 252925 w 901340"/>
                <a:gd name="T37" fmla="*/ 449611 h 674329"/>
                <a:gd name="T38" fmla="*/ 196799 w 901340"/>
                <a:gd name="T39" fmla="*/ 449611 h 674329"/>
                <a:gd name="T40" fmla="*/ 196799 w 901340"/>
                <a:gd name="T41" fmla="*/ 505700 h 674329"/>
                <a:gd name="T42" fmla="*/ 365176 w 901340"/>
                <a:gd name="T43" fmla="*/ 505700 h 674329"/>
                <a:gd name="T44" fmla="*/ 365176 w 901340"/>
                <a:gd name="T45" fmla="*/ 449611 h 674329"/>
                <a:gd name="T46" fmla="*/ 309051 w 901340"/>
                <a:gd name="T47" fmla="*/ 449611 h 674329"/>
                <a:gd name="T48" fmla="*/ 309051 w 901340"/>
                <a:gd name="T49" fmla="*/ 280982 h 674329"/>
                <a:gd name="T50" fmla="*/ 503238 w 901340"/>
                <a:gd name="T51" fmla="*/ 139700 h 674329"/>
                <a:gd name="T52" fmla="*/ 787040 w 901340"/>
                <a:gd name="T53" fmla="*/ 139700 h 674329"/>
                <a:gd name="T54" fmla="*/ 787040 w 901340"/>
                <a:gd name="T55" fmla="*/ 252053 h 674329"/>
                <a:gd name="T56" fmla="*/ 587154 w 901340"/>
                <a:gd name="T57" fmla="*/ 252053 h 674329"/>
                <a:gd name="T58" fmla="*/ 503238 w 901340"/>
                <a:gd name="T59" fmla="*/ 139700 h 674329"/>
                <a:gd name="T60" fmla="*/ 280988 w 901340"/>
                <a:gd name="T61" fmla="*/ 112713 h 674329"/>
                <a:gd name="T62" fmla="*/ 561615 w 901340"/>
                <a:gd name="T63" fmla="*/ 393521 h 674329"/>
                <a:gd name="T64" fmla="*/ 280988 w 901340"/>
                <a:gd name="T65" fmla="*/ 674329 h 674329"/>
                <a:gd name="T66" fmla="*/ 0 w 901340"/>
                <a:gd name="T67" fmla="*/ 393521 h 674329"/>
                <a:gd name="T68" fmla="*/ 280988 w 901340"/>
                <a:gd name="T69" fmla="*/ 112713 h 674329"/>
                <a:gd name="T70" fmla="*/ 282575 w 901340"/>
                <a:gd name="T71" fmla="*/ 0 h 674329"/>
                <a:gd name="T72" fmla="*/ 844190 w 901340"/>
                <a:gd name="T73" fmla="*/ 0 h 674329"/>
                <a:gd name="T74" fmla="*/ 844190 w 901340"/>
                <a:gd name="T75" fmla="*/ 112353 h 674329"/>
                <a:gd name="T76" fmla="*/ 468221 w 901340"/>
                <a:gd name="T77" fmla="*/ 112353 h 674329"/>
                <a:gd name="T78" fmla="*/ 282575 w 901340"/>
                <a:gd name="T79" fmla="*/ 55816 h 67432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901340" h="674329">
                  <a:moveTo>
                    <a:pt x="573956" y="561975"/>
                  </a:moveTo>
                  <a:lnTo>
                    <a:pt x="901340" y="561975"/>
                  </a:lnTo>
                  <a:lnTo>
                    <a:pt x="901340" y="674329"/>
                  </a:lnTo>
                  <a:lnTo>
                    <a:pt x="468313" y="674329"/>
                  </a:lnTo>
                  <a:cubicBezTo>
                    <a:pt x="511940" y="645613"/>
                    <a:pt x="547996" y="607204"/>
                    <a:pt x="573956" y="561975"/>
                  </a:cubicBezTo>
                  <a:close/>
                  <a:moveTo>
                    <a:pt x="616811" y="420688"/>
                  </a:moveTo>
                  <a:lnTo>
                    <a:pt x="842604" y="420688"/>
                  </a:lnTo>
                  <a:lnTo>
                    <a:pt x="842604" y="533040"/>
                  </a:lnTo>
                  <a:lnTo>
                    <a:pt x="587375" y="533040"/>
                  </a:lnTo>
                  <a:cubicBezTo>
                    <a:pt x="603529" y="498470"/>
                    <a:pt x="613580" y="460660"/>
                    <a:pt x="616811" y="420688"/>
                  </a:cubicBezTo>
                  <a:close/>
                  <a:moveTo>
                    <a:pt x="600075" y="280988"/>
                  </a:moveTo>
                  <a:lnTo>
                    <a:pt x="901339" y="280988"/>
                  </a:lnTo>
                  <a:lnTo>
                    <a:pt x="901339" y="393341"/>
                  </a:lnTo>
                  <a:lnTo>
                    <a:pt x="619919" y="393341"/>
                  </a:lnTo>
                  <a:cubicBezTo>
                    <a:pt x="619919" y="353856"/>
                    <a:pt x="612703" y="316166"/>
                    <a:pt x="600075" y="280988"/>
                  </a:cubicBezTo>
                  <a:close/>
                  <a:moveTo>
                    <a:pt x="196799" y="280982"/>
                  </a:moveTo>
                  <a:lnTo>
                    <a:pt x="196799" y="337072"/>
                  </a:lnTo>
                  <a:lnTo>
                    <a:pt x="252925" y="337072"/>
                  </a:lnTo>
                  <a:lnTo>
                    <a:pt x="252925" y="449611"/>
                  </a:lnTo>
                  <a:lnTo>
                    <a:pt x="196799" y="449611"/>
                  </a:lnTo>
                  <a:lnTo>
                    <a:pt x="196799" y="505700"/>
                  </a:lnTo>
                  <a:lnTo>
                    <a:pt x="365176" y="505700"/>
                  </a:lnTo>
                  <a:lnTo>
                    <a:pt x="365176" y="449611"/>
                  </a:lnTo>
                  <a:lnTo>
                    <a:pt x="309051" y="449611"/>
                  </a:lnTo>
                  <a:lnTo>
                    <a:pt x="309051" y="280982"/>
                  </a:lnTo>
                  <a:lnTo>
                    <a:pt x="196799" y="280982"/>
                  </a:lnTo>
                  <a:close/>
                  <a:moveTo>
                    <a:pt x="503238" y="139700"/>
                  </a:moveTo>
                  <a:lnTo>
                    <a:pt x="787040" y="139700"/>
                  </a:lnTo>
                  <a:lnTo>
                    <a:pt x="787040" y="252053"/>
                  </a:lnTo>
                  <a:lnTo>
                    <a:pt x="587154" y="252053"/>
                  </a:lnTo>
                  <a:cubicBezTo>
                    <a:pt x="567346" y="208840"/>
                    <a:pt x="538894" y="170669"/>
                    <a:pt x="503238" y="139700"/>
                  </a:cubicBezTo>
                  <a:close/>
                  <a:moveTo>
                    <a:pt x="280988" y="112713"/>
                  </a:moveTo>
                  <a:cubicBezTo>
                    <a:pt x="436053" y="112713"/>
                    <a:pt x="561615" y="238555"/>
                    <a:pt x="561615" y="393521"/>
                  </a:cubicBezTo>
                  <a:cubicBezTo>
                    <a:pt x="561615" y="548487"/>
                    <a:pt x="436053" y="674329"/>
                    <a:pt x="280988" y="674329"/>
                  </a:cubicBezTo>
                  <a:cubicBezTo>
                    <a:pt x="125923" y="674329"/>
                    <a:pt x="0" y="548487"/>
                    <a:pt x="0" y="393521"/>
                  </a:cubicBezTo>
                  <a:cubicBezTo>
                    <a:pt x="0" y="238555"/>
                    <a:pt x="125923" y="112713"/>
                    <a:pt x="280988" y="112713"/>
                  </a:cubicBezTo>
                  <a:close/>
                  <a:moveTo>
                    <a:pt x="282575" y="0"/>
                  </a:moveTo>
                  <a:lnTo>
                    <a:pt x="844190" y="0"/>
                  </a:lnTo>
                  <a:lnTo>
                    <a:pt x="844190" y="112353"/>
                  </a:lnTo>
                  <a:lnTo>
                    <a:pt x="468221" y="112353"/>
                  </a:lnTo>
                  <a:cubicBezTo>
                    <a:pt x="415694" y="76702"/>
                    <a:pt x="351293" y="55816"/>
                    <a:pt x="282575" y="55816"/>
                  </a:cubicBezTo>
                  <a:lnTo>
                    <a:pt x="28257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5" name="Freeform 85">
              <a:extLst>
                <a:ext uri="{FF2B5EF4-FFF2-40B4-BE49-F238E27FC236}">
                  <a16:creationId xmlns:a16="http://schemas.microsoft.com/office/drawing/2014/main" id="{D83EE334-D4DA-4FE8-5D00-4591BD3552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7018" y="2112157"/>
              <a:ext cx="619371" cy="619372"/>
            </a:xfrm>
            <a:custGeom>
              <a:avLst/>
              <a:gdLst>
                <a:gd name="T0" fmla="*/ 422275 w 899752"/>
                <a:gd name="T1" fmla="*/ 280988 h 899754"/>
                <a:gd name="T2" fmla="*/ 534627 w 899752"/>
                <a:gd name="T3" fmla="*/ 365919 h 899754"/>
                <a:gd name="T4" fmla="*/ 422275 w 899752"/>
                <a:gd name="T5" fmla="*/ 450489 h 899754"/>
                <a:gd name="T6" fmla="*/ 57150 w 899752"/>
                <a:gd name="T7" fmla="*/ 225425 h 899754"/>
                <a:gd name="T8" fmla="*/ 113290 w 899752"/>
                <a:gd name="T9" fmla="*/ 225425 h 899754"/>
                <a:gd name="T10" fmla="*/ 113290 w 899752"/>
                <a:gd name="T11" fmla="*/ 562409 h 899754"/>
                <a:gd name="T12" fmla="*/ 422420 w 899752"/>
                <a:gd name="T13" fmla="*/ 562409 h 899754"/>
                <a:gd name="T14" fmla="*/ 478560 w 899752"/>
                <a:gd name="T15" fmla="*/ 562409 h 899754"/>
                <a:gd name="T16" fmla="*/ 787690 w 899752"/>
                <a:gd name="T17" fmla="*/ 562409 h 899754"/>
                <a:gd name="T18" fmla="*/ 787690 w 899752"/>
                <a:gd name="T19" fmla="*/ 225425 h 899754"/>
                <a:gd name="T20" fmla="*/ 844190 w 899752"/>
                <a:gd name="T21" fmla="*/ 225425 h 899754"/>
                <a:gd name="T22" fmla="*/ 844190 w 899752"/>
                <a:gd name="T23" fmla="*/ 618873 h 899754"/>
                <a:gd name="T24" fmla="*/ 478560 w 899752"/>
                <a:gd name="T25" fmla="*/ 618873 h 899754"/>
                <a:gd name="T26" fmla="*/ 478560 w 899752"/>
                <a:gd name="T27" fmla="*/ 803729 h 899754"/>
                <a:gd name="T28" fmla="*/ 490436 w 899752"/>
                <a:gd name="T29" fmla="*/ 815597 h 899754"/>
                <a:gd name="T30" fmla="*/ 518146 w 899752"/>
                <a:gd name="T31" fmla="*/ 843649 h 899754"/>
                <a:gd name="T32" fmla="*/ 590840 w 899752"/>
                <a:gd name="T33" fmla="*/ 843649 h 899754"/>
                <a:gd name="T34" fmla="*/ 590840 w 899752"/>
                <a:gd name="T35" fmla="*/ 899754 h 899754"/>
                <a:gd name="T36" fmla="*/ 495114 w 899752"/>
                <a:gd name="T37" fmla="*/ 899754 h 899754"/>
                <a:gd name="T38" fmla="*/ 450490 w 899752"/>
                <a:gd name="T39" fmla="*/ 855158 h 899754"/>
                <a:gd name="T40" fmla="*/ 405866 w 899752"/>
                <a:gd name="T41" fmla="*/ 899754 h 899754"/>
                <a:gd name="T42" fmla="*/ 309780 w 899752"/>
                <a:gd name="T43" fmla="*/ 899754 h 899754"/>
                <a:gd name="T44" fmla="*/ 309780 w 899752"/>
                <a:gd name="T45" fmla="*/ 843649 h 899754"/>
                <a:gd name="T46" fmla="*/ 382475 w 899752"/>
                <a:gd name="T47" fmla="*/ 843649 h 899754"/>
                <a:gd name="T48" fmla="*/ 410904 w 899752"/>
                <a:gd name="T49" fmla="*/ 815597 h 899754"/>
                <a:gd name="T50" fmla="*/ 422420 w 899752"/>
                <a:gd name="T51" fmla="*/ 803729 h 899754"/>
                <a:gd name="T52" fmla="*/ 422420 w 899752"/>
                <a:gd name="T53" fmla="*/ 618873 h 899754"/>
                <a:gd name="T54" fmla="*/ 57150 w 899752"/>
                <a:gd name="T55" fmla="*/ 618873 h 899754"/>
                <a:gd name="T56" fmla="*/ 421804 w 899752"/>
                <a:gd name="T57" fmla="*/ 0 h 899754"/>
                <a:gd name="T58" fmla="*/ 477949 w 899752"/>
                <a:gd name="T59" fmla="*/ 0 h 899754"/>
                <a:gd name="T60" fmla="*/ 477949 w 899752"/>
                <a:gd name="T61" fmla="*/ 56380 h 899754"/>
                <a:gd name="T62" fmla="*/ 899752 w 899752"/>
                <a:gd name="T63" fmla="*/ 56380 h 899754"/>
                <a:gd name="T64" fmla="*/ 899752 w 899752"/>
                <a:gd name="T65" fmla="*/ 169501 h 899754"/>
                <a:gd name="T66" fmla="*/ 0 w 899752"/>
                <a:gd name="T67" fmla="*/ 169501 h 899754"/>
                <a:gd name="T68" fmla="*/ 0 w 899752"/>
                <a:gd name="T69" fmla="*/ 56380 h 899754"/>
                <a:gd name="T70" fmla="*/ 421804 w 899752"/>
                <a:gd name="T71" fmla="*/ 56380 h 89975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899752" h="899754">
                  <a:moveTo>
                    <a:pt x="422275" y="280988"/>
                  </a:moveTo>
                  <a:lnTo>
                    <a:pt x="534627" y="365919"/>
                  </a:lnTo>
                  <a:lnTo>
                    <a:pt x="422275" y="450489"/>
                  </a:lnTo>
                  <a:lnTo>
                    <a:pt x="422275" y="280988"/>
                  </a:lnTo>
                  <a:close/>
                  <a:moveTo>
                    <a:pt x="57150" y="225425"/>
                  </a:moveTo>
                  <a:lnTo>
                    <a:pt x="113290" y="225425"/>
                  </a:lnTo>
                  <a:lnTo>
                    <a:pt x="113290" y="562409"/>
                  </a:lnTo>
                  <a:lnTo>
                    <a:pt x="422420" y="562409"/>
                  </a:lnTo>
                  <a:lnTo>
                    <a:pt x="478560" y="562409"/>
                  </a:lnTo>
                  <a:lnTo>
                    <a:pt x="787690" y="562409"/>
                  </a:lnTo>
                  <a:lnTo>
                    <a:pt x="787690" y="225425"/>
                  </a:lnTo>
                  <a:lnTo>
                    <a:pt x="844190" y="225425"/>
                  </a:lnTo>
                  <a:lnTo>
                    <a:pt x="844190" y="618873"/>
                  </a:lnTo>
                  <a:lnTo>
                    <a:pt x="478560" y="618873"/>
                  </a:lnTo>
                  <a:lnTo>
                    <a:pt x="478560" y="803729"/>
                  </a:lnTo>
                  <a:lnTo>
                    <a:pt x="490436" y="815597"/>
                  </a:lnTo>
                  <a:lnTo>
                    <a:pt x="518146" y="843649"/>
                  </a:lnTo>
                  <a:lnTo>
                    <a:pt x="590840" y="843649"/>
                  </a:lnTo>
                  <a:lnTo>
                    <a:pt x="590840" y="899754"/>
                  </a:lnTo>
                  <a:lnTo>
                    <a:pt x="495114" y="899754"/>
                  </a:lnTo>
                  <a:lnTo>
                    <a:pt x="450490" y="855158"/>
                  </a:lnTo>
                  <a:lnTo>
                    <a:pt x="405866" y="899754"/>
                  </a:lnTo>
                  <a:lnTo>
                    <a:pt x="309780" y="899754"/>
                  </a:lnTo>
                  <a:lnTo>
                    <a:pt x="309780" y="843649"/>
                  </a:lnTo>
                  <a:lnTo>
                    <a:pt x="382475" y="843649"/>
                  </a:lnTo>
                  <a:lnTo>
                    <a:pt x="410904" y="815597"/>
                  </a:lnTo>
                  <a:lnTo>
                    <a:pt x="422420" y="803729"/>
                  </a:lnTo>
                  <a:lnTo>
                    <a:pt x="422420" y="618873"/>
                  </a:lnTo>
                  <a:lnTo>
                    <a:pt x="57150" y="618873"/>
                  </a:lnTo>
                  <a:lnTo>
                    <a:pt x="57150" y="225425"/>
                  </a:lnTo>
                  <a:close/>
                  <a:moveTo>
                    <a:pt x="421804" y="0"/>
                  </a:moveTo>
                  <a:lnTo>
                    <a:pt x="477949" y="0"/>
                  </a:lnTo>
                  <a:lnTo>
                    <a:pt x="477949" y="56380"/>
                  </a:lnTo>
                  <a:lnTo>
                    <a:pt x="899752" y="56380"/>
                  </a:lnTo>
                  <a:lnTo>
                    <a:pt x="899752" y="169501"/>
                  </a:lnTo>
                  <a:lnTo>
                    <a:pt x="0" y="169501"/>
                  </a:lnTo>
                  <a:lnTo>
                    <a:pt x="0" y="56380"/>
                  </a:lnTo>
                  <a:lnTo>
                    <a:pt x="421804" y="56380"/>
                  </a:lnTo>
                  <a:lnTo>
                    <a:pt x="42180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7" name="Freeform 91">
              <a:extLst>
                <a:ext uri="{FF2B5EF4-FFF2-40B4-BE49-F238E27FC236}">
                  <a16:creationId xmlns:a16="http://schemas.microsoft.com/office/drawing/2014/main" id="{232D9236-1B17-D2DC-93BD-8E3CA4755B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11284" y="2766188"/>
              <a:ext cx="788321" cy="738267"/>
            </a:xfrm>
            <a:custGeom>
              <a:avLst/>
              <a:gdLst>
                <a:gd name="T0" fmla="*/ 642085 w 899753"/>
                <a:gd name="T1" fmla="*/ 505575 h 842602"/>
                <a:gd name="T2" fmla="*/ 781355 w 899753"/>
                <a:gd name="T3" fmla="*/ 645275 h 842602"/>
                <a:gd name="T4" fmla="*/ 838935 w 899753"/>
                <a:gd name="T5" fmla="*/ 505575 h 842602"/>
                <a:gd name="T6" fmla="*/ 506413 w 899753"/>
                <a:gd name="T7" fmla="*/ 449262 h 842602"/>
                <a:gd name="T8" fmla="*/ 899753 w 899753"/>
                <a:gd name="T9" fmla="*/ 449262 h 842602"/>
                <a:gd name="T10" fmla="*/ 784594 w 899753"/>
                <a:gd name="T11" fmla="*/ 728301 h 842602"/>
                <a:gd name="T12" fmla="*/ 506990 w 899753"/>
                <a:gd name="T13" fmla="*/ 61123 h 842602"/>
                <a:gd name="T14" fmla="*/ 506990 w 899753"/>
                <a:gd name="T15" fmla="*/ 336892 h 842602"/>
                <a:gd name="T16" fmla="*/ 783372 w 899753"/>
                <a:gd name="T17" fmla="*/ 336892 h 842602"/>
                <a:gd name="T18" fmla="*/ 506990 w 899753"/>
                <a:gd name="T19" fmla="*/ 61123 h 842602"/>
                <a:gd name="T20" fmla="*/ 394203 w 899753"/>
                <a:gd name="T21" fmla="*/ 55562 h 842602"/>
                <a:gd name="T22" fmla="*/ 394203 w 899753"/>
                <a:gd name="T23" fmla="*/ 449082 h 842602"/>
                <a:gd name="T24" fmla="*/ 672740 w 899753"/>
                <a:gd name="T25" fmla="*/ 727390 h 842602"/>
                <a:gd name="T26" fmla="*/ 394203 w 899753"/>
                <a:gd name="T27" fmla="*/ 842602 h 842602"/>
                <a:gd name="T28" fmla="*/ 0 w 899753"/>
                <a:gd name="T29" fmla="*/ 449082 h 842602"/>
                <a:gd name="T30" fmla="*/ 394203 w 899753"/>
                <a:gd name="T31" fmla="*/ 55562 h 842602"/>
                <a:gd name="T32" fmla="*/ 450850 w 899753"/>
                <a:gd name="T33" fmla="*/ 0 h 842602"/>
                <a:gd name="T34" fmla="*/ 844190 w 899753"/>
                <a:gd name="T35" fmla="*/ 393341 h 842602"/>
                <a:gd name="T36" fmla="*/ 450850 w 899753"/>
                <a:gd name="T37" fmla="*/ 393341 h 84260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899753" h="842602">
                  <a:moveTo>
                    <a:pt x="642085" y="505575"/>
                  </a:moveTo>
                  <a:lnTo>
                    <a:pt x="781355" y="645275"/>
                  </a:lnTo>
                  <a:cubicBezTo>
                    <a:pt x="810865" y="603763"/>
                    <a:pt x="830658" y="556113"/>
                    <a:pt x="838935" y="505575"/>
                  </a:cubicBezTo>
                  <a:lnTo>
                    <a:pt x="642085" y="505575"/>
                  </a:lnTo>
                  <a:close/>
                  <a:moveTo>
                    <a:pt x="506413" y="449262"/>
                  </a:moveTo>
                  <a:lnTo>
                    <a:pt x="899753" y="449262"/>
                  </a:lnTo>
                  <a:cubicBezTo>
                    <a:pt x="899753" y="558279"/>
                    <a:pt x="855849" y="656827"/>
                    <a:pt x="784594" y="728301"/>
                  </a:cubicBezTo>
                  <a:lnTo>
                    <a:pt x="506413" y="449262"/>
                  </a:lnTo>
                  <a:close/>
                  <a:moveTo>
                    <a:pt x="506990" y="61123"/>
                  </a:moveTo>
                  <a:lnTo>
                    <a:pt x="506990" y="336892"/>
                  </a:lnTo>
                  <a:lnTo>
                    <a:pt x="783372" y="336892"/>
                  </a:lnTo>
                  <a:cubicBezTo>
                    <a:pt x="759620" y="195951"/>
                    <a:pt x="648060" y="84493"/>
                    <a:pt x="506990" y="61123"/>
                  </a:cubicBezTo>
                  <a:close/>
                  <a:moveTo>
                    <a:pt x="394203" y="55562"/>
                  </a:moveTo>
                  <a:lnTo>
                    <a:pt x="394203" y="449082"/>
                  </a:lnTo>
                  <a:lnTo>
                    <a:pt x="672740" y="727390"/>
                  </a:lnTo>
                  <a:cubicBezTo>
                    <a:pt x="601394" y="798678"/>
                    <a:pt x="502663" y="842602"/>
                    <a:pt x="394203" y="842602"/>
                  </a:cubicBezTo>
                  <a:cubicBezTo>
                    <a:pt x="176203" y="842602"/>
                    <a:pt x="0" y="666544"/>
                    <a:pt x="0" y="449082"/>
                  </a:cubicBezTo>
                  <a:cubicBezTo>
                    <a:pt x="0" y="231620"/>
                    <a:pt x="176203" y="55562"/>
                    <a:pt x="394203" y="55562"/>
                  </a:cubicBezTo>
                  <a:close/>
                  <a:moveTo>
                    <a:pt x="450850" y="0"/>
                  </a:moveTo>
                  <a:cubicBezTo>
                    <a:pt x="668213" y="0"/>
                    <a:pt x="844190" y="176176"/>
                    <a:pt x="844190" y="393341"/>
                  </a:cubicBezTo>
                  <a:lnTo>
                    <a:pt x="450850" y="393341"/>
                  </a:lnTo>
                  <a:lnTo>
                    <a:pt x="4508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40" name="Shape 9162">
              <a:extLst>
                <a:ext uri="{FF2B5EF4-FFF2-40B4-BE49-F238E27FC236}">
                  <a16:creationId xmlns:a16="http://schemas.microsoft.com/office/drawing/2014/main" id="{ED10B6D7-9D22-4F50-DAA0-E964B2A630A1}"/>
                </a:ext>
              </a:extLst>
            </p:cNvPr>
            <p:cNvSpPr/>
            <p:nvPr/>
          </p:nvSpPr>
          <p:spPr>
            <a:xfrm>
              <a:off x="5005125" y="1798158"/>
              <a:ext cx="2176384" cy="2176386"/>
            </a:xfrm>
            <a:prstGeom prst="ellipse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6" name="Freeform 90">
              <a:extLst>
                <a:ext uri="{FF2B5EF4-FFF2-40B4-BE49-F238E27FC236}">
                  <a16:creationId xmlns:a16="http://schemas.microsoft.com/office/drawing/2014/main" id="{6E5F7A0B-57A3-330B-069A-BBB684ECD5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1001" y="2497392"/>
              <a:ext cx="832124" cy="777918"/>
            </a:xfrm>
            <a:custGeom>
              <a:avLst/>
              <a:gdLst>
                <a:gd name="T0" fmla="*/ 619798 w 901340"/>
                <a:gd name="T1" fmla="*/ 730250 h 842602"/>
                <a:gd name="T2" fmla="*/ 845104 w 901340"/>
                <a:gd name="T3" fmla="*/ 730250 h 842602"/>
                <a:gd name="T4" fmla="*/ 901340 w 901340"/>
                <a:gd name="T5" fmla="*/ 786426 h 842602"/>
                <a:gd name="T6" fmla="*/ 901340 w 901340"/>
                <a:gd name="T7" fmla="*/ 842602 h 842602"/>
                <a:gd name="T8" fmla="*/ 563562 w 901340"/>
                <a:gd name="T9" fmla="*/ 842602 h 842602"/>
                <a:gd name="T10" fmla="*/ 563562 w 901340"/>
                <a:gd name="T11" fmla="*/ 786426 h 842602"/>
                <a:gd name="T12" fmla="*/ 56536 w 901340"/>
                <a:gd name="T13" fmla="*/ 730250 h 842602"/>
                <a:gd name="T14" fmla="*/ 281241 w 901340"/>
                <a:gd name="T15" fmla="*/ 730250 h 842602"/>
                <a:gd name="T16" fmla="*/ 337777 w 901340"/>
                <a:gd name="T17" fmla="*/ 786426 h 842602"/>
                <a:gd name="T18" fmla="*/ 337777 w 901340"/>
                <a:gd name="T19" fmla="*/ 842602 h 842602"/>
                <a:gd name="T20" fmla="*/ 0 w 901340"/>
                <a:gd name="T21" fmla="*/ 842602 h 842602"/>
                <a:gd name="T22" fmla="*/ 0 w 901340"/>
                <a:gd name="T23" fmla="*/ 786426 h 842602"/>
                <a:gd name="T24" fmla="*/ 318349 w 901340"/>
                <a:gd name="T25" fmla="*/ 612775 h 842602"/>
                <a:gd name="T26" fmla="*/ 582992 w 901340"/>
                <a:gd name="T27" fmla="*/ 612775 h 842602"/>
                <a:gd name="T28" fmla="*/ 609241 w 901340"/>
                <a:gd name="T29" fmla="*/ 662402 h 842602"/>
                <a:gd name="T30" fmla="*/ 450670 w 901340"/>
                <a:gd name="T31" fmla="*/ 701318 h 842602"/>
                <a:gd name="T32" fmla="*/ 292100 w 901340"/>
                <a:gd name="T33" fmla="*/ 662402 h 842602"/>
                <a:gd name="T34" fmla="*/ 732270 w 901340"/>
                <a:gd name="T35" fmla="*/ 504825 h 842602"/>
                <a:gd name="T36" fmla="*/ 817201 w 901340"/>
                <a:gd name="T37" fmla="*/ 588881 h 842602"/>
                <a:gd name="T38" fmla="*/ 817201 w 901340"/>
                <a:gd name="T39" fmla="*/ 616900 h 842602"/>
                <a:gd name="T40" fmla="*/ 732270 w 901340"/>
                <a:gd name="T41" fmla="*/ 701316 h 842602"/>
                <a:gd name="T42" fmla="*/ 647700 w 901340"/>
                <a:gd name="T43" fmla="*/ 616900 h 842602"/>
                <a:gd name="T44" fmla="*/ 647700 w 901340"/>
                <a:gd name="T45" fmla="*/ 588881 h 842602"/>
                <a:gd name="T46" fmla="*/ 732270 w 901340"/>
                <a:gd name="T47" fmla="*/ 504825 h 842602"/>
                <a:gd name="T48" fmla="*/ 168095 w 901340"/>
                <a:gd name="T49" fmla="*/ 504825 h 842602"/>
                <a:gd name="T50" fmla="*/ 252053 w 901340"/>
                <a:gd name="T51" fmla="*/ 588881 h 842602"/>
                <a:gd name="T52" fmla="*/ 252053 w 901340"/>
                <a:gd name="T53" fmla="*/ 616900 h 842602"/>
                <a:gd name="T54" fmla="*/ 168095 w 901340"/>
                <a:gd name="T55" fmla="*/ 701316 h 842602"/>
                <a:gd name="T56" fmla="*/ 84137 w 901340"/>
                <a:gd name="T57" fmla="*/ 616900 h 842602"/>
                <a:gd name="T58" fmla="*/ 84137 w 901340"/>
                <a:gd name="T59" fmla="*/ 588881 h 842602"/>
                <a:gd name="T60" fmla="*/ 168095 w 901340"/>
                <a:gd name="T61" fmla="*/ 504825 h 842602"/>
                <a:gd name="T62" fmla="*/ 337524 w 901340"/>
                <a:gd name="T63" fmla="*/ 223837 h 842602"/>
                <a:gd name="T64" fmla="*/ 562589 w 901340"/>
                <a:gd name="T65" fmla="*/ 223837 h 842602"/>
                <a:gd name="T66" fmla="*/ 618765 w 901340"/>
                <a:gd name="T67" fmla="*/ 280013 h 842602"/>
                <a:gd name="T68" fmla="*/ 618765 w 901340"/>
                <a:gd name="T69" fmla="*/ 336190 h 842602"/>
                <a:gd name="T70" fmla="*/ 280987 w 901340"/>
                <a:gd name="T71" fmla="*/ 336190 h 842602"/>
                <a:gd name="T72" fmla="*/ 280987 w 901340"/>
                <a:gd name="T73" fmla="*/ 280013 h 842602"/>
                <a:gd name="T74" fmla="*/ 337524 w 901340"/>
                <a:gd name="T75" fmla="*/ 223837 h 842602"/>
                <a:gd name="T76" fmla="*/ 637877 w 901340"/>
                <a:gd name="T77" fmla="*/ 142875 h 842602"/>
                <a:gd name="T78" fmla="*/ 788626 w 901340"/>
                <a:gd name="T79" fmla="*/ 421914 h 842602"/>
                <a:gd name="T80" fmla="*/ 732230 w 901340"/>
                <a:gd name="T81" fmla="*/ 421914 h 842602"/>
                <a:gd name="T82" fmla="*/ 606425 w 901340"/>
                <a:gd name="T83" fmla="*/ 189742 h 842602"/>
                <a:gd name="T84" fmla="*/ 261899 w 901340"/>
                <a:gd name="T85" fmla="*/ 142875 h 842602"/>
                <a:gd name="T86" fmla="*/ 293326 w 901340"/>
                <a:gd name="T87" fmla="*/ 189657 h 842602"/>
                <a:gd name="T88" fmla="*/ 169064 w 901340"/>
                <a:gd name="T89" fmla="*/ 420327 h 842602"/>
                <a:gd name="T90" fmla="*/ 112712 w 901340"/>
                <a:gd name="T91" fmla="*/ 420327 h 842602"/>
                <a:gd name="T92" fmla="*/ 261899 w 901340"/>
                <a:gd name="T93" fmla="*/ 142875 h 842602"/>
                <a:gd name="T94" fmla="*/ 450670 w 901340"/>
                <a:gd name="T95" fmla="*/ 0 h 842602"/>
                <a:gd name="T96" fmla="*/ 534628 w 901340"/>
                <a:gd name="T97" fmla="*/ 84415 h 842602"/>
                <a:gd name="T98" fmla="*/ 534628 w 901340"/>
                <a:gd name="T99" fmla="*/ 112434 h 842602"/>
                <a:gd name="T100" fmla="*/ 450670 w 901340"/>
                <a:gd name="T101" fmla="*/ 196491 h 842602"/>
                <a:gd name="T102" fmla="*/ 366712 w 901340"/>
                <a:gd name="T103" fmla="*/ 112434 h 842602"/>
                <a:gd name="T104" fmla="*/ 366712 w 901340"/>
                <a:gd name="T105" fmla="*/ 84415 h 842602"/>
                <a:gd name="T106" fmla="*/ 450670 w 901340"/>
                <a:gd name="T107" fmla="*/ 0 h 84260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901340" h="842602">
                  <a:moveTo>
                    <a:pt x="619798" y="730250"/>
                  </a:moveTo>
                  <a:lnTo>
                    <a:pt x="845104" y="730250"/>
                  </a:lnTo>
                  <a:cubicBezTo>
                    <a:pt x="867093" y="752216"/>
                    <a:pt x="879350" y="764460"/>
                    <a:pt x="901340" y="786426"/>
                  </a:cubicBezTo>
                  <a:lnTo>
                    <a:pt x="901340" y="842602"/>
                  </a:lnTo>
                  <a:lnTo>
                    <a:pt x="563562" y="842602"/>
                  </a:lnTo>
                  <a:lnTo>
                    <a:pt x="563562" y="786426"/>
                  </a:lnTo>
                  <a:lnTo>
                    <a:pt x="619798" y="730250"/>
                  </a:lnTo>
                  <a:close/>
                  <a:moveTo>
                    <a:pt x="56536" y="730250"/>
                  </a:moveTo>
                  <a:lnTo>
                    <a:pt x="281241" y="730250"/>
                  </a:lnTo>
                  <a:lnTo>
                    <a:pt x="337777" y="786426"/>
                  </a:lnTo>
                  <a:lnTo>
                    <a:pt x="337777" y="842602"/>
                  </a:lnTo>
                  <a:lnTo>
                    <a:pt x="0" y="842602"/>
                  </a:lnTo>
                  <a:lnTo>
                    <a:pt x="0" y="786426"/>
                  </a:lnTo>
                  <a:lnTo>
                    <a:pt x="56536" y="730250"/>
                  </a:lnTo>
                  <a:close/>
                  <a:moveTo>
                    <a:pt x="318349" y="612775"/>
                  </a:moveTo>
                  <a:cubicBezTo>
                    <a:pt x="399252" y="655618"/>
                    <a:pt x="502089" y="655618"/>
                    <a:pt x="582992" y="612775"/>
                  </a:cubicBezTo>
                  <a:lnTo>
                    <a:pt x="609241" y="662402"/>
                  </a:lnTo>
                  <a:cubicBezTo>
                    <a:pt x="561058" y="687751"/>
                    <a:pt x="506044" y="701318"/>
                    <a:pt x="450670" y="701318"/>
                  </a:cubicBezTo>
                  <a:cubicBezTo>
                    <a:pt x="395297" y="701318"/>
                    <a:pt x="340642" y="687751"/>
                    <a:pt x="292100" y="662402"/>
                  </a:cubicBezTo>
                  <a:lnTo>
                    <a:pt x="318349" y="612775"/>
                  </a:lnTo>
                  <a:close/>
                  <a:moveTo>
                    <a:pt x="732270" y="504825"/>
                  </a:moveTo>
                  <a:cubicBezTo>
                    <a:pt x="778892" y="504825"/>
                    <a:pt x="817201" y="542542"/>
                    <a:pt x="817201" y="588881"/>
                  </a:cubicBezTo>
                  <a:lnTo>
                    <a:pt x="817201" y="616900"/>
                  </a:lnTo>
                  <a:cubicBezTo>
                    <a:pt x="817201" y="663598"/>
                    <a:pt x="778892" y="701316"/>
                    <a:pt x="732270" y="701316"/>
                  </a:cubicBezTo>
                  <a:cubicBezTo>
                    <a:pt x="685648" y="701316"/>
                    <a:pt x="647700" y="663598"/>
                    <a:pt x="647700" y="616900"/>
                  </a:cubicBezTo>
                  <a:lnTo>
                    <a:pt x="647700" y="588881"/>
                  </a:lnTo>
                  <a:cubicBezTo>
                    <a:pt x="647700" y="542542"/>
                    <a:pt x="685648" y="504825"/>
                    <a:pt x="732270" y="504825"/>
                  </a:cubicBezTo>
                  <a:close/>
                  <a:moveTo>
                    <a:pt x="168095" y="504825"/>
                  </a:moveTo>
                  <a:cubicBezTo>
                    <a:pt x="214739" y="504825"/>
                    <a:pt x="252053" y="542542"/>
                    <a:pt x="252053" y="588881"/>
                  </a:cubicBezTo>
                  <a:lnTo>
                    <a:pt x="252053" y="616900"/>
                  </a:lnTo>
                  <a:cubicBezTo>
                    <a:pt x="252053" y="663598"/>
                    <a:pt x="214739" y="701316"/>
                    <a:pt x="168095" y="701316"/>
                  </a:cubicBezTo>
                  <a:cubicBezTo>
                    <a:pt x="121811" y="701316"/>
                    <a:pt x="84137" y="663598"/>
                    <a:pt x="84137" y="616900"/>
                  </a:cubicBezTo>
                  <a:lnTo>
                    <a:pt x="84137" y="588881"/>
                  </a:lnTo>
                  <a:cubicBezTo>
                    <a:pt x="84137" y="542542"/>
                    <a:pt x="121811" y="504825"/>
                    <a:pt x="168095" y="504825"/>
                  </a:cubicBezTo>
                  <a:close/>
                  <a:moveTo>
                    <a:pt x="337524" y="223837"/>
                  </a:moveTo>
                  <a:lnTo>
                    <a:pt x="562589" y="223837"/>
                  </a:lnTo>
                  <a:cubicBezTo>
                    <a:pt x="584555" y="245803"/>
                    <a:pt x="596799" y="258407"/>
                    <a:pt x="618765" y="280013"/>
                  </a:cubicBezTo>
                  <a:lnTo>
                    <a:pt x="618765" y="336190"/>
                  </a:lnTo>
                  <a:lnTo>
                    <a:pt x="280987" y="336190"/>
                  </a:lnTo>
                  <a:lnTo>
                    <a:pt x="280987" y="280013"/>
                  </a:lnTo>
                  <a:cubicBezTo>
                    <a:pt x="302954" y="258407"/>
                    <a:pt x="315557" y="245803"/>
                    <a:pt x="337524" y="223837"/>
                  </a:cubicBezTo>
                  <a:close/>
                  <a:moveTo>
                    <a:pt x="637877" y="142875"/>
                  </a:moveTo>
                  <a:cubicBezTo>
                    <a:pt x="732230" y="205605"/>
                    <a:pt x="788626" y="309794"/>
                    <a:pt x="788626" y="421914"/>
                  </a:cubicBezTo>
                  <a:lnTo>
                    <a:pt x="732230" y="421914"/>
                  </a:lnTo>
                  <a:cubicBezTo>
                    <a:pt x="732230" y="328901"/>
                    <a:pt x="685234" y="242017"/>
                    <a:pt x="606425" y="189742"/>
                  </a:cubicBezTo>
                  <a:lnTo>
                    <a:pt x="637877" y="142875"/>
                  </a:lnTo>
                  <a:close/>
                  <a:moveTo>
                    <a:pt x="261899" y="142875"/>
                  </a:moveTo>
                  <a:lnTo>
                    <a:pt x="293326" y="189657"/>
                  </a:lnTo>
                  <a:cubicBezTo>
                    <a:pt x="215301" y="241477"/>
                    <a:pt x="169064" y="327843"/>
                    <a:pt x="169064" y="420327"/>
                  </a:cubicBezTo>
                  <a:lnTo>
                    <a:pt x="112712" y="420327"/>
                  </a:lnTo>
                  <a:cubicBezTo>
                    <a:pt x="112712" y="309130"/>
                    <a:pt x="168341" y="205491"/>
                    <a:pt x="261899" y="142875"/>
                  </a:cubicBezTo>
                  <a:close/>
                  <a:moveTo>
                    <a:pt x="450670" y="0"/>
                  </a:moveTo>
                  <a:cubicBezTo>
                    <a:pt x="496955" y="0"/>
                    <a:pt x="534628" y="37717"/>
                    <a:pt x="534628" y="84415"/>
                  </a:cubicBezTo>
                  <a:lnTo>
                    <a:pt x="534628" y="112434"/>
                  </a:lnTo>
                  <a:cubicBezTo>
                    <a:pt x="534628" y="158773"/>
                    <a:pt x="496955" y="196491"/>
                    <a:pt x="450670" y="196491"/>
                  </a:cubicBezTo>
                  <a:cubicBezTo>
                    <a:pt x="404386" y="196491"/>
                    <a:pt x="366712" y="158773"/>
                    <a:pt x="366712" y="112434"/>
                  </a:cubicBezTo>
                  <a:lnTo>
                    <a:pt x="366712" y="84415"/>
                  </a:lnTo>
                  <a:cubicBezTo>
                    <a:pt x="366712" y="37717"/>
                    <a:pt x="404386" y="0"/>
                    <a:pt x="45067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96D21A57-729B-6948-E47F-F6782A74528A}"/>
                </a:ext>
              </a:extLst>
            </p:cNvPr>
            <p:cNvSpPr txBox="1"/>
            <p:nvPr/>
          </p:nvSpPr>
          <p:spPr>
            <a:xfrm>
              <a:off x="1333366" y="4175711"/>
              <a:ext cx="175080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ANALIZA 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STRATEGICZNA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63A333CE-3380-6949-50B3-372F293B047D}"/>
                </a:ext>
              </a:extLst>
            </p:cNvPr>
            <p:cNvSpPr txBox="1"/>
            <p:nvPr/>
          </p:nvSpPr>
          <p:spPr>
            <a:xfrm>
              <a:off x="4143828" y="4175711"/>
              <a:ext cx="131318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WARTOŚĆI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30526AAE-AD95-1CA1-4511-C077A224DC5D}"/>
                </a:ext>
              </a:extLst>
            </p:cNvPr>
            <p:cNvSpPr txBox="1"/>
            <p:nvPr/>
          </p:nvSpPr>
          <p:spPr>
            <a:xfrm>
              <a:off x="6536910" y="4175711"/>
              <a:ext cx="1710725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CELE 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STRATEGICZNE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5181B75E-C4C2-C17B-410F-3488ECA6E384}"/>
                </a:ext>
              </a:extLst>
            </p:cNvPr>
            <p:cNvSpPr txBox="1"/>
            <p:nvPr/>
          </p:nvSpPr>
          <p:spPr>
            <a:xfrm>
              <a:off x="2680270" y="5060294"/>
              <a:ext cx="16466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MISJA I WIZJA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942D863C-F34D-98CB-D37E-4B3B9264AEFC}"/>
                </a:ext>
              </a:extLst>
            </p:cNvPr>
            <p:cNvSpPr txBox="1"/>
            <p:nvPr/>
          </p:nvSpPr>
          <p:spPr>
            <a:xfrm>
              <a:off x="5328528" y="5060294"/>
              <a:ext cx="1529586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OBSZARY 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STRAGICZNE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(FILARY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PRIORYTETY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3A1EE701-CDC8-653E-C5CC-028DB590DAE4}"/>
                </a:ext>
              </a:extLst>
            </p:cNvPr>
            <p:cNvSpPr txBox="1"/>
            <p:nvPr/>
          </p:nvSpPr>
          <p:spPr>
            <a:xfrm>
              <a:off x="7579914" y="5060294"/>
              <a:ext cx="222208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CELE 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OPERACYJNE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(+WSKAŹNIKI - KPI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0A393BB5-C96A-A70B-1A81-28940FA84566}"/>
                </a:ext>
              </a:extLst>
            </p:cNvPr>
            <p:cNvSpPr txBox="1"/>
            <p:nvPr/>
          </p:nvSpPr>
          <p:spPr>
            <a:xfrm>
              <a:off x="8863383" y="4175711"/>
              <a:ext cx="2239716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HARMONOGRAM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(KAMIENIE MILOWE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40461307-0066-9B03-DD65-6242C883CE0A}"/>
              </a:ext>
            </a:extLst>
          </p:cNvPr>
          <p:cNvSpPr txBox="1"/>
          <p:nvPr/>
        </p:nvSpPr>
        <p:spPr>
          <a:xfrm>
            <a:off x="359151" y="4543502"/>
            <a:ext cx="1418184" cy="260654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naliza </a:t>
            </a:r>
            <a:r>
              <a:rPr kumimoji="0" lang="pl-PL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krootoczenia</a:t>
            </a: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PEST)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naliza mikrootoczenia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5 sił portera)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naliza organizacji/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yscypliny </a:t>
            </a: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SWOT)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3942">
                  <a:lumMod val="50000"/>
                </a:srgbClr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E7692815-17D7-7DFF-979E-1B53D685A8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4890" y="2182203"/>
            <a:ext cx="1859598" cy="1859598"/>
          </a:xfrm>
          <a:prstGeom prst="rect">
            <a:avLst/>
          </a:prstGeom>
        </p:spPr>
      </p:pic>
      <p:pic>
        <p:nvPicPr>
          <p:cNvPr id="4" name="Obraz 3">
            <a:extLst>
              <a:ext uri="{FF2B5EF4-FFF2-40B4-BE49-F238E27FC236}">
                <a16:creationId xmlns:a16="http://schemas.microsoft.com/office/drawing/2014/main" id="{D67F9D7D-C357-527E-A131-F95C565C0D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99187" y="4865988"/>
            <a:ext cx="174852" cy="174852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1F6EC29F-13AC-70B7-414D-BDD7432E59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05959" y="2843993"/>
            <a:ext cx="725487" cy="774259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7BB3C96E-4969-5564-77BD-E1C5E9D06FA9}"/>
              </a:ext>
            </a:extLst>
          </p:cNvPr>
          <p:cNvSpPr txBox="1"/>
          <p:nvPr/>
        </p:nvSpPr>
        <p:spPr>
          <a:xfrm>
            <a:off x="10050999" y="5194727"/>
            <a:ext cx="1646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UNIKACJA</a:t>
            </a: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F3685BB5-42D3-CCFA-E09E-D4964A7835AF}"/>
              </a:ext>
            </a:extLst>
          </p:cNvPr>
          <p:cNvSpPr txBox="1"/>
          <p:nvPr/>
        </p:nvSpPr>
        <p:spPr>
          <a:xfrm>
            <a:off x="9448800" y="6424341"/>
            <a:ext cx="3175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>
                <a:solidFill>
                  <a:schemeClr val="tx2"/>
                </a:solidFill>
              </a:rPr>
              <a:t>Źródło: opracowanie własne</a:t>
            </a:r>
          </a:p>
        </p:txBody>
      </p:sp>
    </p:spTree>
    <p:extLst>
      <p:ext uri="{BB962C8B-B14F-4D97-AF65-F5344CB8AC3E}">
        <p14:creationId xmlns:p14="http://schemas.microsoft.com/office/powerpoint/2010/main" val="33329337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4634A2D-DB61-E562-D69F-AF2DCD90DD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4F78C79B-05C7-34AF-4682-E2DEC26DBE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98128B0-6076-3741-B060-53C52B7C23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072E5FF-B20F-E78B-19D1-97CC7CA8B9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1398" y="-108573"/>
            <a:ext cx="4080694" cy="2795160"/>
          </a:xfrm>
        </p:spPr>
        <p:txBody>
          <a:bodyPr>
            <a:normAutofit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OBSZARY STRATEGICZNE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40CEBCB8-E0D9-2245-6933-8D50C56AB0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6287" y="4121253"/>
            <a:ext cx="3125337" cy="1136843"/>
          </a:xfrm>
        </p:spPr>
        <p:txBody>
          <a:bodyPr>
            <a:normAutofit/>
          </a:bodyPr>
          <a:lstStyle/>
          <a:p>
            <a:endParaRPr lang="pl-PL" sz="1800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0513B7D3-8166-DC52-70C2-EA88D9C915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0884" y="152400"/>
            <a:ext cx="6921116" cy="5850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095D8127-8818-3854-956E-FD0BB66E24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200" y="3115733"/>
            <a:ext cx="4826000" cy="3639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0618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03D932E-7CE1-6153-6F0B-EAE2EF22E1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5FE29373-F4CB-33B9-F39D-A2D0615D0A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84F55AD-20C2-FCAE-A9A0-041805E9E4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1C25D3B-0EF6-3A82-AA03-1EAC72DBD32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3408" y="992094"/>
            <a:ext cx="4080694" cy="607810"/>
          </a:xfrm>
        </p:spPr>
        <p:txBody>
          <a:bodyPr>
            <a:normAutofit fontScale="90000"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OBSZARY STRATEGICZNE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E0DCD8AD-67E9-2888-C41F-78EA205925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6287" y="4121253"/>
            <a:ext cx="3125337" cy="1136843"/>
          </a:xfrm>
        </p:spPr>
        <p:txBody>
          <a:bodyPr>
            <a:normAutofit/>
          </a:bodyPr>
          <a:lstStyle/>
          <a:p>
            <a:endParaRPr lang="pl-PL" sz="1800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D0BDB871-A845-D3E3-6067-213F2A0521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9916" y="8569"/>
            <a:ext cx="5334744" cy="6849431"/>
          </a:xfrm>
          <a:prstGeom prst="rect">
            <a:avLst/>
          </a:prstGeom>
        </p:spPr>
      </p:pic>
      <p:pic>
        <p:nvPicPr>
          <p:cNvPr id="9" name="Obraz 8" descr="Obraz zawierający tekst, zrzut ekranu, Czcionka, logo&#10;&#10;Zawartość wygenerowana przez AI może być niepoprawna.">
            <a:extLst>
              <a:ext uri="{FF2B5EF4-FFF2-40B4-BE49-F238E27FC236}">
                <a16:creationId xmlns:a16="http://schemas.microsoft.com/office/drawing/2014/main" id="{BAD19D0A-944E-E8E7-B51E-83F6BC746B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30249"/>
            <a:ext cx="5957747" cy="5397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9250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1253276-9B96-5760-783C-B0C75C4AE6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0288446D-D6BB-3050-6668-38244FBAA7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D5908F4-0229-1785-8227-CE7934FCD5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22B78E2F-7B0B-B120-F953-ADC457811E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3408" y="992094"/>
            <a:ext cx="3616913" cy="2795160"/>
          </a:xfrm>
        </p:spPr>
        <p:txBody>
          <a:bodyPr>
            <a:normAutofit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Narzędzia zarządzania organizacją wg </a:t>
            </a:r>
            <a:r>
              <a:rPr lang="pl-PL" sz="4400" b="1" dirty="0" err="1">
                <a:solidFill>
                  <a:schemeClr val="accent1">
                    <a:lumMod val="75000"/>
                  </a:schemeClr>
                </a:solidFill>
              </a:rPr>
              <a:t>McKinsey</a:t>
            </a:r>
            <a:endParaRPr lang="pl-PL" sz="4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3163B16E-6737-8825-1A3A-1E1EFC06E3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8113" y="755527"/>
            <a:ext cx="8403537" cy="4815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Podtytuł 6">
            <a:extLst>
              <a:ext uri="{FF2B5EF4-FFF2-40B4-BE49-F238E27FC236}">
                <a16:creationId xmlns:a16="http://schemas.microsoft.com/office/drawing/2014/main" id="{7100E385-F73A-085F-DB5A-F963C14F69A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6D13B7F2-7C1E-173E-1344-D92378A9AE50}"/>
              </a:ext>
            </a:extLst>
          </p:cNvPr>
          <p:cNvSpPr txBox="1"/>
          <p:nvPr/>
        </p:nvSpPr>
        <p:spPr>
          <a:xfrm>
            <a:off x="8212667" y="6102473"/>
            <a:ext cx="4682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/>
              <a:t>Źródło:</a:t>
            </a:r>
            <a:r>
              <a:rPr lang="en-US" sz="1200" dirty="0"/>
              <a:t>R</a:t>
            </a:r>
            <a:r>
              <a:rPr lang="pl-PL" sz="1200" dirty="0"/>
              <a:t>.</a:t>
            </a:r>
            <a:r>
              <a:rPr lang="en-US" sz="1200" dirty="0"/>
              <a:t> H. Waterman, Jr. T</a:t>
            </a:r>
            <a:r>
              <a:rPr lang="pl-PL" sz="1200" dirty="0"/>
              <a:t>.</a:t>
            </a:r>
            <a:r>
              <a:rPr lang="en-US" sz="1200" dirty="0"/>
              <a:t> Peters, J</a:t>
            </a:r>
            <a:r>
              <a:rPr lang="pl-PL" sz="1200" dirty="0"/>
              <a:t>.</a:t>
            </a:r>
            <a:r>
              <a:rPr lang="en-US" sz="1200" dirty="0"/>
              <a:t>R. Phillips </a:t>
            </a:r>
            <a:r>
              <a:rPr lang="pl-PL" sz="1200" dirty="0"/>
              <a:t>(1</a:t>
            </a:r>
            <a:r>
              <a:rPr lang="en-US" sz="1200" dirty="0"/>
              <a:t>980</a:t>
            </a:r>
            <a:r>
              <a:rPr lang="pl-PL" sz="1200" dirty="0"/>
              <a:t>) </a:t>
            </a:r>
          </a:p>
        </p:txBody>
      </p:sp>
    </p:spTree>
    <p:extLst>
      <p:ext uri="{BB962C8B-B14F-4D97-AF65-F5344CB8AC3E}">
        <p14:creationId xmlns:p14="http://schemas.microsoft.com/office/powerpoint/2010/main" val="38266468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FCD99E-44E5-2DEB-FA4D-70A0F13305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>
            <a:extLst>
              <a:ext uri="{FF2B5EF4-FFF2-40B4-BE49-F238E27FC236}">
                <a16:creationId xmlns:a16="http://schemas.microsoft.com/office/drawing/2014/main" id="{E0F765C7-64BA-2B2C-8950-D6F3A5B134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6987" y="3955089"/>
            <a:ext cx="1452199" cy="973365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AD96036F-B873-3BB7-8F6C-58059E5003FF}"/>
              </a:ext>
            </a:extLst>
          </p:cNvPr>
          <p:cNvSpPr txBox="1"/>
          <p:nvPr/>
        </p:nvSpPr>
        <p:spPr>
          <a:xfrm>
            <a:off x="2212933" y="26591"/>
            <a:ext cx="729879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0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MASTER PLAN ROZWOJU </a:t>
            </a:r>
          </a:p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0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POLSKICH ZWIĄZKÓW SPORTOWYCH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1C2835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grpSp>
        <p:nvGrpSpPr>
          <p:cNvPr id="3" name="Grupa 2">
            <a:extLst>
              <a:ext uri="{FF2B5EF4-FFF2-40B4-BE49-F238E27FC236}">
                <a16:creationId xmlns:a16="http://schemas.microsoft.com/office/drawing/2014/main" id="{D84F40AE-C58C-5329-B3D5-696A4CB5F0D2}"/>
              </a:ext>
            </a:extLst>
          </p:cNvPr>
          <p:cNvGrpSpPr/>
          <p:nvPr/>
        </p:nvGrpSpPr>
        <p:grpSpPr>
          <a:xfrm>
            <a:off x="289162" y="1447529"/>
            <a:ext cx="9987086" cy="4645468"/>
            <a:chOff x="1116013" y="1492044"/>
            <a:chExt cx="9987086" cy="4645468"/>
          </a:xfrm>
        </p:grpSpPr>
        <p:sp>
          <p:nvSpPr>
            <p:cNvPr id="50" name="Shape 9155">
              <a:extLst>
                <a:ext uri="{FF2B5EF4-FFF2-40B4-BE49-F238E27FC236}">
                  <a16:creationId xmlns:a16="http://schemas.microsoft.com/office/drawing/2014/main" id="{EEE7DB55-30CA-7527-9825-98437A976586}"/>
                </a:ext>
              </a:extLst>
            </p:cNvPr>
            <p:cNvSpPr/>
            <p:nvPr/>
          </p:nvSpPr>
          <p:spPr>
            <a:xfrm>
              <a:off x="7575670" y="2197032"/>
              <a:ext cx="1859597" cy="1859599"/>
            </a:xfrm>
            <a:prstGeom prst="ellipse">
              <a:avLst/>
            </a:prstGeom>
            <a:solidFill>
              <a:schemeClr val="accent6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49" name="Shape 9155">
              <a:extLst>
                <a:ext uri="{FF2B5EF4-FFF2-40B4-BE49-F238E27FC236}">
                  <a16:creationId xmlns:a16="http://schemas.microsoft.com/office/drawing/2014/main" id="{A59FE86D-3410-9455-1B52-32705F756119}"/>
                </a:ext>
              </a:extLst>
            </p:cNvPr>
            <p:cNvSpPr/>
            <p:nvPr/>
          </p:nvSpPr>
          <p:spPr>
            <a:xfrm>
              <a:off x="2633515" y="2197032"/>
              <a:ext cx="1859597" cy="1859599"/>
            </a:xfrm>
            <a:prstGeom prst="ellipse">
              <a:avLst/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44" name="Shape 9155">
              <a:extLst>
                <a:ext uri="{FF2B5EF4-FFF2-40B4-BE49-F238E27FC236}">
                  <a16:creationId xmlns:a16="http://schemas.microsoft.com/office/drawing/2014/main" id="{4F83B52D-A026-390B-2210-1A0B9A08929E}"/>
                </a:ext>
              </a:extLst>
            </p:cNvPr>
            <p:cNvSpPr/>
            <p:nvPr/>
          </p:nvSpPr>
          <p:spPr>
            <a:xfrm>
              <a:off x="6464308" y="1492044"/>
              <a:ext cx="1859597" cy="1859599"/>
            </a:xfrm>
            <a:prstGeom prst="ellipse">
              <a:avLst/>
            </a:pr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42" name="Shape 9159">
              <a:extLst>
                <a:ext uri="{FF2B5EF4-FFF2-40B4-BE49-F238E27FC236}">
                  <a16:creationId xmlns:a16="http://schemas.microsoft.com/office/drawing/2014/main" id="{5B5EC237-5C38-7CDB-364E-19E7CCF8225C}"/>
                </a:ext>
              </a:extLst>
            </p:cNvPr>
            <p:cNvSpPr/>
            <p:nvPr/>
          </p:nvSpPr>
          <p:spPr>
            <a:xfrm>
              <a:off x="3892929" y="1492044"/>
              <a:ext cx="1859597" cy="1859598"/>
            </a:xfrm>
            <a:prstGeom prst="ellipse">
              <a:avLst/>
            </a:pr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38" name="Shape 9165">
              <a:extLst>
                <a:ext uri="{FF2B5EF4-FFF2-40B4-BE49-F238E27FC236}">
                  <a16:creationId xmlns:a16="http://schemas.microsoft.com/office/drawing/2014/main" id="{811431AF-75D3-DA9F-E34E-5F643C0A3403}"/>
                </a:ext>
              </a:extLst>
            </p:cNvPr>
            <p:cNvSpPr/>
            <p:nvPr/>
          </p:nvSpPr>
          <p:spPr>
            <a:xfrm>
              <a:off x="8899605" y="1492044"/>
              <a:ext cx="2176383" cy="2176386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36" name="Shape 9168">
              <a:extLst>
                <a:ext uri="{FF2B5EF4-FFF2-40B4-BE49-F238E27FC236}">
                  <a16:creationId xmlns:a16="http://schemas.microsoft.com/office/drawing/2014/main" id="{C2A8F2C4-B128-2464-6200-95E8C0D9A19D}"/>
                </a:ext>
              </a:extLst>
            </p:cNvPr>
            <p:cNvSpPr/>
            <p:nvPr/>
          </p:nvSpPr>
          <p:spPr>
            <a:xfrm>
              <a:off x="1116013" y="1492044"/>
              <a:ext cx="2181425" cy="2181428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5" name="Shape 9180">
              <a:extLst>
                <a:ext uri="{FF2B5EF4-FFF2-40B4-BE49-F238E27FC236}">
                  <a16:creationId xmlns:a16="http://schemas.microsoft.com/office/drawing/2014/main" id="{DCC72C9C-28C7-8E60-9C03-07508F097693}"/>
                </a:ext>
              </a:extLst>
            </p:cNvPr>
            <p:cNvSpPr/>
            <p:nvPr/>
          </p:nvSpPr>
          <p:spPr>
            <a:xfrm>
              <a:off x="2116042" y="3846520"/>
              <a:ext cx="181366" cy="181367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6" name="Shape 9181">
              <a:extLst>
                <a:ext uri="{FF2B5EF4-FFF2-40B4-BE49-F238E27FC236}">
                  <a16:creationId xmlns:a16="http://schemas.microsoft.com/office/drawing/2014/main" id="{9A05354C-5577-78DF-8FE9-92F4D216086B}"/>
                </a:ext>
              </a:extLst>
            </p:cNvPr>
            <p:cNvSpPr/>
            <p:nvPr/>
          </p:nvSpPr>
          <p:spPr>
            <a:xfrm>
              <a:off x="4709733" y="3846520"/>
              <a:ext cx="181367" cy="181367"/>
            </a:xfrm>
            <a:prstGeom prst="ellipse">
              <a:avLst/>
            </a:pr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7" name="Shape 9182">
              <a:extLst>
                <a:ext uri="{FF2B5EF4-FFF2-40B4-BE49-F238E27FC236}">
                  <a16:creationId xmlns:a16="http://schemas.microsoft.com/office/drawing/2014/main" id="{427921CB-5234-E538-9E69-63F567C206C4}"/>
                </a:ext>
              </a:extLst>
            </p:cNvPr>
            <p:cNvSpPr/>
            <p:nvPr/>
          </p:nvSpPr>
          <p:spPr>
            <a:xfrm>
              <a:off x="9897116" y="3846520"/>
              <a:ext cx="181367" cy="18136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8" name="Shape 9183">
              <a:extLst>
                <a:ext uri="{FF2B5EF4-FFF2-40B4-BE49-F238E27FC236}">
                  <a16:creationId xmlns:a16="http://schemas.microsoft.com/office/drawing/2014/main" id="{ECD06660-9B82-45D6-FC10-82F6E9A5EE30}"/>
                </a:ext>
              </a:extLst>
            </p:cNvPr>
            <p:cNvSpPr/>
            <p:nvPr/>
          </p:nvSpPr>
          <p:spPr>
            <a:xfrm>
              <a:off x="7303425" y="3846520"/>
              <a:ext cx="181367" cy="181367"/>
            </a:xfrm>
            <a:prstGeom prst="ellipse">
              <a:avLst/>
            </a:pr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9" name="Shape 9184">
              <a:extLst>
                <a:ext uri="{FF2B5EF4-FFF2-40B4-BE49-F238E27FC236}">
                  <a16:creationId xmlns:a16="http://schemas.microsoft.com/office/drawing/2014/main" id="{4E066FFC-9FAC-83A4-4DA1-D5D0EB2B043B}"/>
                </a:ext>
              </a:extLst>
            </p:cNvPr>
            <p:cNvSpPr/>
            <p:nvPr/>
          </p:nvSpPr>
          <p:spPr>
            <a:xfrm>
              <a:off x="3412887" y="4704075"/>
              <a:ext cx="181367" cy="181367"/>
            </a:xfrm>
            <a:prstGeom prst="ellipse">
              <a:avLst/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20" name="Shape 9185">
              <a:extLst>
                <a:ext uri="{FF2B5EF4-FFF2-40B4-BE49-F238E27FC236}">
                  <a16:creationId xmlns:a16="http://schemas.microsoft.com/office/drawing/2014/main" id="{37C1B87B-5129-6F87-81EF-0D5F0AF2F5F4}"/>
                </a:ext>
              </a:extLst>
            </p:cNvPr>
            <p:cNvSpPr/>
            <p:nvPr/>
          </p:nvSpPr>
          <p:spPr>
            <a:xfrm>
              <a:off x="6006579" y="4704075"/>
              <a:ext cx="181367" cy="181367"/>
            </a:xfrm>
            <a:prstGeom prst="ellipse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21" name="Shape 9186">
              <a:extLst>
                <a:ext uri="{FF2B5EF4-FFF2-40B4-BE49-F238E27FC236}">
                  <a16:creationId xmlns:a16="http://schemas.microsoft.com/office/drawing/2014/main" id="{5F733380-0A09-9797-112D-7D01FD8194BB}"/>
                </a:ext>
              </a:extLst>
            </p:cNvPr>
            <p:cNvSpPr/>
            <p:nvPr/>
          </p:nvSpPr>
          <p:spPr>
            <a:xfrm>
              <a:off x="8600270" y="4704075"/>
              <a:ext cx="181367" cy="181367"/>
            </a:xfrm>
            <a:prstGeom prst="ellipse">
              <a:avLst/>
            </a:prstGeom>
            <a:solidFill>
              <a:schemeClr val="accent6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9" name="Shape 9188">
              <a:extLst>
                <a:ext uri="{FF2B5EF4-FFF2-40B4-BE49-F238E27FC236}">
                  <a16:creationId xmlns:a16="http://schemas.microsoft.com/office/drawing/2014/main" id="{7EB783B2-D65F-5EDD-397E-4A27540903BE}"/>
                </a:ext>
              </a:extLst>
            </p:cNvPr>
            <p:cNvSpPr/>
            <p:nvPr/>
          </p:nvSpPr>
          <p:spPr>
            <a:xfrm>
              <a:off x="2301481" y="3999087"/>
              <a:ext cx="1111406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0" name="Shape 9189">
              <a:extLst>
                <a:ext uri="{FF2B5EF4-FFF2-40B4-BE49-F238E27FC236}">
                  <a16:creationId xmlns:a16="http://schemas.microsoft.com/office/drawing/2014/main" id="{7BE04A2D-482B-8221-9A16-97E1CF554C7C}"/>
                </a:ext>
              </a:extLst>
            </p:cNvPr>
            <p:cNvSpPr/>
            <p:nvPr/>
          </p:nvSpPr>
          <p:spPr>
            <a:xfrm flipV="1">
              <a:off x="3598326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1" name="Shape 9190">
              <a:extLst>
                <a:ext uri="{FF2B5EF4-FFF2-40B4-BE49-F238E27FC236}">
                  <a16:creationId xmlns:a16="http://schemas.microsoft.com/office/drawing/2014/main" id="{8C9500D0-01CD-72C8-E252-EABAEA947457}"/>
                </a:ext>
              </a:extLst>
            </p:cNvPr>
            <p:cNvSpPr/>
            <p:nvPr/>
          </p:nvSpPr>
          <p:spPr>
            <a:xfrm>
              <a:off x="4895172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2" name="Shape 9191">
              <a:extLst>
                <a:ext uri="{FF2B5EF4-FFF2-40B4-BE49-F238E27FC236}">
                  <a16:creationId xmlns:a16="http://schemas.microsoft.com/office/drawing/2014/main" id="{D1182969-ABA4-9C32-D5D2-D235EB4D69D9}"/>
                </a:ext>
              </a:extLst>
            </p:cNvPr>
            <p:cNvSpPr/>
            <p:nvPr/>
          </p:nvSpPr>
          <p:spPr>
            <a:xfrm flipV="1">
              <a:off x="6192018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3" name="Shape 9192">
              <a:extLst>
                <a:ext uri="{FF2B5EF4-FFF2-40B4-BE49-F238E27FC236}">
                  <a16:creationId xmlns:a16="http://schemas.microsoft.com/office/drawing/2014/main" id="{E14FD224-6129-F9D8-4EC5-D176BB981037}"/>
                </a:ext>
              </a:extLst>
            </p:cNvPr>
            <p:cNvSpPr/>
            <p:nvPr/>
          </p:nvSpPr>
          <p:spPr>
            <a:xfrm>
              <a:off x="7484989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4" name="Shape 9193">
              <a:extLst>
                <a:ext uri="{FF2B5EF4-FFF2-40B4-BE49-F238E27FC236}">
                  <a16:creationId xmlns:a16="http://schemas.microsoft.com/office/drawing/2014/main" id="{3152BAE2-AB33-9F04-CE68-8808A78A9333}"/>
                </a:ext>
              </a:extLst>
            </p:cNvPr>
            <p:cNvSpPr/>
            <p:nvPr/>
          </p:nvSpPr>
          <p:spPr>
            <a:xfrm flipV="1">
              <a:off x="8781834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1" name="Freeform 82">
              <a:extLst>
                <a:ext uri="{FF2B5EF4-FFF2-40B4-BE49-F238E27FC236}">
                  <a16:creationId xmlns:a16="http://schemas.microsoft.com/office/drawing/2014/main" id="{E5CDD396-EC3C-D8EF-B88C-F0AB7DBEF8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1394" y="2191277"/>
              <a:ext cx="830660" cy="777920"/>
            </a:xfrm>
            <a:custGeom>
              <a:avLst/>
              <a:gdLst>
                <a:gd name="T0" fmla="*/ 28575 w 899753"/>
                <a:gd name="T1" fmla="*/ 444500 h 842603"/>
                <a:gd name="T2" fmla="*/ 65686 w 899753"/>
                <a:gd name="T3" fmla="*/ 449899 h 842603"/>
                <a:gd name="T4" fmla="*/ 366179 w 899753"/>
                <a:gd name="T5" fmla="*/ 475816 h 842603"/>
                <a:gd name="T6" fmla="*/ 366179 w 899753"/>
                <a:gd name="T7" fmla="*/ 533047 h 842603"/>
                <a:gd name="T8" fmla="*/ 535161 w 899753"/>
                <a:gd name="T9" fmla="*/ 533047 h 842603"/>
                <a:gd name="T10" fmla="*/ 535161 w 899753"/>
                <a:gd name="T11" fmla="*/ 475816 h 842603"/>
                <a:gd name="T12" fmla="*/ 835293 w 899753"/>
                <a:gd name="T13" fmla="*/ 449899 h 842603"/>
                <a:gd name="T14" fmla="*/ 872765 w 899753"/>
                <a:gd name="T15" fmla="*/ 444500 h 842603"/>
                <a:gd name="T16" fmla="*/ 872765 w 899753"/>
                <a:gd name="T17" fmla="*/ 769894 h 842603"/>
                <a:gd name="T18" fmla="*/ 799984 w 899753"/>
                <a:gd name="T19" fmla="*/ 842603 h 842603"/>
                <a:gd name="T20" fmla="*/ 101356 w 899753"/>
                <a:gd name="T21" fmla="*/ 842603 h 842603"/>
                <a:gd name="T22" fmla="*/ 28575 w 899753"/>
                <a:gd name="T23" fmla="*/ 769894 h 842603"/>
                <a:gd name="T24" fmla="*/ 348884 w 899753"/>
                <a:gd name="T25" fmla="*/ 56606 h 842603"/>
                <a:gd name="T26" fmla="*/ 337362 w 899753"/>
                <a:gd name="T27" fmla="*/ 68144 h 842603"/>
                <a:gd name="T28" fmla="*/ 337362 w 899753"/>
                <a:gd name="T29" fmla="*/ 112852 h 842603"/>
                <a:gd name="T30" fmla="*/ 562391 w 899753"/>
                <a:gd name="T31" fmla="*/ 112852 h 842603"/>
                <a:gd name="T32" fmla="*/ 562391 w 899753"/>
                <a:gd name="T33" fmla="*/ 68144 h 842603"/>
                <a:gd name="T34" fmla="*/ 550869 w 899753"/>
                <a:gd name="T35" fmla="*/ 56606 h 842603"/>
                <a:gd name="T36" fmla="*/ 325841 w 899753"/>
                <a:gd name="T37" fmla="*/ 0 h 842603"/>
                <a:gd name="T38" fmla="*/ 573912 w 899753"/>
                <a:gd name="T39" fmla="*/ 0 h 842603"/>
                <a:gd name="T40" fmla="*/ 618558 w 899753"/>
                <a:gd name="T41" fmla="*/ 44708 h 842603"/>
                <a:gd name="T42" fmla="*/ 618558 w 899753"/>
                <a:gd name="T43" fmla="*/ 112852 h 842603"/>
                <a:gd name="T44" fmla="*/ 855108 w 899753"/>
                <a:gd name="T45" fmla="*/ 112852 h 842603"/>
                <a:gd name="T46" fmla="*/ 899753 w 899753"/>
                <a:gd name="T47" fmla="*/ 157561 h 842603"/>
                <a:gd name="T48" fmla="*/ 899753 w 899753"/>
                <a:gd name="T49" fmla="*/ 390837 h 842603"/>
                <a:gd name="T50" fmla="*/ 816943 w 899753"/>
                <a:gd name="T51" fmla="*/ 402014 h 842603"/>
                <a:gd name="T52" fmla="*/ 534307 w 899753"/>
                <a:gd name="T53" fmla="*/ 425089 h 842603"/>
                <a:gd name="T54" fmla="*/ 534307 w 899753"/>
                <a:gd name="T55" fmla="*/ 366320 h 842603"/>
                <a:gd name="T56" fmla="*/ 365446 w 899753"/>
                <a:gd name="T57" fmla="*/ 366320 h 842603"/>
                <a:gd name="T58" fmla="*/ 365446 w 899753"/>
                <a:gd name="T59" fmla="*/ 425089 h 842603"/>
                <a:gd name="T60" fmla="*/ 83171 w 899753"/>
                <a:gd name="T61" fmla="*/ 402014 h 842603"/>
                <a:gd name="T62" fmla="*/ 0 w 899753"/>
                <a:gd name="T63" fmla="*/ 390837 h 842603"/>
                <a:gd name="T64" fmla="*/ 0 w 899753"/>
                <a:gd name="T65" fmla="*/ 157561 h 842603"/>
                <a:gd name="T66" fmla="*/ 44646 w 899753"/>
                <a:gd name="T67" fmla="*/ 112852 h 842603"/>
                <a:gd name="T68" fmla="*/ 281195 w 899753"/>
                <a:gd name="T69" fmla="*/ 112852 h 842603"/>
                <a:gd name="T70" fmla="*/ 281195 w 899753"/>
                <a:gd name="T71" fmla="*/ 44708 h 84260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899753" h="842603">
                  <a:moveTo>
                    <a:pt x="28575" y="444500"/>
                  </a:moveTo>
                  <a:lnTo>
                    <a:pt x="65686" y="449899"/>
                  </a:lnTo>
                  <a:cubicBezTo>
                    <a:pt x="165490" y="463937"/>
                    <a:pt x="265654" y="472576"/>
                    <a:pt x="366179" y="475816"/>
                  </a:cubicBezTo>
                  <a:lnTo>
                    <a:pt x="366179" y="533047"/>
                  </a:lnTo>
                  <a:lnTo>
                    <a:pt x="535161" y="533047"/>
                  </a:lnTo>
                  <a:lnTo>
                    <a:pt x="535161" y="475816"/>
                  </a:lnTo>
                  <a:cubicBezTo>
                    <a:pt x="635325" y="472576"/>
                    <a:pt x="735850" y="463937"/>
                    <a:pt x="835293" y="449899"/>
                  </a:cubicBezTo>
                  <a:lnTo>
                    <a:pt x="872765" y="444500"/>
                  </a:lnTo>
                  <a:lnTo>
                    <a:pt x="872765" y="769894"/>
                  </a:lnTo>
                  <a:lnTo>
                    <a:pt x="799984" y="842603"/>
                  </a:lnTo>
                  <a:lnTo>
                    <a:pt x="101356" y="842603"/>
                  </a:lnTo>
                  <a:lnTo>
                    <a:pt x="28575" y="769894"/>
                  </a:lnTo>
                  <a:lnTo>
                    <a:pt x="28575" y="444500"/>
                  </a:lnTo>
                  <a:close/>
                  <a:moveTo>
                    <a:pt x="348884" y="56606"/>
                  </a:moveTo>
                  <a:lnTo>
                    <a:pt x="337362" y="68144"/>
                  </a:lnTo>
                  <a:lnTo>
                    <a:pt x="337362" y="112852"/>
                  </a:lnTo>
                  <a:lnTo>
                    <a:pt x="562391" y="112852"/>
                  </a:lnTo>
                  <a:lnTo>
                    <a:pt x="562391" y="68144"/>
                  </a:lnTo>
                  <a:lnTo>
                    <a:pt x="550869" y="56606"/>
                  </a:lnTo>
                  <a:lnTo>
                    <a:pt x="348884" y="56606"/>
                  </a:lnTo>
                  <a:close/>
                  <a:moveTo>
                    <a:pt x="325841" y="0"/>
                  </a:moveTo>
                  <a:lnTo>
                    <a:pt x="573912" y="0"/>
                  </a:lnTo>
                  <a:lnTo>
                    <a:pt x="618558" y="44708"/>
                  </a:lnTo>
                  <a:lnTo>
                    <a:pt x="618558" y="112852"/>
                  </a:lnTo>
                  <a:lnTo>
                    <a:pt x="855108" y="112852"/>
                  </a:lnTo>
                  <a:lnTo>
                    <a:pt x="899753" y="157561"/>
                  </a:lnTo>
                  <a:lnTo>
                    <a:pt x="899753" y="390837"/>
                  </a:lnTo>
                  <a:lnTo>
                    <a:pt x="816943" y="402014"/>
                  </a:lnTo>
                  <a:cubicBezTo>
                    <a:pt x="722971" y="414633"/>
                    <a:pt x="628639" y="422205"/>
                    <a:pt x="534307" y="425089"/>
                  </a:cubicBezTo>
                  <a:lnTo>
                    <a:pt x="534307" y="366320"/>
                  </a:lnTo>
                  <a:lnTo>
                    <a:pt x="365446" y="366320"/>
                  </a:lnTo>
                  <a:lnTo>
                    <a:pt x="365446" y="425089"/>
                  </a:lnTo>
                  <a:cubicBezTo>
                    <a:pt x="271114" y="422205"/>
                    <a:pt x="176782" y="414633"/>
                    <a:pt x="83171" y="402014"/>
                  </a:cubicBezTo>
                  <a:lnTo>
                    <a:pt x="0" y="390837"/>
                  </a:lnTo>
                  <a:lnTo>
                    <a:pt x="0" y="157561"/>
                  </a:lnTo>
                  <a:lnTo>
                    <a:pt x="44646" y="112852"/>
                  </a:lnTo>
                  <a:lnTo>
                    <a:pt x="281195" y="112852"/>
                  </a:lnTo>
                  <a:lnTo>
                    <a:pt x="281195" y="44708"/>
                  </a:lnTo>
                  <a:lnTo>
                    <a:pt x="32584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2" name="Freeform 80">
              <a:extLst>
                <a:ext uri="{FF2B5EF4-FFF2-40B4-BE49-F238E27FC236}">
                  <a16:creationId xmlns:a16="http://schemas.microsoft.com/office/drawing/2014/main" id="{6EFC5E53-0BEC-CB2E-B6B5-1234BD97D4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7224" y="2732671"/>
              <a:ext cx="492179" cy="788319"/>
            </a:xfrm>
            <a:custGeom>
              <a:avLst/>
              <a:gdLst>
                <a:gd name="T0" fmla="*/ 252413 w 561616"/>
                <a:gd name="T1" fmla="*/ 533400 h 899752"/>
                <a:gd name="T2" fmla="*/ 309199 w 561616"/>
                <a:gd name="T3" fmla="*/ 533400 h 899752"/>
                <a:gd name="T4" fmla="*/ 309199 w 561616"/>
                <a:gd name="T5" fmla="*/ 590188 h 899752"/>
                <a:gd name="T6" fmla="*/ 252413 w 561616"/>
                <a:gd name="T7" fmla="*/ 590188 h 899752"/>
                <a:gd name="T8" fmla="*/ 252763 w 561616"/>
                <a:gd name="T9" fmla="*/ 478263 h 899752"/>
                <a:gd name="T10" fmla="*/ 252763 w 561616"/>
                <a:gd name="T11" fmla="*/ 490131 h 899752"/>
                <a:gd name="T12" fmla="*/ 153527 w 561616"/>
                <a:gd name="T13" fmla="*/ 589389 h 899752"/>
                <a:gd name="T14" fmla="*/ 112179 w 561616"/>
                <a:gd name="T15" fmla="*/ 688648 h 899752"/>
                <a:gd name="T16" fmla="*/ 112179 w 561616"/>
                <a:gd name="T17" fmla="*/ 703033 h 899752"/>
                <a:gd name="T18" fmla="*/ 252763 w 561616"/>
                <a:gd name="T19" fmla="*/ 646931 h 899752"/>
                <a:gd name="T20" fmla="*/ 308853 w 561616"/>
                <a:gd name="T21" fmla="*/ 646931 h 899752"/>
                <a:gd name="T22" fmla="*/ 449436 w 561616"/>
                <a:gd name="T23" fmla="*/ 703033 h 899752"/>
                <a:gd name="T24" fmla="*/ 449436 w 561616"/>
                <a:gd name="T25" fmla="*/ 688648 h 899752"/>
                <a:gd name="T26" fmla="*/ 408088 w 561616"/>
                <a:gd name="T27" fmla="*/ 589389 h 899752"/>
                <a:gd name="T28" fmla="*/ 308853 w 561616"/>
                <a:gd name="T29" fmla="*/ 490131 h 899752"/>
                <a:gd name="T30" fmla="*/ 308853 w 561616"/>
                <a:gd name="T31" fmla="*/ 478263 h 899752"/>
                <a:gd name="T32" fmla="*/ 56089 w 561616"/>
                <a:gd name="T33" fmla="*/ 141287 h 899752"/>
                <a:gd name="T34" fmla="*/ 112179 w 561616"/>
                <a:gd name="T35" fmla="*/ 141287 h 899752"/>
                <a:gd name="T36" fmla="*/ 112179 w 561616"/>
                <a:gd name="T37" fmla="*/ 212135 h 899752"/>
                <a:gd name="T38" fmla="*/ 152089 w 561616"/>
                <a:gd name="T39" fmla="*/ 309955 h 899752"/>
                <a:gd name="T40" fmla="*/ 409526 w 561616"/>
                <a:gd name="T41" fmla="*/ 309955 h 899752"/>
                <a:gd name="T42" fmla="*/ 449436 w 561616"/>
                <a:gd name="T43" fmla="*/ 212135 h 899752"/>
                <a:gd name="T44" fmla="*/ 449436 w 561616"/>
                <a:gd name="T45" fmla="*/ 141287 h 899752"/>
                <a:gd name="T46" fmla="*/ 505526 w 561616"/>
                <a:gd name="T47" fmla="*/ 141287 h 899752"/>
                <a:gd name="T48" fmla="*/ 505526 w 561616"/>
                <a:gd name="T49" fmla="*/ 212135 h 899752"/>
                <a:gd name="T50" fmla="*/ 447998 w 561616"/>
                <a:gd name="T51" fmla="*/ 350953 h 899752"/>
                <a:gd name="T52" fmla="*/ 364942 w 561616"/>
                <a:gd name="T53" fmla="*/ 434028 h 899752"/>
                <a:gd name="T54" fmla="*/ 364942 w 561616"/>
                <a:gd name="T55" fmla="*/ 466755 h 899752"/>
                <a:gd name="T56" fmla="*/ 447998 w 561616"/>
                <a:gd name="T57" fmla="*/ 549830 h 899752"/>
                <a:gd name="T58" fmla="*/ 505526 w 561616"/>
                <a:gd name="T59" fmla="*/ 688648 h 899752"/>
                <a:gd name="T60" fmla="*/ 505526 w 561616"/>
                <a:gd name="T61" fmla="*/ 787547 h 899752"/>
                <a:gd name="T62" fmla="*/ 561616 w 561616"/>
                <a:gd name="T63" fmla="*/ 787547 h 899752"/>
                <a:gd name="T64" fmla="*/ 561616 w 561616"/>
                <a:gd name="T65" fmla="*/ 899752 h 899752"/>
                <a:gd name="T66" fmla="*/ 0 w 561616"/>
                <a:gd name="T67" fmla="*/ 899752 h 899752"/>
                <a:gd name="T68" fmla="*/ 0 w 561616"/>
                <a:gd name="T69" fmla="*/ 787547 h 899752"/>
                <a:gd name="T70" fmla="*/ 56089 w 561616"/>
                <a:gd name="T71" fmla="*/ 787547 h 899752"/>
                <a:gd name="T72" fmla="*/ 56089 w 561616"/>
                <a:gd name="T73" fmla="*/ 688648 h 899752"/>
                <a:gd name="T74" fmla="*/ 113977 w 561616"/>
                <a:gd name="T75" fmla="*/ 549830 h 899752"/>
                <a:gd name="T76" fmla="*/ 196673 w 561616"/>
                <a:gd name="T77" fmla="*/ 466755 h 899752"/>
                <a:gd name="T78" fmla="*/ 196673 w 561616"/>
                <a:gd name="T79" fmla="*/ 434028 h 899752"/>
                <a:gd name="T80" fmla="*/ 113977 w 561616"/>
                <a:gd name="T81" fmla="*/ 350953 h 899752"/>
                <a:gd name="T82" fmla="*/ 56089 w 561616"/>
                <a:gd name="T83" fmla="*/ 212135 h 899752"/>
                <a:gd name="T84" fmla="*/ 0 w 561616"/>
                <a:gd name="T85" fmla="*/ 0 h 899752"/>
                <a:gd name="T86" fmla="*/ 561616 w 561616"/>
                <a:gd name="T87" fmla="*/ 0 h 899752"/>
                <a:gd name="T88" fmla="*/ 561616 w 561616"/>
                <a:gd name="T89" fmla="*/ 112352 h 899752"/>
                <a:gd name="T90" fmla="*/ 0 w 561616"/>
                <a:gd name="T91" fmla="*/ 112352 h 89975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561616" h="899752">
                  <a:moveTo>
                    <a:pt x="252413" y="533400"/>
                  </a:moveTo>
                  <a:lnTo>
                    <a:pt x="309199" y="533400"/>
                  </a:lnTo>
                  <a:lnTo>
                    <a:pt x="309199" y="590188"/>
                  </a:lnTo>
                  <a:lnTo>
                    <a:pt x="252413" y="590188"/>
                  </a:lnTo>
                  <a:lnTo>
                    <a:pt x="252413" y="533400"/>
                  </a:lnTo>
                  <a:close/>
                  <a:moveTo>
                    <a:pt x="252763" y="478263"/>
                  </a:moveTo>
                  <a:lnTo>
                    <a:pt x="252763" y="490131"/>
                  </a:lnTo>
                  <a:lnTo>
                    <a:pt x="153527" y="589389"/>
                  </a:lnTo>
                  <a:cubicBezTo>
                    <a:pt x="126921" y="616002"/>
                    <a:pt x="112179" y="651246"/>
                    <a:pt x="112179" y="688648"/>
                  </a:cubicBezTo>
                  <a:lnTo>
                    <a:pt x="112179" y="703033"/>
                  </a:lnTo>
                  <a:lnTo>
                    <a:pt x="252763" y="646931"/>
                  </a:lnTo>
                  <a:lnTo>
                    <a:pt x="308853" y="646931"/>
                  </a:lnTo>
                  <a:lnTo>
                    <a:pt x="449436" y="703033"/>
                  </a:lnTo>
                  <a:lnTo>
                    <a:pt x="449436" y="688648"/>
                  </a:lnTo>
                  <a:cubicBezTo>
                    <a:pt x="449436" y="651246"/>
                    <a:pt x="434695" y="616002"/>
                    <a:pt x="408088" y="589389"/>
                  </a:cubicBezTo>
                  <a:lnTo>
                    <a:pt x="308853" y="490131"/>
                  </a:lnTo>
                  <a:lnTo>
                    <a:pt x="308853" y="478263"/>
                  </a:lnTo>
                  <a:lnTo>
                    <a:pt x="252763" y="478263"/>
                  </a:lnTo>
                  <a:close/>
                  <a:moveTo>
                    <a:pt x="56089" y="141287"/>
                  </a:moveTo>
                  <a:lnTo>
                    <a:pt x="112179" y="141287"/>
                  </a:lnTo>
                  <a:lnTo>
                    <a:pt x="112179" y="212135"/>
                  </a:lnTo>
                  <a:cubicBezTo>
                    <a:pt x="112179" y="248817"/>
                    <a:pt x="126561" y="283701"/>
                    <a:pt x="152089" y="309955"/>
                  </a:cubicBezTo>
                  <a:lnTo>
                    <a:pt x="409526" y="309955"/>
                  </a:lnTo>
                  <a:cubicBezTo>
                    <a:pt x="435054" y="283701"/>
                    <a:pt x="449436" y="248817"/>
                    <a:pt x="449436" y="212135"/>
                  </a:cubicBezTo>
                  <a:lnTo>
                    <a:pt x="449436" y="141287"/>
                  </a:lnTo>
                  <a:lnTo>
                    <a:pt x="505526" y="141287"/>
                  </a:lnTo>
                  <a:lnTo>
                    <a:pt x="505526" y="212135"/>
                  </a:lnTo>
                  <a:cubicBezTo>
                    <a:pt x="505526" y="264641"/>
                    <a:pt x="485032" y="313911"/>
                    <a:pt x="447998" y="350953"/>
                  </a:cubicBezTo>
                  <a:lnTo>
                    <a:pt x="364942" y="434028"/>
                  </a:lnTo>
                  <a:lnTo>
                    <a:pt x="364942" y="466755"/>
                  </a:lnTo>
                  <a:lnTo>
                    <a:pt x="447998" y="549830"/>
                  </a:lnTo>
                  <a:cubicBezTo>
                    <a:pt x="485032" y="586872"/>
                    <a:pt x="505526" y="636142"/>
                    <a:pt x="505526" y="688648"/>
                  </a:cubicBezTo>
                  <a:lnTo>
                    <a:pt x="505526" y="787547"/>
                  </a:lnTo>
                  <a:lnTo>
                    <a:pt x="561616" y="787547"/>
                  </a:lnTo>
                  <a:lnTo>
                    <a:pt x="561616" y="899752"/>
                  </a:lnTo>
                  <a:lnTo>
                    <a:pt x="0" y="899752"/>
                  </a:lnTo>
                  <a:lnTo>
                    <a:pt x="0" y="787547"/>
                  </a:lnTo>
                  <a:lnTo>
                    <a:pt x="56089" y="787547"/>
                  </a:lnTo>
                  <a:lnTo>
                    <a:pt x="56089" y="688648"/>
                  </a:lnTo>
                  <a:cubicBezTo>
                    <a:pt x="56089" y="636142"/>
                    <a:pt x="76584" y="586872"/>
                    <a:pt x="113977" y="549830"/>
                  </a:cubicBezTo>
                  <a:lnTo>
                    <a:pt x="196673" y="466755"/>
                  </a:lnTo>
                  <a:lnTo>
                    <a:pt x="196673" y="434028"/>
                  </a:lnTo>
                  <a:lnTo>
                    <a:pt x="113977" y="350953"/>
                  </a:lnTo>
                  <a:cubicBezTo>
                    <a:pt x="76584" y="313911"/>
                    <a:pt x="56089" y="264641"/>
                    <a:pt x="56089" y="212135"/>
                  </a:cubicBezTo>
                  <a:lnTo>
                    <a:pt x="56089" y="141287"/>
                  </a:lnTo>
                  <a:close/>
                  <a:moveTo>
                    <a:pt x="0" y="0"/>
                  </a:moveTo>
                  <a:lnTo>
                    <a:pt x="561616" y="0"/>
                  </a:lnTo>
                  <a:lnTo>
                    <a:pt x="561616" y="112352"/>
                  </a:lnTo>
                  <a:lnTo>
                    <a:pt x="0" y="1123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3" name="Freeform 41">
              <a:extLst>
                <a:ext uri="{FF2B5EF4-FFF2-40B4-BE49-F238E27FC236}">
                  <a16:creationId xmlns:a16="http://schemas.microsoft.com/office/drawing/2014/main" id="{F2E478F6-7402-B19E-D928-CBAC1CA276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98105" y="2164907"/>
              <a:ext cx="779383" cy="830660"/>
            </a:xfrm>
            <a:custGeom>
              <a:avLst/>
              <a:gdLst>
                <a:gd name="T0" fmla="*/ 450379 w 2344"/>
                <a:gd name="T1" fmla="*/ 478140 h 2500"/>
                <a:gd name="T2" fmla="*/ 731775 w 2344"/>
                <a:gd name="T3" fmla="*/ 421973 h 2500"/>
                <a:gd name="T4" fmla="*/ 731775 w 2344"/>
                <a:gd name="T5" fmla="*/ 703168 h 2500"/>
                <a:gd name="T6" fmla="*/ 450379 w 2344"/>
                <a:gd name="T7" fmla="*/ 646641 h 2500"/>
                <a:gd name="T8" fmla="*/ 731775 w 2344"/>
                <a:gd name="T9" fmla="*/ 703168 h 2500"/>
                <a:gd name="T10" fmla="*/ 366068 w 2344"/>
                <a:gd name="T11" fmla="*/ 365446 h 2500"/>
                <a:gd name="T12" fmla="*/ 337964 w 2344"/>
                <a:gd name="T13" fmla="*/ 337362 h 2500"/>
                <a:gd name="T14" fmla="*/ 366068 w 2344"/>
                <a:gd name="T15" fmla="*/ 309279 h 2500"/>
                <a:gd name="T16" fmla="*/ 394171 w 2344"/>
                <a:gd name="T17" fmla="*/ 337362 h 2500"/>
                <a:gd name="T18" fmla="*/ 366068 w 2344"/>
                <a:gd name="T19" fmla="*/ 478140 h 2500"/>
                <a:gd name="T20" fmla="*/ 337964 w 2344"/>
                <a:gd name="T21" fmla="*/ 449696 h 2500"/>
                <a:gd name="T22" fmla="*/ 366068 w 2344"/>
                <a:gd name="T23" fmla="*/ 421973 h 2500"/>
                <a:gd name="T24" fmla="*/ 394171 w 2344"/>
                <a:gd name="T25" fmla="*/ 449696 h 2500"/>
                <a:gd name="T26" fmla="*/ 366068 w 2344"/>
                <a:gd name="T27" fmla="*/ 478140 h 2500"/>
                <a:gd name="T28" fmla="*/ 366068 w 2344"/>
                <a:gd name="T29" fmla="*/ 590474 h 2500"/>
                <a:gd name="T30" fmla="*/ 337964 w 2344"/>
                <a:gd name="T31" fmla="*/ 562391 h 2500"/>
                <a:gd name="T32" fmla="*/ 366068 w 2344"/>
                <a:gd name="T33" fmla="*/ 534307 h 2500"/>
                <a:gd name="T34" fmla="*/ 394171 w 2344"/>
                <a:gd name="T35" fmla="*/ 562391 h 2500"/>
                <a:gd name="T36" fmla="*/ 366068 w 2344"/>
                <a:gd name="T37" fmla="*/ 703168 h 2500"/>
                <a:gd name="T38" fmla="*/ 337964 w 2344"/>
                <a:gd name="T39" fmla="*/ 674725 h 2500"/>
                <a:gd name="T40" fmla="*/ 366068 w 2344"/>
                <a:gd name="T41" fmla="*/ 646641 h 2500"/>
                <a:gd name="T42" fmla="*/ 394171 w 2344"/>
                <a:gd name="T43" fmla="*/ 674725 h 2500"/>
                <a:gd name="T44" fmla="*/ 366068 w 2344"/>
                <a:gd name="T45" fmla="*/ 703168 h 2500"/>
                <a:gd name="T46" fmla="*/ 619000 w 2344"/>
                <a:gd name="T47" fmla="*/ 534307 h 2500"/>
                <a:gd name="T48" fmla="*/ 450379 w 2344"/>
                <a:gd name="T49" fmla="*/ 590474 h 2500"/>
                <a:gd name="T50" fmla="*/ 450379 w 2344"/>
                <a:gd name="T51" fmla="*/ 309279 h 2500"/>
                <a:gd name="T52" fmla="*/ 703311 w 2344"/>
                <a:gd name="T53" fmla="*/ 365446 h 2500"/>
                <a:gd name="T54" fmla="*/ 450379 w 2344"/>
                <a:gd name="T55" fmla="*/ 309279 h 2500"/>
                <a:gd name="T56" fmla="*/ 647104 w 2344"/>
                <a:gd name="T57" fmla="*/ 140418 h 2500"/>
                <a:gd name="T58" fmla="*/ 450379 w 2344"/>
                <a:gd name="T59" fmla="*/ 196585 h 2500"/>
                <a:gd name="T60" fmla="*/ 225189 w 2344"/>
                <a:gd name="T61" fmla="*/ 815502 h 2500"/>
                <a:gd name="T62" fmla="*/ 197086 w 2344"/>
                <a:gd name="T63" fmla="*/ 843586 h 2500"/>
                <a:gd name="T64" fmla="*/ 168982 w 2344"/>
                <a:gd name="T65" fmla="*/ 815502 h 2500"/>
                <a:gd name="T66" fmla="*/ 168982 w 2344"/>
                <a:gd name="T67" fmla="*/ 309279 h 2500"/>
                <a:gd name="T68" fmla="*/ 225189 w 2344"/>
                <a:gd name="T69" fmla="*/ 281195 h 2500"/>
                <a:gd name="T70" fmla="*/ 112775 w 2344"/>
                <a:gd name="T71" fmla="*/ 590474 h 2500"/>
                <a:gd name="T72" fmla="*/ 56568 w 2344"/>
                <a:gd name="T73" fmla="*/ 309279 h 2500"/>
                <a:gd name="T74" fmla="*/ 84311 w 2344"/>
                <a:gd name="T75" fmla="*/ 281195 h 2500"/>
                <a:gd name="T76" fmla="*/ 112775 w 2344"/>
                <a:gd name="T77" fmla="*/ 309279 h 2500"/>
                <a:gd name="T78" fmla="*/ 225189 w 2344"/>
                <a:gd name="T79" fmla="*/ 0 h 2500"/>
                <a:gd name="T80" fmla="*/ 84311 w 2344"/>
                <a:gd name="T81" fmla="*/ 225028 h 2500"/>
                <a:gd name="T82" fmla="*/ 0 w 2344"/>
                <a:gd name="T83" fmla="*/ 309279 h 2500"/>
                <a:gd name="T84" fmla="*/ 112775 w 2344"/>
                <a:gd name="T85" fmla="*/ 646641 h 2500"/>
                <a:gd name="T86" fmla="*/ 112775 w 2344"/>
                <a:gd name="T87" fmla="*/ 815502 h 2500"/>
                <a:gd name="T88" fmla="*/ 759879 w 2344"/>
                <a:gd name="T89" fmla="*/ 899753 h 2500"/>
                <a:gd name="T90" fmla="*/ 844190 w 2344"/>
                <a:gd name="T91" fmla="*/ 815502 h 2500"/>
                <a:gd name="T92" fmla="*/ 225189 w 2344"/>
                <a:gd name="T93" fmla="*/ 0 h 250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344" h="2500">
                  <a:moveTo>
                    <a:pt x="2031" y="1328"/>
                  </a:moveTo>
                  <a:lnTo>
                    <a:pt x="1250" y="1328"/>
                  </a:lnTo>
                  <a:lnTo>
                    <a:pt x="1250" y="1172"/>
                  </a:lnTo>
                  <a:lnTo>
                    <a:pt x="2031" y="1172"/>
                  </a:lnTo>
                  <a:lnTo>
                    <a:pt x="2031" y="1328"/>
                  </a:lnTo>
                  <a:close/>
                  <a:moveTo>
                    <a:pt x="2031" y="1953"/>
                  </a:moveTo>
                  <a:lnTo>
                    <a:pt x="1250" y="1953"/>
                  </a:lnTo>
                  <a:lnTo>
                    <a:pt x="1250" y="1796"/>
                  </a:lnTo>
                  <a:lnTo>
                    <a:pt x="2031" y="1796"/>
                  </a:lnTo>
                  <a:lnTo>
                    <a:pt x="2031" y="1953"/>
                  </a:lnTo>
                  <a:close/>
                  <a:moveTo>
                    <a:pt x="1016" y="1015"/>
                  </a:moveTo>
                  <a:lnTo>
                    <a:pt x="1016" y="1015"/>
                  </a:lnTo>
                  <a:cubicBezTo>
                    <a:pt x="972" y="1015"/>
                    <a:pt x="938" y="980"/>
                    <a:pt x="938" y="937"/>
                  </a:cubicBezTo>
                  <a:cubicBezTo>
                    <a:pt x="938" y="893"/>
                    <a:pt x="972" y="859"/>
                    <a:pt x="1016" y="859"/>
                  </a:cubicBezTo>
                  <a:cubicBezTo>
                    <a:pt x="1059" y="859"/>
                    <a:pt x="1094" y="893"/>
                    <a:pt x="1094" y="937"/>
                  </a:cubicBezTo>
                  <a:cubicBezTo>
                    <a:pt x="1094" y="980"/>
                    <a:pt x="1059" y="1015"/>
                    <a:pt x="1016" y="1015"/>
                  </a:cubicBezTo>
                  <a:close/>
                  <a:moveTo>
                    <a:pt x="1016" y="1328"/>
                  </a:moveTo>
                  <a:lnTo>
                    <a:pt x="1016" y="1328"/>
                  </a:lnTo>
                  <a:cubicBezTo>
                    <a:pt x="972" y="1328"/>
                    <a:pt x="938" y="1293"/>
                    <a:pt x="938" y="1249"/>
                  </a:cubicBezTo>
                  <a:cubicBezTo>
                    <a:pt x="938" y="1206"/>
                    <a:pt x="972" y="1172"/>
                    <a:pt x="1016" y="1172"/>
                  </a:cubicBezTo>
                  <a:cubicBezTo>
                    <a:pt x="1059" y="1172"/>
                    <a:pt x="1094" y="1206"/>
                    <a:pt x="1094" y="1249"/>
                  </a:cubicBezTo>
                  <a:cubicBezTo>
                    <a:pt x="1094" y="1293"/>
                    <a:pt x="1059" y="1328"/>
                    <a:pt x="1016" y="1328"/>
                  </a:cubicBezTo>
                  <a:close/>
                  <a:moveTo>
                    <a:pt x="1016" y="1640"/>
                  </a:moveTo>
                  <a:lnTo>
                    <a:pt x="1016" y="1640"/>
                  </a:lnTo>
                  <a:cubicBezTo>
                    <a:pt x="972" y="1640"/>
                    <a:pt x="938" y="1605"/>
                    <a:pt x="938" y="1562"/>
                  </a:cubicBezTo>
                  <a:cubicBezTo>
                    <a:pt x="938" y="1519"/>
                    <a:pt x="972" y="1484"/>
                    <a:pt x="1016" y="1484"/>
                  </a:cubicBezTo>
                  <a:cubicBezTo>
                    <a:pt x="1059" y="1484"/>
                    <a:pt x="1094" y="1519"/>
                    <a:pt x="1094" y="1562"/>
                  </a:cubicBezTo>
                  <a:cubicBezTo>
                    <a:pt x="1094" y="1605"/>
                    <a:pt x="1059" y="1640"/>
                    <a:pt x="1016" y="1640"/>
                  </a:cubicBezTo>
                  <a:close/>
                  <a:moveTo>
                    <a:pt x="1016" y="1953"/>
                  </a:moveTo>
                  <a:lnTo>
                    <a:pt x="1016" y="1953"/>
                  </a:lnTo>
                  <a:cubicBezTo>
                    <a:pt x="972" y="1953"/>
                    <a:pt x="938" y="1917"/>
                    <a:pt x="938" y="1874"/>
                  </a:cubicBezTo>
                  <a:cubicBezTo>
                    <a:pt x="938" y="1831"/>
                    <a:pt x="972" y="1796"/>
                    <a:pt x="1016" y="1796"/>
                  </a:cubicBezTo>
                  <a:cubicBezTo>
                    <a:pt x="1059" y="1796"/>
                    <a:pt x="1094" y="1831"/>
                    <a:pt x="1094" y="1874"/>
                  </a:cubicBezTo>
                  <a:cubicBezTo>
                    <a:pt x="1094" y="1917"/>
                    <a:pt x="1059" y="1953"/>
                    <a:pt x="1016" y="1953"/>
                  </a:cubicBezTo>
                  <a:close/>
                  <a:moveTo>
                    <a:pt x="1250" y="1484"/>
                  </a:moveTo>
                  <a:lnTo>
                    <a:pt x="1718" y="1484"/>
                  </a:lnTo>
                  <a:lnTo>
                    <a:pt x="1718" y="1640"/>
                  </a:lnTo>
                  <a:lnTo>
                    <a:pt x="1250" y="1640"/>
                  </a:lnTo>
                  <a:lnTo>
                    <a:pt x="1250" y="1484"/>
                  </a:lnTo>
                  <a:close/>
                  <a:moveTo>
                    <a:pt x="1250" y="859"/>
                  </a:moveTo>
                  <a:lnTo>
                    <a:pt x="1952" y="859"/>
                  </a:lnTo>
                  <a:lnTo>
                    <a:pt x="1952" y="1015"/>
                  </a:lnTo>
                  <a:lnTo>
                    <a:pt x="1250" y="1015"/>
                  </a:lnTo>
                  <a:lnTo>
                    <a:pt x="1250" y="859"/>
                  </a:lnTo>
                  <a:close/>
                  <a:moveTo>
                    <a:pt x="1250" y="390"/>
                  </a:moveTo>
                  <a:lnTo>
                    <a:pt x="1796" y="390"/>
                  </a:lnTo>
                  <a:lnTo>
                    <a:pt x="1796" y="546"/>
                  </a:lnTo>
                  <a:lnTo>
                    <a:pt x="1250" y="546"/>
                  </a:lnTo>
                  <a:lnTo>
                    <a:pt x="1250" y="390"/>
                  </a:lnTo>
                  <a:close/>
                  <a:moveTo>
                    <a:pt x="625" y="2265"/>
                  </a:moveTo>
                  <a:lnTo>
                    <a:pt x="625" y="2265"/>
                  </a:lnTo>
                  <a:cubicBezTo>
                    <a:pt x="625" y="2308"/>
                    <a:pt x="590" y="2343"/>
                    <a:pt x="547" y="2343"/>
                  </a:cubicBezTo>
                  <a:cubicBezTo>
                    <a:pt x="504" y="2343"/>
                    <a:pt x="469" y="2308"/>
                    <a:pt x="469" y="2265"/>
                  </a:cubicBezTo>
                  <a:lnTo>
                    <a:pt x="469" y="859"/>
                  </a:lnTo>
                  <a:cubicBezTo>
                    <a:pt x="469" y="831"/>
                    <a:pt x="463" y="806"/>
                    <a:pt x="454" y="781"/>
                  </a:cubicBezTo>
                  <a:lnTo>
                    <a:pt x="625" y="781"/>
                  </a:lnTo>
                  <a:lnTo>
                    <a:pt x="625" y="2265"/>
                  </a:lnTo>
                  <a:close/>
                  <a:moveTo>
                    <a:pt x="313" y="1640"/>
                  </a:moveTo>
                  <a:lnTo>
                    <a:pt x="157" y="1640"/>
                  </a:lnTo>
                  <a:lnTo>
                    <a:pt x="157" y="859"/>
                  </a:lnTo>
                  <a:cubicBezTo>
                    <a:pt x="157" y="816"/>
                    <a:pt x="191" y="781"/>
                    <a:pt x="234" y="781"/>
                  </a:cubicBezTo>
                  <a:cubicBezTo>
                    <a:pt x="277" y="781"/>
                    <a:pt x="313" y="816"/>
                    <a:pt x="313" y="859"/>
                  </a:cubicBezTo>
                  <a:lnTo>
                    <a:pt x="313" y="1640"/>
                  </a:lnTo>
                  <a:close/>
                  <a:moveTo>
                    <a:pt x="625" y="0"/>
                  </a:moveTo>
                  <a:lnTo>
                    <a:pt x="625" y="625"/>
                  </a:lnTo>
                  <a:lnTo>
                    <a:pt x="234" y="625"/>
                  </a:lnTo>
                  <a:cubicBezTo>
                    <a:pt x="105" y="625"/>
                    <a:pt x="0" y="730"/>
                    <a:pt x="0" y="859"/>
                  </a:cubicBezTo>
                  <a:lnTo>
                    <a:pt x="0" y="1796"/>
                  </a:lnTo>
                  <a:lnTo>
                    <a:pt x="313" y="1796"/>
                  </a:lnTo>
                  <a:lnTo>
                    <a:pt x="313" y="2265"/>
                  </a:lnTo>
                  <a:cubicBezTo>
                    <a:pt x="313" y="2394"/>
                    <a:pt x="418" y="2499"/>
                    <a:pt x="547" y="2499"/>
                  </a:cubicBezTo>
                  <a:lnTo>
                    <a:pt x="2109" y="2499"/>
                  </a:lnTo>
                  <a:cubicBezTo>
                    <a:pt x="2238" y="2499"/>
                    <a:pt x="2343" y="2394"/>
                    <a:pt x="2343" y="2265"/>
                  </a:cubicBezTo>
                  <a:lnTo>
                    <a:pt x="2343" y="0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4" name="Freeform 89">
              <a:extLst>
                <a:ext uri="{FF2B5EF4-FFF2-40B4-BE49-F238E27FC236}">
                  <a16:creationId xmlns:a16="http://schemas.microsoft.com/office/drawing/2014/main" id="{A6E9FBA7-D435-6061-A9E5-7748CCBDBB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0730" y="2189715"/>
              <a:ext cx="620464" cy="464256"/>
            </a:xfrm>
            <a:custGeom>
              <a:avLst/>
              <a:gdLst>
                <a:gd name="T0" fmla="*/ 573956 w 901340"/>
                <a:gd name="T1" fmla="*/ 561975 h 674329"/>
                <a:gd name="T2" fmla="*/ 901340 w 901340"/>
                <a:gd name="T3" fmla="*/ 561975 h 674329"/>
                <a:gd name="T4" fmla="*/ 901340 w 901340"/>
                <a:gd name="T5" fmla="*/ 674329 h 674329"/>
                <a:gd name="T6" fmla="*/ 468313 w 901340"/>
                <a:gd name="T7" fmla="*/ 674329 h 674329"/>
                <a:gd name="T8" fmla="*/ 573956 w 901340"/>
                <a:gd name="T9" fmla="*/ 561975 h 674329"/>
                <a:gd name="T10" fmla="*/ 616811 w 901340"/>
                <a:gd name="T11" fmla="*/ 420688 h 674329"/>
                <a:gd name="T12" fmla="*/ 842604 w 901340"/>
                <a:gd name="T13" fmla="*/ 420688 h 674329"/>
                <a:gd name="T14" fmla="*/ 842604 w 901340"/>
                <a:gd name="T15" fmla="*/ 533040 h 674329"/>
                <a:gd name="T16" fmla="*/ 587375 w 901340"/>
                <a:gd name="T17" fmla="*/ 533040 h 674329"/>
                <a:gd name="T18" fmla="*/ 616811 w 901340"/>
                <a:gd name="T19" fmla="*/ 420688 h 674329"/>
                <a:gd name="T20" fmla="*/ 600075 w 901340"/>
                <a:gd name="T21" fmla="*/ 280988 h 674329"/>
                <a:gd name="T22" fmla="*/ 901339 w 901340"/>
                <a:gd name="T23" fmla="*/ 280988 h 674329"/>
                <a:gd name="T24" fmla="*/ 901339 w 901340"/>
                <a:gd name="T25" fmla="*/ 393341 h 674329"/>
                <a:gd name="T26" fmla="*/ 619919 w 901340"/>
                <a:gd name="T27" fmla="*/ 393341 h 674329"/>
                <a:gd name="T28" fmla="*/ 600075 w 901340"/>
                <a:gd name="T29" fmla="*/ 280988 h 674329"/>
                <a:gd name="T30" fmla="*/ 196799 w 901340"/>
                <a:gd name="T31" fmla="*/ 280982 h 674329"/>
                <a:gd name="T32" fmla="*/ 196799 w 901340"/>
                <a:gd name="T33" fmla="*/ 337072 h 674329"/>
                <a:gd name="T34" fmla="*/ 252925 w 901340"/>
                <a:gd name="T35" fmla="*/ 337072 h 674329"/>
                <a:gd name="T36" fmla="*/ 252925 w 901340"/>
                <a:gd name="T37" fmla="*/ 449611 h 674329"/>
                <a:gd name="T38" fmla="*/ 196799 w 901340"/>
                <a:gd name="T39" fmla="*/ 449611 h 674329"/>
                <a:gd name="T40" fmla="*/ 196799 w 901340"/>
                <a:gd name="T41" fmla="*/ 505700 h 674329"/>
                <a:gd name="T42" fmla="*/ 365176 w 901340"/>
                <a:gd name="T43" fmla="*/ 505700 h 674329"/>
                <a:gd name="T44" fmla="*/ 365176 w 901340"/>
                <a:gd name="T45" fmla="*/ 449611 h 674329"/>
                <a:gd name="T46" fmla="*/ 309051 w 901340"/>
                <a:gd name="T47" fmla="*/ 449611 h 674329"/>
                <a:gd name="T48" fmla="*/ 309051 w 901340"/>
                <a:gd name="T49" fmla="*/ 280982 h 674329"/>
                <a:gd name="T50" fmla="*/ 503238 w 901340"/>
                <a:gd name="T51" fmla="*/ 139700 h 674329"/>
                <a:gd name="T52" fmla="*/ 787040 w 901340"/>
                <a:gd name="T53" fmla="*/ 139700 h 674329"/>
                <a:gd name="T54" fmla="*/ 787040 w 901340"/>
                <a:gd name="T55" fmla="*/ 252053 h 674329"/>
                <a:gd name="T56" fmla="*/ 587154 w 901340"/>
                <a:gd name="T57" fmla="*/ 252053 h 674329"/>
                <a:gd name="T58" fmla="*/ 503238 w 901340"/>
                <a:gd name="T59" fmla="*/ 139700 h 674329"/>
                <a:gd name="T60" fmla="*/ 280988 w 901340"/>
                <a:gd name="T61" fmla="*/ 112713 h 674329"/>
                <a:gd name="T62" fmla="*/ 561615 w 901340"/>
                <a:gd name="T63" fmla="*/ 393521 h 674329"/>
                <a:gd name="T64" fmla="*/ 280988 w 901340"/>
                <a:gd name="T65" fmla="*/ 674329 h 674329"/>
                <a:gd name="T66" fmla="*/ 0 w 901340"/>
                <a:gd name="T67" fmla="*/ 393521 h 674329"/>
                <a:gd name="T68" fmla="*/ 280988 w 901340"/>
                <a:gd name="T69" fmla="*/ 112713 h 674329"/>
                <a:gd name="T70" fmla="*/ 282575 w 901340"/>
                <a:gd name="T71" fmla="*/ 0 h 674329"/>
                <a:gd name="T72" fmla="*/ 844190 w 901340"/>
                <a:gd name="T73" fmla="*/ 0 h 674329"/>
                <a:gd name="T74" fmla="*/ 844190 w 901340"/>
                <a:gd name="T75" fmla="*/ 112353 h 674329"/>
                <a:gd name="T76" fmla="*/ 468221 w 901340"/>
                <a:gd name="T77" fmla="*/ 112353 h 674329"/>
                <a:gd name="T78" fmla="*/ 282575 w 901340"/>
                <a:gd name="T79" fmla="*/ 55816 h 67432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901340" h="674329">
                  <a:moveTo>
                    <a:pt x="573956" y="561975"/>
                  </a:moveTo>
                  <a:lnTo>
                    <a:pt x="901340" y="561975"/>
                  </a:lnTo>
                  <a:lnTo>
                    <a:pt x="901340" y="674329"/>
                  </a:lnTo>
                  <a:lnTo>
                    <a:pt x="468313" y="674329"/>
                  </a:lnTo>
                  <a:cubicBezTo>
                    <a:pt x="511940" y="645613"/>
                    <a:pt x="547996" y="607204"/>
                    <a:pt x="573956" y="561975"/>
                  </a:cubicBezTo>
                  <a:close/>
                  <a:moveTo>
                    <a:pt x="616811" y="420688"/>
                  </a:moveTo>
                  <a:lnTo>
                    <a:pt x="842604" y="420688"/>
                  </a:lnTo>
                  <a:lnTo>
                    <a:pt x="842604" y="533040"/>
                  </a:lnTo>
                  <a:lnTo>
                    <a:pt x="587375" y="533040"/>
                  </a:lnTo>
                  <a:cubicBezTo>
                    <a:pt x="603529" y="498470"/>
                    <a:pt x="613580" y="460660"/>
                    <a:pt x="616811" y="420688"/>
                  </a:cubicBezTo>
                  <a:close/>
                  <a:moveTo>
                    <a:pt x="600075" y="280988"/>
                  </a:moveTo>
                  <a:lnTo>
                    <a:pt x="901339" y="280988"/>
                  </a:lnTo>
                  <a:lnTo>
                    <a:pt x="901339" y="393341"/>
                  </a:lnTo>
                  <a:lnTo>
                    <a:pt x="619919" y="393341"/>
                  </a:lnTo>
                  <a:cubicBezTo>
                    <a:pt x="619919" y="353856"/>
                    <a:pt x="612703" y="316166"/>
                    <a:pt x="600075" y="280988"/>
                  </a:cubicBezTo>
                  <a:close/>
                  <a:moveTo>
                    <a:pt x="196799" y="280982"/>
                  </a:moveTo>
                  <a:lnTo>
                    <a:pt x="196799" y="337072"/>
                  </a:lnTo>
                  <a:lnTo>
                    <a:pt x="252925" y="337072"/>
                  </a:lnTo>
                  <a:lnTo>
                    <a:pt x="252925" y="449611"/>
                  </a:lnTo>
                  <a:lnTo>
                    <a:pt x="196799" y="449611"/>
                  </a:lnTo>
                  <a:lnTo>
                    <a:pt x="196799" y="505700"/>
                  </a:lnTo>
                  <a:lnTo>
                    <a:pt x="365176" y="505700"/>
                  </a:lnTo>
                  <a:lnTo>
                    <a:pt x="365176" y="449611"/>
                  </a:lnTo>
                  <a:lnTo>
                    <a:pt x="309051" y="449611"/>
                  </a:lnTo>
                  <a:lnTo>
                    <a:pt x="309051" y="280982"/>
                  </a:lnTo>
                  <a:lnTo>
                    <a:pt x="196799" y="280982"/>
                  </a:lnTo>
                  <a:close/>
                  <a:moveTo>
                    <a:pt x="503238" y="139700"/>
                  </a:moveTo>
                  <a:lnTo>
                    <a:pt x="787040" y="139700"/>
                  </a:lnTo>
                  <a:lnTo>
                    <a:pt x="787040" y="252053"/>
                  </a:lnTo>
                  <a:lnTo>
                    <a:pt x="587154" y="252053"/>
                  </a:lnTo>
                  <a:cubicBezTo>
                    <a:pt x="567346" y="208840"/>
                    <a:pt x="538894" y="170669"/>
                    <a:pt x="503238" y="139700"/>
                  </a:cubicBezTo>
                  <a:close/>
                  <a:moveTo>
                    <a:pt x="280988" y="112713"/>
                  </a:moveTo>
                  <a:cubicBezTo>
                    <a:pt x="436053" y="112713"/>
                    <a:pt x="561615" y="238555"/>
                    <a:pt x="561615" y="393521"/>
                  </a:cubicBezTo>
                  <a:cubicBezTo>
                    <a:pt x="561615" y="548487"/>
                    <a:pt x="436053" y="674329"/>
                    <a:pt x="280988" y="674329"/>
                  </a:cubicBezTo>
                  <a:cubicBezTo>
                    <a:pt x="125923" y="674329"/>
                    <a:pt x="0" y="548487"/>
                    <a:pt x="0" y="393521"/>
                  </a:cubicBezTo>
                  <a:cubicBezTo>
                    <a:pt x="0" y="238555"/>
                    <a:pt x="125923" y="112713"/>
                    <a:pt x="280988" y="112713"/>
                  </a:cubicBezTo>
                  <a:close/>
                  <a:moveTo>
                    <a:pt x="282575" y="0"/>
                  </a:moveTo>
                  <a:lnTo>
                    <a:pt x="844190" y="0"/>
                  </a:lnTo>
                  <a:lnTo>
                    <a:pt x="844190" y="112353"/>
                  </a:lnTo>
                  <a:lnTo>
                    <a:pt x="468221" y="112353"/>
                  </a:lnTo>
                  <a:cubicBezTo>
                    <a:pt x="415694" y="76702"/>
                    <a:pt x="351293" y="55816"/>
                    <a:pt x="282575" y="55816"/>
                  </a:cubicBezTo>
                  <a:lnTo>
                    <a:pt x="28257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5" name="Freeform 85">
              <a:extLst>
                <a:ext uri="{FF2B5EF4-FFF2-40B4-BE49-F238E27FC236}">
                  <a16:creationId xmlns:a16="http://schemas.microsoft.com/office/drawing/2014/main" id="{C657B121-FE88-F9DF-F589-9E9EC3EB8C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7018" y="2112157"/>
              <a:ext cx="619371" cy="619372"/>
            </a:xfrm>
            <a:custGeom>
              <a:avLst/>
              <a:gdLst>
                <a:gd name="T0" fmla="*/ 422275 w 899752"/>
                <a:gd name="T1" fmla="*/ 280988 h 899754"/>
                <a:gd name="T2" fmla="*/ 534627 w 899752"/>
                <a:gd name="T3" fmla="*/ 365919 h 899754"/>
                <a:gd name="T4" fmla="*/ 422275 w 899752"/>
                <a:gd name="T5" fmla="*/ 450489 h 899754"/>
                <a:gd name="T6" fmla="*/ 57150 w 899752"/>
                <a:gd name="T7" fmla="*/ 225425 h 899754"/>
                <a:gd name="T8" fmla="*/ 113290 w 899752"/>
                <a:gd name="T9" fmla="*/ 225425 h 899754"/>
                <a:gd name="T10" fmla="*/ 113290 w 899752"/>
                <a:gd name="T11" fmla="*/ 562409 h 899754"/>
                <a:gd name="T12" fmla="*/ 422420 w 899752"/>
                <a:gd name="T13" fmla="*/ 562409 h 899754"/>
                <a:gd name="T14" fmla="*/ 478560 w 899752"/>
                <a:gd name="T15" fmla="*/ 562409 h 899754"/>
                <a:gd name="T16" fmla="*/ 787690 w 899752"/>
                <a:gd name="T17" fmla="*/ 562409 h 899754"/>
                <a:gd name="T18" fmla="*/ 787690 w 899752"/>
                <a:gd name="T19" fmla="*/ 225425 h 899754"/>
                <a:gd name="T20" fmla="*/ 844190 w 899752"/>
                <a:gd name="T21" fmla="*/ 225425 h 899754"/>
                <a:gd name="T22" fmla="*/ 844190 w 899752"/>
                <a:gd name="T23" fmla="*/ 618873 h 899754"/>
                <a:gd name="T24" fmla="*/ 478560 w 899752"/>
                <a:gd name="T25" fmla="*/ 618873 h 899754"/>
                <a:gd name="T26" fmla="*/ 478560 w 899752"/>
                <a:gd name="T27" fmla="*/ 803729 h 899754"/>
                <a:gd name="T28" fmla="*/ 490436 w 899752"/>
                <a:gd name="T29" fmla="*/ 815597 h 899754"/>
                <a:gd name="T30" fmla="*/ 518146 w 899752"/>
                <a:gd name="T31" fmla="*/ 843649 h 899754"/>
                <a:gd name="T32" fmla="*/ 590840 w 899752"/>
                <a:gd name="T33" fmla="*/ 843649 h 899754"/>
                <a:gd name="T34" fmla="*/ 590840 w 899752"/>
                <a:gd name="T35" fmla="*/ 899754 h 899754"/>
                <a:gd name="T36" fmla="*/ 495114 w 899752"/>
                <a:gd name="T37" fmla="*/ 899754 h 899754"/>
                <a:gd name="T38" fmla="*/ 450490 w 899752"/>
                <a:gd name="T39" fmla="*/ 855158 h 899754"/>
                <a:gd name="T40" fmla="*/ 405866 w 899752"/>
                <a:gd name="T41" fmla="*/ 899754 h 899754"/>
                <a:gd name="T42" fmla="*/ 309780 w 899752"/>
                <a:gd name="T43" fmla="*/ 899754 h 899754"/>
                <a:gd name="T44" fmla="*/ 309780 w 899752"/>
                <a:gd name="T45" fmla="*/ 843649 h 899754"/>
                <a:gd name="T46" fmla="*/ 382475 w 899752"/>
                <a:gd name="T47" fmla="*/ 843649 h 899754"/>
                <a:gd name="T48" fmla="*/ 410904 w 899752"/>
                <a:gd name="T49" fmla="*/ 815597 h 899754"/>
                <a:gd name="T50" fmla="*/ 422420 w 899752"/>
                <a:gd name="T51" fmla="*/ 803729 h 899754"/>
                <a:gd name="T52" fmla="*/ 422420 w 899752"/>
                <a:gd name="T53" fmla="*/ 618873 h 899754"/>
                <a:gd name="T54" fmla="*/ 57150 w 899752"/>
                <a:gd name="T55" fmla="*/ 618873 h 899754"/>
                <a:gd name="T56" fmla="*/ 421804 w 899752"/>
                <a:gd name="T57" fmla="*/ 0 h 899754"/>
                <a:gd name="T58" fmla="*/ 477949 w 899752"/>
                <a:gd name="T59" fmla="*/ 0 h 899754"/>
                <a:gd name="T60" fmla="*/ 477949 w 899752"/>
                <a:gd name="T61" fmla="*/ 56380 h 899754"/>
                <a:gd name="T62" fmla="*/ 899752 w 899752"/>
                <a:gd name="T63" fmla="*/ 56380 h 899754"/>
                <a:gd name="T64" fmla="*/ 899752 w 899752"/>
                <a:gd name="T65" fmla="*/ 169501 h 899754"/>
                <a:gd name="T66" fmla="*/ 0 w 899752"/>
                <a:gd name="T67" fmla="*/ 169501 h 899754"/>
                <a:gd name="T68" fmla="*/ 0 w 899752"/>
                <a:gd name="T69" fmla="*/ 56380 h 899754"/>
                <a:gd name="T70" fmla="*/ 421804 w 899752"/>
                <a:gd name="T71" fmla="*/ 56380 h 89975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899752" h="899754">
                  <a:moveTo>
                    <a:pt x="422275" y="280988"/>
                  </a:moveTo>
                  <a:lnTo>
                    <a:pt x="534627" y="365919"/>
                  </a:lnTo>
                  <a:lnTo>
                    <a:pt x="422275" y="450489"/>
                  </a:lnTo>
                  <a:lnTo>
                    <a:pt x="422275" y="280988"/>
                  </a:lnTo>
                  <a:close/>
                  <a:moveTo>
                    <a:pt x="57150" y="225425"/>
                  </a:moveTo>
                  <a:lnTo>
                    <a:pt x="113290" y="225425"/>
                  </a:lnTo>
                  <a:lnTo>
                    <a:pt x="113290" y="562409"/>
                  </a:lnTo>
                  <a:lnTo>
                    <a:pt x="422420" y="562409"/>
                  </a:lnTo>
                  <a:lnTo>
                    <a:pt x="478560" y="562409"/>
                  </a:lnTo>
                  <a:lnTo>
                    <a:pt x="787690" y="562409"/>
                  </a:lnTo>
                  <a:lnTo>
                    <a:pt x="787690" y="225425"/>
                  </a:lnTo>
                  <a:lnTo>
                    <a:pt x="844190" y="225425"/>
                  </a:lnTo>
                  <a:lnTo>
                    <a:pt x="844190" y="618873"/>
                  </a:lnTo>
                  <a:lnTo>
                    <a:pt x="478560" y="618873"/>
                  </a:lnTo>
                  <a:lnTo>
                    <a:pt x="478560" y="803729"/>
                  </a:lnTo>
                  <a:lnTo>
                    <a:pt x="490436" y="815597"/>
                  </a:lnTo>
                  <a:lnTo>
                    <a:pt x="518146" y="843649"/>
                  </a:lnTo>
                  <a:lnTo>
                    <a:pt x="590840" y="843649"/>
                  </a:lnTo>
                  <a:lnTo>
                    <a:pt x="590840" y="899754"/>
                  </a:lnTo>
                  <a:lnTo>
                    <a:pt x="495114" y="899754"/>
                  </a:lnTo>
                  <a:lnTo>
                    <a:pt x="450490" y="855158"/>
                  </a:lnTo>
                  <a:lnTo>
                    <a:pt x="405866" y="899754"/>
                  </a:lnTo>
                  <a:lnTo>
                    <a:pt x="309780" y="899754"/>
                  </a:lnTo>
                  <a:lnTo>
                    <a:pt x="309780" y="843649"/>
                  </a:lnTo>
                  <a:lnTo>
                    <a:pt x="382475" y="843649"/>
                  </a:lnTo>
                  <a:lnTo>
                    <a:pt x="410904" y="815597"/>
                  </a:lnTo>
                  <a:lnTo>
                    <a:pt x="422420" y="803729"/>
                  </a:lnTo>
                  <a:lnTo>
                    <a:pt x="422420" y="618873"/>
                  </a:lnTo>
                  <a:lnTo>
                    <a:pt x="57150" y="618873"/>
                  </a:lnTo>
                  <a:lnTo>
                    <a:pt x="57150" y="225425"/>
                  </a:lnTo>
                  <a:close/>
                  <a:moveTo>
                    <a:pt x="421804" y="0"/>
                  </a:moveTo>
                  <a:lnTo>
                    <a:pt x="477949" y="0"/>
                  </a:lnTo>
                  <a:lnTo>
                    <a:pt x="477949" y="56380"/>
                  </a:lnTo>
                  <a:lnTo>
                    <a:pt x="899752" y="56380"/>
                  </a:lnTo>
                  <a:lnTo>
                    <a:pt x="899752" y="169501"/>
                  </a:lnTo>
                  <a:lnTo>
                    <a:pt x="0" y="169501"/>
                  </a:lnTo>
                  <a:lnTo>
                    <a:pt x="0" y="56380"/>
                  </a:lnTo>
                  <a:lnTo>
                    <a:pt x="421804" y="56380"/>
                  </a:lnTo>
                  <a:lnTo>
                    <a:pt x="42180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7" name="Freeform 91">
              <a:extLst>
                <a:ext uri="{FF2B5EF4-FFF2-40B4-BE49-F238E27FC236}">
                  <a16:creationId xmlns:a16="http://schemas.microsoft.com/office/drawing/2014/main" id="{D3EC5604-AF6D-B57E-C021-DF1F3D8A81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11284" y="2766188"/>
              <a:ext cx="788321" cy="738267"/>
            </a:xfrm>
            <a:custGeom>
              <a:avLst/>
              <a:gdLst>
                <a:gd name="T0" fmla="*/ 642085 w 899753"/>
                <a:gd name="T1" fmla="*/ 505575 h 842602"/>
                <a:gd name="T2" fmla="*/ 781355 w 899753"/>
                <a:gd name="T3" fmla="*/ 645275 h 842602"/>
                <a:gd name="T4" fmla="*/ 838935 w 899753"/>
                <a:gd name="T5" fmla="*/ 505575 h 842602"/>
                <a:gd name="T6" fmla="*/ 506413 w 899753"/>
                <a:gd name="T7" fmla="*/ 449262 h 842602"/>
                <a:gd name="T8" fmla="*/ 899753 w 899753"/>
                <a:gd name="T9" fmla="*/ 449262 h 842602"/>
                <a:gd name="T10" fmla="*/ 784594 w 899753"/>
                <a:gd name="T11" fmla="*/ 728301 h 842602"/>
                <a:gd name="T12" fmla="*/ 506990 w 899753"/>
                <a:gd name="T13" fmla="*/ 61123 h 842602"/>
                <a:gd name="T14" fmla="*/ 506990 w 899753"/>
                <a:gd name="T15" fmla="*/ 336892 h 842602"/>
                <a:gd name="T16" fmla="*/ 783372 w 899753"/>
                <a:gd name="T17" fmla="*/ 336892 h 842602"/>
                <a:gd name="T18" fmla="*/ 506990 w 899753"/>
                <a:gd name="T19" fmla="*/ 61123 h 842602"/>
                <a:gd name="T20" fmla="*/ 394203 w 899753"/>
                <a:gd name="T21" fmla="*/ 55562 h 842602"/>
                <a:gd name="T22" fmla="*/ 394203 w 899753"/>
                <a:gd name="T23" fmla="*/ 449082 h 842602"/>
                <a:gd name="T24" fmla="*/ 672740 w 899753"/>
                <a:gd name="T25" fmla="*/ 727390 h 842602"/>
                <a:gd name="T26" fmla="*/ 394203 w 899753"/>
                <a:gd name="T27" fmla="*/ 842602 h 842602"/>
                <a:gd name="T28" fmla="*/ 0 w 899753"/>
                <a:gd name="T29" fmla="*/ 449082 h 842602"/>
                <a:gd name="T30" fmla="*/ 394203 w 899753"/>
                <a:gd name="T31" fmla="*/ 55562 h 842602"/>
                <a:gd name="T32" fmla="*/ 450850 w 899753"/>
                <a:gd name="T33" fmla="*/ 0 h 842602"/>
                <a:gd name="T34" fmla="*/ 844190 w 899753"/>
                <a:gd name="T35" fmla="*/ 393341 h 842602"/>
                <a:gd name="T36" fmla="*/ 450850 w 899753"/>
                <a:gd name="T37" fmla="*/ 393341 h 84260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899753" h="842602">
                  <a:moveTo>
                    <a:pt x="642085" y="505575"/>
                  </a:moveTo>
                  <a:lnTo>
                    <a:pt x="781355" y="645275"/>
                  </a:lnTo>
                  <a:cubicBezTo>
                    <a:pt x="810865" y="603763"/>
                    <a:pt x="830658" y="556113"/>
                    <a:pt x="838935" y="505575"/>
                  </a:cubicBezTo>
                  <a:lnTo>
                    <a:pt x="642085" y="505575"/>
                  </a:lnTo>
                  <a:close/>
                  <a:moveTo>
                    <a:pt x="506413" y="449262"/>
                  </a:moveTo>
                  <a:lnTo>
                    <a:pt x="899753" y="449262"/>
                  </a:lnTo>
                  <a:cubicBezTo>
                    <a:pt x="899753" y="558279"/>
                    <a:pt x="855849" y="656827"/>
                    <a:pt x="784594" y="728301"/>
                  </a:cubicBezTo>
                  <a:lnTo>
                    <a:pt x="506413" y="449262"/>
                  </a:lnTo>
                  <a:close/>
                  <a:moveTo>
                    <a:pt x="506990" y="61123"/>
                  </a:moveTo>
                  <a:lnTo>
                    <a:pt x="506990" y="336892"/>
                  </a:lnTo>
                  <a:lnTo>
                    <a:pt x="783372" y="336892"/>
                  </a:lnTo>
                  <a:cubicBezTo>
                    <a:pt x="759620" y="195951"/>
                    <a:pt x="648060" y="84493"/>
                    <a:pt x="506990" y="61123"/>
                  </a:cubicBezTo>
                  <a:close/>
                  <a:moveTo>
                    <a:pt x="394203" y="55562"/>
                  </a:moveTo>
                  <a:lnTo>
                    <a:pt x="394203" y="449082"/>
                  </a:lnTo>
                  <a:lnTo>
                    <a:pt x="672740" y="727390"/>
                  </a:lnTo>
                  <a:cubicBezTo>
                    <a:pt x="601394" y="798678"/>
                    <a:pt x="502663" y="842602"/>
                    <a:pt x="394203" y="842602"/>
                  </a:cubicBezTo>
                  <a:cubicBezTo>
                    <a:pt x="176203" y="842602"/>
                    <a:pt x="0" y="666544"/>
                    <a:pt x="0" y="449082"/>
                  </a:cubicBezTo>
                  <a:cubicBezTo>
                    <a:pt x="0" y="231620"/>
                    <a:pt x="176203" y="55562"/>
                    <a:pt x="394203" y="55562"/>
                  </a:cubicBezTo>
                  <a:close/>
                  <a:moveTo>
                    <a:pt x="450850" y="0"/>
                  </a:moveTo>
                  <a:cubicBezTo>
                    <a:pt x="668213" y="0"/>
                    <a:pt x="844190" y="176176"/>
                    <a:pt x="844190" y="393341"/>
                  </a:cubicBezTo>
                  <a:lnTo>
                    <a:pt x="450850" y="393341"/>
                  </a:lnTo>
                  <a:lnTo>
                    <a:pt x="4508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40" name="Shape 9162">
              <a:extLst>
                <a:ext uri="{FF2B5EF4-FFF2-40B4-BE49-F238E27FC236}">
                  <a16:creationId xmlns:a16="http://schemas.microsoft.com/office/drawing/2014/main" id="{278A549F-6AEF-EF64-DCFC-51704C5E36A2}"/>
                </a:ext>
              </a:extLst>
            </p:cNvPr>
            <p:cNvSpPr/>
            <p:nvPr/>
          </p:nvSpPr>
          <p:spPr>
            <a:xfrm>
              <a:off x="5005125" y="1798158"/>
              <a:ext cx="2176384" cy="2176386"/>
            </a:xfrm>
            <a:prstGeom prst="ellipse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6" name="Freeform 90">
              <a:extLst>
                <a:ext uri="{FF2B5EF4-FFF2-40B4-BE49-F238E27FC236}">
                  <a16:creationId xmlns:a16="http://schemas.microsoft.com/office/drawing/2014/main" id="{9E67EDD6-9158-42FB-98C9-DD416F84C6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1001" y="2497392"/>
              <a:ext cx="832124" cy="777918"/>
            </a:xfrm>
            <a:custGeom>
              <a:avLst/>
              <a:gdLst>
                <a:gd name="T0" fmla="*/ 619798 w 901340"/>
                <a:gd name="T1" fmla="*/ 730250 h 842602"/>
                <a:gd name="T2" fmla="*/ 845104 w 901340"/>
                <a:gd name="T3" fmla="*/ 730250 h 842602"/>
                <a:gd name="T4" fmla="*/ 901340 w 901340"/>
                <a:gd name="T5" fmla="*/ 786426 h 842602"/>
                <a:gd name="T6" fmla="*/ 901340 w 901340"/>
                <a:gd name="T7" fmla="*/ 842602 h 842602"/>
                <a:gd name="T8" fmla="*/ 563562 w 901340"/>
                <a:gd name="T9" fmla="*/ 842602 h 842602"/>
                <a:gd name="T10" fmla="*/ 563562 w 901340"/>
                <a:gd name="T11" fmla="*/ 786426 h 842602"/>
                <a:gd name="T12" fmla="*/ 56536 w 901340"/>
                <a:gd name="T13" fmla="*/ 730250 h 842602"/>
                <a:gd name="T14" fmla="*/ 281241 w 901340"/>
                <a:gd name="T15" fmla="*/ 730250 h 842602"/>
                <a:gd name="T16" fmla="*/ 337777 w 901340"/>
                <a:gd name="T17" fmla="*/ 786426 h 842602"/>
                <a:gd name="T18" fmla="*/ 337777 w 901340"/>
                <a:gd name="T19" fmla="*/ 842602 h 842602"/>
                <a:gd name="T20" fmla="*/ 0 w 901340"/>
                <a:gd name="T21" fmla="*/ 842602 h 842602"/>
                <a:gd name="T22" fmla="*/ 0 w 901340"/>
                <a:gd name="T23" fmla="*/ 786426 h 842602"/>
                <a:gd name="T24" fmla="*/ 318349 w 901340"/>
                <a:gd name="T25" fmla="*/ 612775 h 842602"/>
                <a:gd name="T26" fmla="*/ 582992 w 901340"/>
                <a:gd name="T27" fmla="*/ 612775 h 842602"/>
                <a:gd name="T28" fmla="*/ 609241 w 901340"/>
                <a:gd name="T29" fmla="*/ 662402 h 842602"/>
                <a:gd name="T30" fmla="*/ 450670 w 901340"/>
                <a:gd name="T31" fmla="*/ 701318 h 842602"/>
                <a:gd name="T32" fmla="*/ 292100 w 901340"/>
                <a:gd name="T33" fmla="*/ 662402 h 842602"/>
                <a:gd name="T34" fmla="*/ 732270 w 901340"/>
                <a:gd name="T35" fmla="*/ 504825 h 842602"/>
                <a:gd name="T36" fmla="*/ 817201 w 901340"/>
                <a:gd name="T37" fmla="*/ 588881 h 842602"/>
                <a:gd name="T38" fmla="*/ 817201 w 901340"/>
                <a:gd name="T39" fmla="*/ 616900 h 842602"/>
                <a:gd name="T40" fmla="*/ 732270 w 901340"/>
                <a:gd name="T41" fmla="*/ 701316 h 842602"/>
                <a:gd name="T42" fmla="*/ 647700 w 901340"/>
                <a:gd name="T43" fmla="*/ 616900 h 842602"/>
                <a:gd name="T44" fmla="*/ 647700 w 901340"/>
                <a:gd name="T45" fmla="*/ 588881 h 842602"/>
                <a:gd name="T46" fmla="*/ 732270 w 901340"/>
                <a:gd name="T47" fmla="*/ 504825 h 842602"/>
                <a:gd name="T48" fmla="*/ 168095 w 901340"/>
                <a:gd name="T49" fmla="*/ 504825 h 842602"/>
                <a:gd name="T50" fmla="*/ 252053 w 901340"/>
                <a:gd name="T51" fmla="*/ 588881 h 842602"/>
                <a:gd name="T52" fmla="*/ 252053 w 901340"/>
                <a:gd name="T53" fmla="*/ 616900 h 842602"/>
                <a:gd name="T54" fmla="*/ 168095 w 901340"/>
                <a:gd name="T55" fmla="*/ 701316 h 842602"/>
                <a:gd name="T56" fmla="*/ 84137 w 901340"/>
                <a:gd name="T57" fmla="*/ 616900 h 842602"/>
                <a:gd name="T58" fmla="*/ 84137 w 901340"/>
                <a:gd name="T59" fmla="*/ 588881 h 842602"/>
                <a:gd name="T60" fmla="*/ 168095 w 901340"/>
                <a:gd name="T61" fmla="*/ 504825 h 842602"/>
                <a:gd name="T62" fmla="*/ 337524 w 901340"/>
                <a:gd name="T63" fmla="*/ 223837 h 842602"/>
                <a:gd name="T64" fmla="*/ 562589 w 901340"/>
                <a:gd name="T65" fmla="*/ 223837 h 842602"/>
                <a:gd name="T66" fmla="*/ 618765 w 901340"/>
                <a:gd name="T67" fmla="*/ 280013 h 842602"/>
                <a:gd name="T68" fmla="*/ 618765 w 901340"/>
                <a:gd name="T69" fmla="*/ 336190 h 842602"/>
                <a:gd name="T70" fmla="*/ 280987 w 901340"/>
                <a:gd name="T71" fmla="*/ 336190 h 842602"/>
                <a:gd name="T72" fmla="*/ 280987 w 901340"/>
                <a:gd name="T73" fmla="*/ 280013 h 842602"/>
                <a:gd name="T74" fmla="*/ 337524 w 901340"/>
                <a:gd name="T75" fmla="*/ 223837 h 842602"/>
                <a:gd name="T76" fmla="*/ 637877 w 901340"/>
                <a:gd name="T77" fmla="*/ 142875 h 842602"/>
                <a:gd name="T78" fmla="*/ 788626 w 901340"/>
                <a:gd name="T79" fmla="*/ 421914 h 842602"/>
                <a:gd name="T80" fmla="*/ 732230 w 901340"/>
                <a:gd name="T81" fmla="*/ 421914 h 842602"/>
                <a:gd name="T82" fmla="*/ 606425 w 901340"/>
                <a:gd name="T83" fmla="*/ 189742 h 842602"/>
                <a:gd name="T84" fmla="*/ 261899 w 901340"/>
                <a:gd name="T85" fmla="*/ 142875 h 842602"/>
                <a:gd name="T86" fmla="*/ 293326 w 901340"/>
                <a:gd name="T87" fmla="*/ 189657 h 842602"/>
                <a:gd name="T88" fmla="*/ 169064 w 901340"/>
                <a:gd name="T89" fmla="*/ 420327 h 842602"/>
                <a:gd name="T90" fmla="*/ 112712 w 901340"/>
                <a:gd name="T91" fmla="*/ 420327 h 842602"/>
                <a:gd name="T92" fmla="*/ 261899 w 901340"/>
                <a:gd name="T93" fmla="*/ 142875 h 842602"/>
                <a:gd name="T94" fmla="*/ 450670 w 901340"/>
                <a:gd name="T95" fmla="*/ 0 h 842602"/>
                <a:gd name="T96" fmla="*/ 534628 w 901340"/>
                <a:gd name="T97" fmla="*/ 84415 h 842602"/>
                <a:gd name="T98" fmla="*/ 534628 w 901340"/>
                <a:gd name="T99" fmla="*/ 112434 h 842602"/>
                <a:gd name="T100" fmla="*/ 450670 w 901340"/>
                <a:gd name="T101" fmla="*/ 196491 h 842602"/>
                <a:gd name="T102" fmla="*/ 366712 w 901340"/>
                <a:gd name="T103" fmla="*/ 112434 h 842602"/>
                <a:gd name="T104" fmla="*/ 366712 w 901340"/>
                <a:gd name="T105" fmla="*/ 84415 h 842602"/>
                <a:gd name="T106" fmla="*/ 450670 w 901340"/>
                <a:gd name="T107" fmla="*/ 0 h 84260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901340" h="842602">
                  <a:moveTo>
                    <a:pt x="619798" y="730250"/>
                  </a:moveTo>
                  <a:lnTo>
                    <a:pt x="845104" y="730250"/>
                  </a:lnTo>
                  <a:cubicBezTo>
                    <a:pt x="867093" y="752216"/>
                    <a:pt x="879350" y="764460"/>
                    <a:pt x="901340" y="786426"/>
                  </a:cubicBezTo>
                  <a:lnTo>
                    <a:pt x="901340" y="842602"/>
                  </a:lnTo>
                  <a:lnTo>
                    <a:pt x="563562" y="842602"/>
                  </a:lnTo>
                  <a:lnTo>
                    <a:pt x="563562" y="786426"/>
                  </a:lnTo>
                  <a:lnTo>
                    <a:pt x="619798" y="730250"/>
                  </a:lnTo>
                  <a:close/>
                  <a:moveTo>
                    <a:pt x="56536" y="730250"/>
                  </a:moveTo>
                  <a:lnTo>
                    <a:pt x="281241" y="730250"/>
                  </a:lnTo>
                  <a:lnTo>
                    <a:pt x="337777" y="786426"/>
                  </a:lnTo>
                  <a:lnTo>
                    <a:pt x="337777" y="842602"/>
                  </a:lnTo>
                  <a:lnTo>
                    <a:pt x="0" y="842602"/>
                  </a:lnTo>
                  <a:lnTo>
                    <a:pt x="0" y="786426"/>
                  </a:lnTo>
                  <a:lnTo>
                    <a:pt x="56536" y="730250"/>
                  </a:lnTo>
                  <a:close/>
                  <a:moveTo>
                    <a:pt x="318349" y="612775"/>
                  </a:moveTo>
                  <a:cubicBezTo>
                    <a:pt x="399252" y="655618"/>
                    <a:pt x="502089" y="655618"/>
                    <a:pt x="582992" y="612775"/>
                  </a:cubicBezTo>
                  <a:lnTo>
                    <a:pt x="609241" y="662402"/>
                  </a:lnTo>
                  <a:cubicBezTo>
                    <a:pt x="561058" y="687751"/>
                    <a:pt x="506044" y="701318"/>
                    <a:pt x="450670" y="701318"/>
                  </a:cubicBezTo>
                  <a:cubicBezTo>
                    <a:pt x="395297" y="701318"/>
                    <a:pt x="340642" y="687751"/>
                    <a:pt x="292100" y="662402"/>
                  </a:cubicBezTo>
                  <a:lnTo>
                    <a:pt x="318349" y="612775"/>
                  </a:lnTo>
                  <a:close/>
                  <a:moveTo>
                    <a:pt x="732270" y="504825"/>
                  </a:moveTo>
                  <a:cubicBezTo>
                    <a:pt x="778892" y="504825"/>
                    <a:pt x="817201" y="542542"/>
                    <a:pt x="817201" y="588881"/>
                  </a:cubicBezTo>
                  <a:lnTo>
                    <a:pt x="817201" y="616900"/>
                  </a:lnTo>
                  <a:cubicBezTo>
                    <a:pt x="817201" y="663598"/>
                    <a:pt x="778892" y="701316"/>
                    <a:pt x="732270" y="701316"/>
                  </a:cubicBezTo>
                  <a:cubicBezTo>
                    <a:pt x="685648" y="701316"/>
                    <a:pt x="647700" y="663598"/>
                    <a:pt x="647700" y="616900"/>
                  </a:cubicBezTo>
                  <a:lnTo>
                    <a:pt x="647700" y="588881"/>
                  </a:lnTo>
                  <a:cubicBezTo>
                    <a:pt x="647700" y="542542"/>
                    <a:pt x="685648" y="504825"/>
                    <a:pt x="732270" y="504825"/>
                  </a:cubicBezTo>
                  <a:close/>
                  <a:moveTo>
                    <a:pt x="168095" y="504825"/>
                  </a:moveTo>
                  <a:cubicBezTo>
                    <a:pt x="214739" y="504825"/>
                    <a:pt x="252053" y="542542"/>
                    <a:pt x="252053" y="588881"/>
                  </a:cubicBezTo>
                  <a:lnTo>
                    <a:pt x="252053" y="616900"/>
                  </a:lnTo>
                  <a:cubicBezTo>
                    <a:pt x="252053" y="663598"/>
                    <a:pt x="214739" y="701316"/>
                    <a:pt x="168095" y="701316"/>
                  </a:cubicBezTo>
                  <a:cubicBezTo>
                    <a:pt x="121811" y="701316"/>
                    <a:pt x="84137" y="663598"/>
                    <a:pt x="84137" y="616900"/>
                  </a:cubicBezTo>
                  <a:lnTo>
                    <a:pt x="84137" y="588881"/>
                  </a:lnTo>
                  <a:cubicBezTo>
                    <a:pt x="84137" y="542542"/>
                    <a:pt x="121811" y="504825"/>
                    <a:pt x="168095" y="504825"/>
                  </a:cubicBezTo>
                  <a:close/>
                  <a:moveTo>
                    <a:pt x="337524" y="223837"/>
                  </a:moveTo>
                  <a:lnTo>
                    <a:pt x="562589" y="223837"/>
                  </a:lnTo>
                  <a:cubicBezTo>
                    <a:pt x="584555" y="245803"/>
                    <a:pt x="596799" y="258407"/>
                    <a:pt x="618765" y="280013"/>
                  </a:cubicBezTo>
                  <a:lnTo>
                    <a:pt x="618765" y="336190"/>
                  </a:lnTo>
                  <a:lnTo>
                    <a:pt x="280987" y="336190"/>
                  </a:lnTo>
                  <a:lnTo>
                    <a:pt x="280987" y="280013"/>
                  </a:lnTo>
                  <a:cubicBezTo>
                    <a:pt x="302954" y="258407"/>
                    <a:pt x="315557" y="245803"/>
                    <a:pt x="337524" y="223837"/>
                  </a:cubicBezTo>
                  <a:close/>
                  <a:moveTo>
                    <a:pt x="637877" y="142875"/>
                  </a:moveTo>
                  <a:cubicBezTo>
                    <a:pt x="732230" y="205605"/>
                    <a:pt x="788626" y="309794"/>
                    <a:pt x="788626" y="421914"/>
                  </a:cubicBezTo>
                  <a:lnTo>
                    <a:pt x="732230" y="421914"/>
                  </a:lnTo>
                  <a:cubicBezTo>
                    <a:pt x="732230" y="328901"/>
                    <a:pt x="685234" y="242017"/>
                    <a:pt x="606425" y="189742"/>
                  </a:cubicBezTo>
                  <a:lnTo>
                    <a:pt x="637877" y="142875"/>
                  </a:lnTo>
                  <a:close/>
                  <a:moveTo>
                    <a:pt x="261899" y="142875"/>
                  </a:moveTo>
                  <a:lnTo>
                    <a:pt x="293326" y="189657"/>
                  </a:lnTo>
                  <a:cubicBezTo>
                    <a:pt x="215301" y="241477"/>
                    <a:pt x="169064" y="327843"/>
                    <a:pt x="169064" y="420327"/>
                  </a:cubicBezTo>
                  <a:lnTo>
                    <a:pt x="112712" y="420327"/>
                  </a:lnTo>
                  <a:cubicBezTo>
                    <a:pt x="112712" y="309130"/>
                    <a:pt x="168341" y="205491"/>
                    <a:pt x="261899" y="142875"/>
                  </a:cubicBezTo>
                  <a:close/>
                  <a:moveTo>
                    <a:pt x="450670" y="0"/>
                  </a:moveTo>
                  <a:cubicBezTo>
                    <a:pt x="496955" y="0"/>
                    <a:pt x="534628" y="37717"/>
                    <a:pt x="534628" y="84415"/>
                  </a:cubicBezTo>
                  <a:lnTo>
                    <a:pt x="534628" y="112434"/>
                  </a:lnTo>
                  <a:cubicBezTo>
                    <a:pt x="534628" y="158773"/>
                    <a:pt x="496955" y="196491"/>
                    <a:pt x="450670" y="196491"/>
                  </a:cubicBezTo>
                  <a:cubicBezTo>
                    <a:pt x="404386" y="196491"/>
                    <a:pt x="366712" y="158773"/>
                    <a:pt x="366712" y="112434"/>
                  </a:cubicBezTo>
                  <a:lnTo>
                    <a:pt x="366712" y="84415"/>
                  </a:lnTo>
                  <a:cubicBezTo>
                    <a:pt x="366712" y="37717"/>
                    <a:pt x="404386" y="0"/>
                    <a:pt x="45067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E7C7570C-1DED-0800-33D6-6D7B9134F983}"/>
                </a:ext>
              </a:extLst>
            </p:cNvPr>
            <p:cNvSpPr txBox="1"/>
            <p:nvPr/>
          </p:nvSpPr>
          <p:spPr>
            <a:xfrm>
              <a:off x="1333366" y="4175711"/>
              <a:ext cx="175080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ANALIZA 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STRATEGICZNA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1B65EB7A-18FB-652E-6A16-3D5EC9E1A26F}"/>
                </a:ext>
              </a:extLst>
            </p:cNvPr>
            <p:cNvSpPr txBox="1"/>
            <p:nvPr/>
          </p:nvSpPr>
          <p:spPr>
            <a:xfrm>
              <a:off x="4143828" y="4175711"/>
              <a:ext cx="131318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WARTOŚĆI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D27ABB4C-163F-015E-9521-D447AF3346AE}"/>
                </a:ext>
              </a:extLst>
            </p:cNvPr>
            <p:cNvSpPr txBox="1"/>
            <p:nvPr/>
          </p:nvSpPr>
          <p:spPr>
            <a:xfrm>
              <a:off x="6536910" y="4175711"/>
              <a:ext cx="1710725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CELE 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STRATEGICZNE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2B529269-6F88-633F-9A27-BD5AEE98AA63}"/>
                </a:ext>
              </a:extLst>
            </p:cNvPr>
            <p:cNvSpPr txBox="1"/>
            <p:nvPr/>
          </p:nvSpPr>
          <p:spPr>
            <a:xfrm>
              <a:off x="2680270" y="5060294"/>
              <a:ext cx="16466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MISJA I WIZJA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4BCB29B5-1304-49FD-33E6-7D96C08AE1B3}"/>
                </a:ext>
              </a:extLst>
            </p:cNvPr>
            <p:cNvSpPr txBox="1"/>
            <p:nvPr/>
          </p:nvSpPr>
          <p:spPr>
            <a:xfrm>
              <a:off x="5328528" y="5060294"/>
              <a:ext cx="1529586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OBSZARY 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STRAGICZNE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(FILARY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PRIORYTETY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AC40CCE9-D90E-8D08-0ECD-62597EBB198D}"/>
                </a:ext>
              </a:extLst>
            </p:cNvPr>
            <p:cNvSpPr txBox="1"/>
            <p:nvPr/>
          </p:nvSpPr>
          <p:spPr>
            <a:xfrm>
              <a:off x="7579914" y="5060294"/>
              <a:ext cx="222208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CELE 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OPERACYJNE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(+WSKAŹNIKI - KPI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C36333DC-4DF0-36A4-4FDC-FA60FF9A7DF1}"/>
                </a:ext>
              </a:extLst>
            </p:cNvPr>
            <p:cNvSpPr txBox="1"/>
            <p:nvPr/>
          </p:nvSpPr>
          <p:spPr>
            <a:xfrm>
              <a:off x="8863383" y="4175711"/>
              <a:ext cx="2239716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HARMONOGRAM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(KAMIENIE MILOWE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36A258FA-E0C3-0A5D-3128-3FF25BC22038}"/>
              </a:ext>
            </a:extLst>
          </p:cNvPr>
          <p:cNvSpPr txBox="1"/>
          <p:nvPr/>
        </p:nvSpPr>
        <p:spPr>
          <a:xfrm>
            <a:off x="359151" y="4543502"/>
            <a:ext cx="1418184" cy="260654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naliza </a:t>
            </a:r>
            <a:r>
              <a:rPr kumimoji="0" lang="pl-PL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krootoczenia</a:t>
            </a: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PEST)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naliza mikrootoczenia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5 sił portera)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naliza organizacji/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yscypliny </a:t>
            </a: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SWOT)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3942">
                  <a:lumMod val="50000"/>
                </a:srgbClr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01645DF8-EF77-1C78-5D70-0A5D9884DF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4890" y="2182203"/>
            <a:ext cx="1859598" cy="1859598"/>
          </a:xfrm>
          <a:prstGeom prst="rect">
            <a:avLst/>
          </a:prstGeom>
        </p:spPr>
      </p:pic>
      <p:pic>
        <p:nvPicPr>
          <p:cNvPr id="4" name="Obraz 3">
            <a:extLst>
              <a:ext uri="{FF2B5EF4-FFF2-40B4-BE49-F238E27FC236}">
                <a16:creationId xmlns:a16="http://schemas.microsoft.com/office/drawing/2014/main" id="{D133E3AB-5657-184A-C576-060ACE07E9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99187" y="4865988"/>
            <a:ext cx="174852" cy="174852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089506FD-29D6-6D34-2E66-2987218094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05959" y="2843993"/>
            <a:ext cx="725487" cy="774259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E009D29D-50DD-76D5-F165-A0DA1CBAD1A1}"/>
              </a:ext>
            </a:extLst>
          </p:cNvPr>
          <p:cNvSpPr txBox="1"/>
          <p:nvPr/>
        </p:nvSpPr>
        <p:spPr>
          <a:xfrm>
            <a:off x="10050999" y="5194727"/>
            <a:ext cx="1646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UNIKACJA</a:t>
            </a: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286F3C2A-7851-3D40-9120-A0982FFCD1A8}"/>
              </a:ext>
            </a:extLst>
          </p:cNvPr>
          <p:cNvSpPr txBox="1"/>
          <p:nvPr/>
        </p:nvSpPr>
        <p:spPr>
          <a:xfrm>
            <a:off x="9448800" y="6424341"/>
            <a:ext cx="3175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>
                <a:solidFill>
                  <a:schemeClr val="tx2"/>
                </a:solidFill>
              </a:rPr>
              <a:t>Źródło: opracowanie własne</a:t>
            </a:r>
          </a:p>
        </p:txBody>
      </p:sp>
    </p:spTree>
    <p:extLst>
      <p:ext uri="{BB962C8B-B14F-4D97-AF65-F5344CB8AC3E}">
        <p14:creationId xmlns:p14="http://schemas.microsoft.com/office/powerpoint/2010/main" val="18459775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CD8EA5F-E860-1FB2-C247-A48FF02128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495D6427-5266-D066-500E-F2D50C04DE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483566D-5C68-21ED-944B-60D7996042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BF926697-B39C-C064-FBC8-4AF1868840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3408" y="992094"/>
            <a:ext cx="4080694" cy="1268785"/>
          </a:xfrm>
        </p:spPr>
        <p:txBody>
          <a:bodyPr>
            <a:normAutofit fontScale="90000"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Cele strategiczne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84A4E624-96D7-CD47-1520-66F8BFF25A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6287" y="4121253"/>
            <a:ext cx="3125337" cy="1136843"/>
          </a:xfrm>
        </p:spPr>
        <p:txBody>
          <a:bodyPr>
            <a:normAutofit/>
          </a:bodyPr>
          <a:lstStyle/>
          <a:p>
            <a:endParaRPr lang="pl-PL" sz="1800"/>
          </a:p>
        </p:txBody>
      </p:sp>
      <p:pic>
        <p:nvPicPr>
          <p:cNvPr id="7" name="Obraz 6" descr="Obraz zawierający tekst, zrzut ekranu, oprogramowanie, Czcionka&#10;&#10;Zawartość wygenerowana przez AI może być niepoprawna.">
            <a:extLst>
              <a:ext uri="{FF2B5EF4-FFF2-40B4-BE49-F238E27FC236}">
                <a16:creationId xmlns:a16="http://schemas.microsoft.com/office/drawing/2014/main" id="{FF20D6DF-6904-407E-0612-37B47E7C1C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8767" y="802319"/>
            <a:ext cx="6717727" cy="4658680"/>
          </a:xfrm>
          <a:prstGeom prst="rect">
            <a:avLst/>
          </a:prstGeom>
        </p:spPr>
      </p:pic>
      <p:pic>
        <p:nvPicPr>
          <p:cNvPr id="4" name="Obraz 3" descr="Metoda SMART - czym jest? Jak wyznaczać cele w biznesie? - Blog SaldeoSMART">
            <a:extLst>
              <a:ext uri="{FF2B5EF4-FFF2-40B4-BE49-F238E27FC236}">
                <a16:creationId xmlns:a16="http://schemas.microsoft.com/office/drawing/2014/main" id="{6FC5F891-41E7-207B-67EE-9BD77AD52B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48" y="2695245"/>
            <a:ext cx="5071672" cy="3803754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5053B9F3-206D-F642-D3C8-EBF23845E920}"/>
              </a:ext>
            </a:extLst>
          </p:cNvPr>
          <p:cNvSpPr txBox="1"/>
          <p:nvPr/>
        </p:nvSpPr>
        <p:spPr>
          <a:xfrm>
            <a:off x="5870634" y="6222000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 dirty="0"/>
              <a:t>Źródło: </a:t>
            </a:r>
            <a:r>
              <a:rPr lang="pl-PL" sz="1200" dirty="0">
                <a:hlinkClick r:id="rId4"/>
              </a:rPr>
              <a:t>https://worldathletics.org/about-iaaf/documents/strategic-plans-and-reports</a:t>
            </a:r>
            <a:r>
              <a:rPr lang="pl-PL" sz="12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1937903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269022-0A35-2D7F-7A68-2B1F1B9945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>
            <a:extLst>
              <a:ext uri="{FF2B5EF4-FFF2-40B4-BE49-F238E27FC236}">
                <a16:creationId xmlns:a16="http://schemas.microsoft.com/office/drawing/2014/main" id="{C808036E-2793-BCC4-0C3B-5C31F1AC6C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6987" y="3955089"/>
            <a:ext cx="1452199" cy="973365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0276D5FD-6D7B-7D83-4CA9-1725CBAF4CBF}"/>
              </a:ext>
            </a:extLst>
          </p:cNvPr>
          <p:cNvSpPr txBox="1"/>
          <p:nvPr/>
        </p:nvSpPr>
        <p:spPr>
          <a:xfrm>
            <a:off x="2212933" y="26591"/>
            <a:ext cx="729879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0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MASTER PLAN ROZWOJU </a:t>
            </a:r>
          </a:p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0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POLSKICH ZWIĄZKÓW SPORTOWYCH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1C2835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grpSp>
        <p:nvGrpSpPr>
          <p:cNvPr id="3" name="Grupa 2">
            <a:extLst>
              <a:ext uri="{FF2B5EF4-FFF2-40B4-BE49-F238E27FC236}">
                <a16:creationId xmlns:a16="http://schemas.microsoft.com/office/drawing/2014/main" id="{9C3ADA12-8918-004F-C90D-45243E78EADF}"/>
              </a:ext>
            </a:extLst>
          </p:cNvPr>
          <p:cNvGrpSpPr/>
          <p:nvPr/>
        </p:nvGrpSpPr>
        <p:grpSpPr>
          <a:xfrm>
            <a:off x="289162" y="1447529"/>
            <a:ext cx="9987086" cy="4645468"/>
            <a:chOff x="1116013" y="1492044"/>
            <a:chExt cx="9987086" cy="4645468"/>
          </a:xfrm>
        </p:grpSpPr>
        <p:sp>
          <p:nvSpPr>
            <p:cNvPr id="50" name="Shape 9155">
              <a:extLst>
                <a:ext uri="{FF2B5EF4-FFF2-40B4-BE49-F238E27FC236}">
                  <a16:creationId xmlns:a16="http://schemas.microsoft.com/office/drawing/2014/main" id="{8A245052-FA35-42C2-FC8D-26906A6BA48C}"/>
                </a:ext>
              </a:extLst>
            </p:cNvPr>
            <p:cNvSpPr/>
            <p:nvPr/>
          </p:nvSpPr>
          <p:spPr>
            <a:xfrm>
              <a:off x="7575670" y="2197032"/>
              <a:ext cx="1859597" cy="1859599"/>
            </a:xfrm>
            <a:prstGeom prst="ellipse">
              <a:avLst/>
            </a:prstGeom>
            <a:solidFill>
              <a:schemeClr val="accent6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49" name="Shape 9155">
              <a:extLst>
                <a:ext uri="{FF2B5EF4-FFF2-40B4-BE49-F238E27FC236}">
                  <a16:creationId xmlns:a16="http://schemas.microsoft.com/office/drawing/2014/main" id="{B969A93D-AFAF-2745-B4DE-D651A5F3D063}"/>
                </a:ext>
              </a:extLst>
            </p:cNvPr>
            <p:cNvSpPr/>
            <p:nvPr/>
          </p:nvSpPr>
          <p:spPr>
            <a:xfrm>
              <a:off x="2633515" y="2197032"/>
              <a:ext cx="1859597" cy="1859599"/>
            </a:xfrm>
            <a:prstGeom prst="ellipse">
              <a:avLst/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44" name="Shape 9155">
              <a:extLst>
                <a:ext uri="{FF2B5EF4-FFF2-40B4-BE49-F238E27FC236}">
                  <a16:creationId xmlns:a16="http://schemas.microsoft.com/office/drawing/2014/main" id="{494FA39A-995F-5C02-4593-1EFDBD9C1025}"/>
                </a:ext>
              </a:extLst>
            </p:cNvPr>
            <p:cNvSpPr/>
            <p:nvPr/>
          </p:nvSpPr>
          <p:spPr>
            <a:xfrm>
              <a:off x="6464308" y="1492044"/>
              <a:ext cx="1859597" cy="1859599"/>
            </a:xfrm>
            <a:prstGeom prst="ellipse">
              <a:avLst/>
            </a:pr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42" name="Shape 9159">
              <a:extLst>
                <a:ext uri="{FF2B5EF4-FFF2-40B4-BE49-F238E27FC236}">
                  <a16:creationId xmlns:a16="http://schemas.microsoft.com/office/drawing/2014/main" id="{42B1A6E7-4872-1B83-2B29-789E28B65F42}"/>
                </a:ext>
              </a:extLst>
            </p:cNvPr>
            <p:cNvSpPr/>
            <p:nvPr/>
          </p:nvSpPr>
          <p:spPr>
            <a:xfrm>
              <a:off x="3892929" y="1492044"/>
              <a:ext cx="1859597" cy="1859598"/>
            </a:xfrm>
            <a:prstGeom prst="ellipse">
              <a:avLst/>
            </a:pr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38" name="Shape 9165">
              <a:extLst>
                <a:ext uri="{FF2B5EF4-FFF2-40B4-BE49-F238E27FC236}">
                  <a16:creationId xmlns:a16="http://schemas.microsoft.com/office/drawing/2014/main" id="{09329266-3C08-951A-E1E4-FFA6E712C777}"/>
                </a:ext>
              </a:extLst>
            </p:cNvPr>
            <p:cNvSpPr/>
            <p:nvPr/>
          </p:nvSpPr>
          <p:spPr>
            <a:xfrm>
              <a:off x="8899605" y="1492044"/>
              <a:ext cx="2176383" cy="2176386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36" name="Shape 9168">
              <a:extLst>
                <a:ext uri="{FF2B5EF4-FFF2-40B4-BE49-F238E27FC236}">
                  <a16:creationId xmlns:a16="http://schemas.microsoft.com/office/drawing/2014/main" id="{6EEA25CB-BBA6-014E-3E7D-417506648F1C}"/>
                </a:ext>
              </a:extLst>
            </p:cNvPr>
            <p:cNvSpPr/>
            <p:nvPr/>
          </p:nvSpPr>
          <p:spPr>
            <a:xfrm>
              <a:off x="1116013" y="1492044"/>
              <a:ext cx="2181425" cy="2181428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5" name="Shape 9180">
              <a:extLst>
                <a:ext uri="{FF2B5EF4-FFF2-40B4-BE49-F238E27FC236}">
                  <a16:creationId xmlns:a16="http://schemas.microsoft.com/office/drawing/2014/main" id="{07EF53A5-5473-63D1-076C-6455D81F2391}"/>
                </a:ext>
              </a:extLst>
            </p:cNvPr>
            <p:cNvSpPr/>
            <p:nvPr/>
          </p:nvSpPr>
          <p:spPr>
            <a:xfrm>
              <a:off x="2116042" y="3846520"/>
              <a:ext cx="181366" cy="181367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6" name="Shape 9181">
              <a:extLst>
                <a:ext uri="{FF2B5EF4-FFF2-40B4-BE49-F238E27FC236}">
                  <a16:creationId xmlns:a16="http://schemas.microsoft.com/office/drawing/2014/main" id="{78C05AB7-F940-810E-8CB8-1F59ADAA24A2}"/>
                </a:ext>
              </a:extLst>
            </p:cNvPr>
            <p:cNvSpPr/>
            <p:nvPr/>
          </p:nvSpPr>
          <p:spPr>
            <a:xfrm>
              <a:off x="4709733" y="3846520"/>
              <a:ext cx="181367" cy="181367"/>
            </a:xfrm>
            <a:prstGeom prst="ellipse">
              <a:avLst/>
            </a:pr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7" name="Shape 9182">
              <a:extLst>
                <a:ext uri="{FF2B5EF4-FFF2-40B4-BE49-F238E27FC236}">
                  <a16:creationId xmlns:a16="http://schemas.microsoft.com/office/drawing/2014/main" id="{C1E175AE-DEE8-69B6-E6E1-C136D4B1C287}"/>
                </a:ext>
              </a:extLst>
            </p:cNvPr>
            <p:cNvSpPr/>
            <p:nvPr/>
          </p:nvSpPr>
          <p:spPr>
            <a:xfrm>
              <a:off x="9897116" y="3846520"/>
              <a:ext cx="181367" cy="18136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8" name="Shape 9183">
              <a:extLst>
                <a:ext uri="{FF2B5EF4-FFF2-40B4-BE49-F238E27FC236}">
                  <a16:creationId xmlns:a16="http://schemas.microsoft.com/office/drawing/2014/main" id="{C700AEDD-D503-435A-7A84-AB0EA7BA02C1}"/>
                </a:ext>
              </a:extLst>
            </p:cNvPr>
            <p:cNvSpPr/>
            <p:nvPr/>
          </p:nvSpPr>
          <p:spPr>
            <a:xfrm>
              <a:off x="7303425" y="3846520"/>
              <a:ext cx="181367" cy="181367"/>
            </a:xfrm>
            <a:prstGeom prst="ellipse">
              <a:avLst/>
            </a:pr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9" name="Shape 9184">
              <a:extLst>
                <a:ext uri="{FF2B5EF4-FFF2-40B4-BE49-F238E27FC236}">
                  <a16:creationId xmlns:a16="http://schemas.microsoft.com/office/drawing/2014/main" id="{0E0613DA-7B1B-653C-21A9-A937A694471A}"/>
                </a:ext>
              </a:extLst>
            </p:cNvPr>
            <p:cNvSpPr/>
            <p:nvPr/>
          </p:nvSpPr>
          <p:spPr>
            <a:xfrm>
              <a:off x="3412887" y="4704075"/>
              <a:ext cx="181367" cy="181367"/>
            </a:xfrm>
            <a:prstGeom prst="ellipse">
              <a:avLst/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20" name="Shape 9185">
              <a:extLst>
                <a:ext uri="{FF2B5EF4-FFF2-40B4-BE49-F238E27FC236}">
                  <a16:creationId xmlns:a16="http://schemas.microsoft.com/office/drawing/2014/main" id="{83C7970E-1E2B-B32A-4D96-B75139A61E66}"/>
                </a:ext>
              </a:extLst>
            </p:cNvPr>
            <p:cNvSpPr/>
            <p:nvPr/>
          </p:nvSpPr>
          <p:spPr>
            <a:xfrm>
              <a:off x="6006579" y="4704075"/>
              <a:ext cx="181367" cy="181367"/>
            </a:xfrm>
            <a:prstGeom prst="ellipse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21" name="Shape 9186">
              <a:extLst>
                <a:ext uri="{FF2B5EF4-FFF2-40B4-BE49-F238E27FC236}">
                  <a16:creationId xmlns:a16="http://schemas.microsoft.com/office/drawing/2014/main" id="{8F3AF8FE-5C84-717F-C751-C9D4CD868807}"/>
                </a:ext>
              </a:extLst>
            </p:cNvPr>
            <p:cNvSpPr/>
            <p:nvPr/>
          </p:nvSpPr>
          <p:spPr>
            <a:xfrm>
              <a:off x="8600270" y="4704075"/>
              <a:ext cx="181367" cy="181367"/>
            </a:xfrm>
            <a:prstGeom prst="ellipse">
              <a:avLst/>
            </a:prstGeom>
            <a:solidFill>
              <a:schemeClr val="accent6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9" name="Shape 9188">
              <a:extLst>
                <a:ext uri="{FF2B5EF4-FFF2-40B4-BE49-F238E27FC236}">
                  <a16:creationId xmlns:a16="http://schemas.microsoft.com/office/drawing/2014/main" id="{2D12D1B8-A8A0-D49F-8EA3-E7872603B421}"/>
                </a:ext>
              </a:extLst>
            </p:cNvPr>
            <p:cNvSpPr/>
            <p:nvPr/>
          </p:nvSpPr>
          <p:spPr>
            <a:xfrm>
              <a:off x="2301481" y="3999087"/>
              <a:ext cx="1111406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0" name="Shape 9189">
              <a:extLst>
                <a:ext uri="{FF2B5EF4-FFF2-40B4-BE49-F238E27FC236}">
                  <a16:creationId xmlns:a16="http://schemas.microsoft.com/office/drawing/2014/main" id="{6D0960F1-10BA-76B5-CF36-FECA1C381240}"/>
                </a:ext>
              </a:extLst>
            </p:cNvPr>
            <p:cNvSpPr/>
            <p:nvPr/>
          </p:nvSpPr>
          <p:spPr>
            <a:xfrm flipV="1">
              <a:off x="3598326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1" name="Shape 9190">
              <a:extLst>
                <a:ext uri="{FF2B5EF4-FFF2-40B4-BE49-F238E27FC236}">
                  <a16:creationId xmlns:a16="http://schemas.microsoft.com/office/drawing/2014/main" id="{7FA50B79-BF8D-300E-C914-AB8EC269616C}"/>
                </a:ext>
              </a:extLst>
            </p:cNvPr>
            <p:cNvSpPr/>
            <p:nvPr/>
          </p:nvSpPr>
          <p:spPr>
            <a:xfrm>
              <a:off x="4895172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2" name="Shape 9191">
              <a:extLst>
                <a:ext uri="{FF2B5EF4-FFF2-40B4-BE49-F238E27FC236}">
                  <a16:creationId xmlns:a16="http://schemas.microsoft.com/office/drawing/2014/main" id="{796AD49A-FC3F-0176-A3DB-079A780874C9}"/>
                </a:ext>
              </a:extLst>
            </p:cNvPr>
            <p:cNvSpPr/>
            <p:nvPr/>
          </p:nvSpPr>
          <p:spPr>
            <a:xfrm flipV="1">
              <a:off x="6192018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3" name="Shape 9192">
              <a:extLst>
                <a:ext uri="{FF2B5EF4-FFF2-40B4-BE49-F238E27FC236}">
                  <a16:creationId xmlns:a16="http://schemas.microsoft.com/office/drawing/2014/main" id="{5CED297D-8B14-7174-ABCB-876C42214782}"/>
                </a:ext>
              </a:extLst>
            </p:cNvPr>
            <p:cNvSpPr/>
            <p:nvPr/>
          </p:nvSpPr>
          <p:spPr>
            <a:xfrm>
              <a:off x="7484989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4" name="Shape 9193">
              <a:extLst>
                <a:ext uri="{FF2B5EF4-FFF2-40B4-BE49-F238E27FC236}">
                  <a16:creationId xmlns:a16="http://schemas.microsoft.com/office/drawing/2014/main" id="{54294D12-26B1-AE83-A084-7E2D7E3991A7}"/>
                </a:ext>
              </a:extLst>
            </p:cNvPr>
            <p:cNvSpPr/>
            <p:nvPr/>
          </p:nvSpPr>
          <p:spPr>
            <a:xfrm flipV="1">
              <a:off x="8781834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1" name="Freeform 82">
              <a:extLst>
                <a:ext uri="{FF2B5EF4-FFF2-40B4-BE49-F238E27FC236}">
                  <a16:creationId xmlns:a16="http://schemas.microsoft.com/office/drawing/2014/main" id="{BF925945-A7FC-E69E-72B0-E044073DB2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1394" y="2191277"/>
              <a:ext cx="830660" cy="777920"/>
            </a:xfrm>
            <a:custGeom>
              <a:avLst/>
              <a:gdLst>
                <a:gd name="T0" fmla="*/ 28575 w 899753"/>
                <a:gd name="T1" fmla="*/ 444500 h 842603"/>
                <a:gd name="T2" fmla="*/ 65686 w 899753"/>
                <a:gd name="T3" fmla="*/ 449899 h 842603"/>
                <a:gd name="T4" fmla="*/ 366179 w 899753"/>
                <a:gd name="T5" fmla="*/ 475816 h 842603"/>
                <a:gd name="T6" fmla="*/ 366179 w 899753"/>
                <a:gd name="T7" fmla="*/ 533047 h 842603"/>
                <a:gd name="T8" fmla="*/ 535161 w 899753"/>
                <a:gd name="T9" fmla="*/ 533047 h 842603"/>
                <a:gd name="T10" fmla="*/ 535161 w 899753"/>
                <a:gd name="T11" fmla="*/ 475816 h 842603"/>
                <a:gd name="T12" fmla="*/ 835293 w 899753"/>
                <a:gd name="T13" fmla="*/ 449899 h 842603"/>
                <a:gd name="T14" fmla="*/ 872765 w 899753"/>
                <a:gd name="T15" fmla="*/ 444500 h 842603"/>
                <a:gd name="T16" fmla="*/ 872765 w 899753"/>
                <a:gd name="T17" fmla="*/ 769894 h 842603"/>
                <a:gd name="T18" fmla="*/ 799984 w 899753"/>
                <a:gd name="T19" fmla="*/ 842603 h 842603"/>
                <a:gd name="T20" fmla="*/ 101356 w 899753"/>
                <a:gd name="T21" fmla="*/ 842603 h 842603"/>
                <a:gd name="T22" fmla="*/ 28575 w 899753"/>
                <a:gd name="T23" fmla="*/ 769894 h 842603"/>
                <a:gd name="T24" fmla="*/ 348884 w 899753"/>
                <a:gd name="T25" fmla="*/ 56606 h 842603"/>
                <a:gd name="T26" fmla="*/ 337362 w 899753"/>
                <a:gd name="T27" fmla="*/ 68144 h 842603"/>
                <a:gd name="T28" fmla="*/ 337362 w 899753"/>
                <a:gd name="T29" fmla="*/ 112852 h 842603"/>
                <a:gd name="T30" fmla="*/ 562391 w 899753"/>
                <a:gd name="T31" fmla="*/ 112852 h 842603"/>
                <a:gd name="T32" fmla="*/ 562391 w 899753"/>
                <a:gd name="T33" fmla="*/ 68144 h 842603"/>
                <a:gd name="T34" fmla="*/ 550869 w 899753"/>
                <a:gd name="T35" fmla="*/ 56606 h 842603"/>
                <a:gd name="T36" fmla="*/ 325841 w 899753"/>
                <a:gd name="T37" fmla="*/ 0 h 842603"/>
                <a:gd name="T38" fmla="*/ 573912 w 899753"/>
                <a:gd name="T39" fmla="*/ 0 h 842603"/>
                <a:gd name="T40" fmla="*/ 618558 w 899753"/>
                <a:gd name="T41" fmla="*/ 44708 h 842603"/>
                <a:gd name="T42" fmla="*/ 618558 w 899753"/>
                <a:gd name="T43" fmla="*/ 112852 h 842603"/>
                <a:gd name="T44" fmla="*/ 855108 w 899753"/>
                <a:gd name="T45" fmla="*/ 112852 h 842603"/>
                <a:gd name="T46" fmla="*/ 899753 w 899753"/>
                <a:gd name="T47" fmla="*/ 157561 h 842603"/>
                <a:gd name="T48" fmla="*/ 899753 w 899753"/>
                <a:gd name="T49" fmla="*/ 390837 h 842603"/>
                <a:gd name="T50" fmla="*/ 816943 w 899753"/>
                <a:gd name="T51" fmla="*/ 402014 h 842603"/>
                <a:gd name="T52" fmla="*/ 534307 w 899753"/>
                <a:gd name="T53" fmla="*/ 425089 h 842603"/>
                <a:gd name="T54" fmla="*/ 534307 w 899753"/>
                <a:gd name="T55" fmla="*/ 366320 h 842603"/>
                <a:gd name="T56" fmla="*/ 365446 w 899753"/>
                <a:gd name="T57" fmla="*/ 366320 h 842603"/>
                <a:gd name="T58" fmla="*/ 365446 w 899753"/>
                <a:gd name="T59" fmla="*/ 425089 h 842603"/>
                <a:gd name="T60" fmla="*/ 83171 w 899753"/>
                <a:gd name="T61" fmla="*/ 402014 h 842603"/>
                <a:gd name="T62" fmla="*/ 0 w 899753"/>
                <a:gd name="T63" fmla="*/ 390837 h 842603"/>
                <a:gd name="T64" fmla="*/ 0 w 899753"/>
                <a:gd name="T65" fmla="*/ 157561 h 842603"/>
                <a:gd name="T66" fmla="*/ 44646 w 899753"/>
                <a:gd name="T67" fmla="*/ 112852 h 842603"/>
                <a:gd name="T68" fmla="*/ 281195 w 899753"/>
                <a:gd name="T69" fmla="*/ 112852 h 842603"/>
                <a:gd name="T70" fmla="*/ 281195 w 899753"/>
                <a:gd name="T71" fmla="*/ 44708 h 84260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899753" h="842603">
                  <a:moveTo>
                    <a:pt x="28575" y="444500"/>
                  </a:moveTo>
                  <a:lnTo>
                    <a:pt x="65686" y="449899"/>
                  </a:lnTo>
                  <a:cubicBezTo>
                    <a:pt x="165490" y="463937"/>
                    <a:pt x="265654" y="472576"/>
                    <a:pt x="366179" y="475816"/>
                  </a:cubicBezTo>
                  <a:lnTo>
                    <a:pt x="366179" y="533047"/>
                  </a:lnTo>
                  <a:lnTo>
                    <a:pt x="535161" y="533047"/>
                  </a:lnTo>
                  <a:lnTo>
                    <a:pt x="535161" y="475816"/>
                  </a:lnTo>
                  <a:cubicBezTo>
                    <a:pt x="635325" y="472576"/>
                    <a:pt x="735850" y="463937"/>
                    <a:pt x="835293" y="449899"/>
                  </a:cubicBezTo>
                  <a:lnTo>
                    <a:pt x="872765" y="444500"/>
                  </a:lnTo>
                  <a:lnTo>
                    <a:pt x="872765" y="769894"/>
                  </a:lnTo>
                  <a:lnTo>
                    <a:pt x="799984" y="842603"/>
                  </a:lnTo>
                  <a:lnTo>
                    <a:pt x="101356" y="842603"/>
                  </a:lnTo>
                  <a:lnTo>
                    <a:pt x="28575" y="769894"/>
                  </a:lnTo>
                  <a:lnTo>
                    <a:pt x="28575" y="444500"/>
                  </a:lnTo>
                  <a:close/>
                  <a:moveTo>
                    <a:pt x="348884" y="56606"/>
                  </a:moveTo>
                  <a:lnTo>
                    <a:pt x="337362" y="68144"/>
                  </a:lnTo>
                  <a:lnTo>
                    <a:pt x="337362" y="112852"/>
                  </a:lnTo>
                  <a:lnTo>
                    <a:pt x="562391" y="112852"/>
                  </a:lnTo>
                  <a:lnTo>
                    <a:pt x="562391" y="68144"/>
                  </a:lnTo>
                  <a:lnTo>
                    <a:pt x="550869" y="56606"/>
                  </a:lnTo>
                  <a:lnTo>
                    <a:pt x="348884" y="56606"/>
                  </a:lnTo>
                  <a:close/>
                  <a:moveTo>
                    <a:pt x="325841" y="0"/>
                  </a:moveTo>
                  <a:lnTo>
                    <a:pt x="573912" y="0"/>
                  </a:lnTo>
                  <a:lnTo>
                    <a:pt x="618558" y="44708"/>
                  </a:lnTo>
                  <a:lnTo>
                    <a:pt x="618558" y="112852"/>
                  </a:lnTo>
                  <a:lnTo>
                    <a:pt x="855108" y="112852"/>
                  </a:lnTo>
                  <a:lnTo>
                    <a:pt x="899753" y="157561"/>
                  </a:lnTo>
                  <a:lnTo>
                    <a:pt x="899753" y="390837"/>
                  </a:lnTo>
                  <a:lnTo>
                    <a:pt x="816943" y="402014"/>
                  </a:lnTo>
                  <a:cubicBezTo>
                    <a:pt x="722971" y="414633"/>
                    <a:pt x="628639" y="422205"/>
                    <a:pt x="534307" y="425089"/>
                  </a:cubicBezTo>
                  <a:lnTo>
                    <a:pt x="534307" y="366320"/>
                  </a:lnTo>
                  <a:lnTo>
                    <a:pt x="365446" y="366320"/>
                  </a:lnTo>
                  <a:lnTo>
                    <a:pt x="365446" y="425089"/>
                  </a:lnTo>
                  <a:cubicBezTo>
                    <a:pt x="271114" y="422205"/>
                    <a:pt x="176782" y="414633"/>
                    <a:pt x="83171" y="402014"/>
                  </a:cubicBezTo>
                  <a:lnTo>
                    <a:pt x="0" y="390837"/>
                  </a:lnTo>
                  <a:lnTo>
                    <a:pt x="0" y="157561"/>
                  </a:lnTo>
                  <a:lnTo>
                    <a:pt x="44646" y="112852"/>
                  </a:lnTo>
                  <a:lnTo>
                    <a:pt x="281195" y="112852"/>
                  </a:lnTo>
                  <a:lnTo>
                    <a:pt x="281195" y="44708"/>
                  </a:lnTo>
                  <a:lnTo>
                    <a:pt x="32584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2" name="Freeform 80">
              <a:extLst>
                <a:ext uri="{FF2B5EF4-FFF2-40B4-BE49-F238E27FC236}">
                  <a16:creationId xmlns:a16="http://schemas.microsoft.com/office/drawing/2014/main" id="{9FF2DC1B-B7A4-F8D8-C10D-2C27CF21EA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7224" y="2732671"/>
              <a:ext cx="492179" cy="788319"/>
            </a:xfrm>
            <a:custGeom>
              <a:avLst/>
              <a:gdLst>
                <a:gd name="T0" fmla="*/ 252413 w 561616"/>
                <a:gd name="T1" fmla="*/ 533400 h 899752"/>
                <a:gd name="T2" fmla="*/ 309199 w 561616"/>
                <a:gd name="T3" fmla="*/ 533400 h 899752"/>
                <a:gd name="T4" fmla="*/ 309199 w 561616"/>
                <a:gd name="T5" fmla="*/ 590188 h 899752"/>
                <a:gd name="T6" fmla="*/ 252413 w 561616"/>
                <a:gd name="T7" fmla="*/ 590188 h 899752"/>
                <a:gd name="T8" fmla="*/ 252763 w 561616"/>
                <a:gd name="T9" fmla="*/ 478263 h 899752"/>
                <a:gd name="T10" fmla="*/ 252763 w 561616"/>
                <a:gd name="T11" fmla="*/ 490131 h 899752"/>
                <a:gd name="T12" fmla="*/ 153527 w 561616"/>
                <a:gd name="T13" fmla="*/ 589389 h 899752"/>
                <a:gd name="T14" fmla="*/ 112179 w 561616"/>
                <a:gd name="T15" fmla="*/ 688648 h 899752"/>
                <a:gd name="T16" fmla="*/ 112179 w 561616"/>
                <a:gd name="T17" fmla="*/ 703033 h 899752"/>
                <a:gd name="T18" fmla="*/ 252763 w 561616"/>
                <a:gd name="T19" fmla="*/ 646931 h 899752"/>
                <a:gd name="T20" fmla="*/ 308853 w 561616"/>
                <a:gd name="T21" fmla="*/ 646931 h 899752"/>
                <a:gd name="T22" fmla="*/ 449436 w 561616"/>
                <a:gd name="T23" fmla="*/ 703033 h 899752"/>
                <a:gd name="T24" fmla="*/ 449436 w 561616"/>
                <a:gd name="T25" fmla="*/ 688648 h 899752"/>
                <a:gd name="T26" fmla="*/ 408088 w 561616"/>
                <a:gd name="T27" fmla="*/ 589389 h 899752"/>
                <a:gd name="T28" fmla="*/ 308853 w 561616"/>
                <a:gd name="T29" fmla="*/ 490131 h 899752"/>
                <a:gd name="T30" fmla="*/ 308853 w 561616"/>
                <a:gd name="T31" fmla="*/ 478263 h 899752"/>
                <a:gd name="T32" fmla="*/ 56089 w 561616"/>
                <a:gd name="T33" fmla="*/ 141287 h 899752"/>
                <a:gd name="T34" fmla="*/ 112179 w 561616"/>
                <a:gd name="T35" fmla="*/ 141287 h 899752"/>
                <a:gd name="T36" fmla="*/ 112179 w 561616"/>
                <a:gd name="T37" fmla="*/ 212135 h 899752"/>
                <a:gd name="T38" fmla="*/ 152089 w 561616"/>
                <a:gd name="T39" fmla="*/ 309955 h 899752"/>
                <a:gd name="T40" fmla="*/ 409526 w 561616"/>
                <a:gd name="T41" fmla="*/ 309955 h 899752"/>
                <a:gd name="T42" fmla="*/ 449436 w 561616"/>
                <a:gd name="T43" fmla="*/ 212135 h 899752"/>
                <a:gd name="T44" fmla="*/ 449436 w 561616"/>
                <a:gd name="T45" fmla="*/ 141287 h 899752"/>
                <a:gd name="T46" fmla="*/ 505526 w 561616"/>
                <a:gd name="T47" fmla="*/ 141287 h 899752"/>
                <a:gd name="T48" fmla="*/ 505526 w 561616"/>
                <a:gd name="T49" fmla="*/ 212135 h 899752"/>
                <a:gd name="T50" fmla="*/ 447998 w 561616"/>
                <a:gd name="T51" fmla="*/ 350953 h 899752"/>
                <a:gd name="T52" fmla="*/ 364942 w 561616"/>
                <a:gd name="T53" fmla="*/ 434028 h 899752"/>
                <a:gd name="T54" fmla="*/ 364942 w 561616"/>
                <a:gd name="T55" fmla="*/ 466755 h 899752"/>
                <a:gd name="T56" fmla="*/ 447998 w 561616"/>
                <a:gd name="T57" fmla="*/ 549830 h 899752"/>
                <a:gd name="T58" fmla="*/ 505526 w 561616"/>
                <a:gd name="T59" fmla="*/ 688648 h 899752"/>
                <a:gd name="T60" fmla="*/ 505526 w 561616"/>
                <a:gd name="T61" fmla="*/ 787547 h 899752"/>
                <a:gd name="T62" fmla="*/ 561616 w 561616"/>
                <a:gd name="T63" fmla="*/ 787547 h 899752"/>
                <a:gd name="T64" fmla="*/ 561616 w 561616"/>
                <a:gd name="T65" fmla="*/ 899752 h 899752"/>
                <a:gd name="T66" fmla="*/ 0 w 561616"/>
                <a:gd name="T67" fmla="*/ 899752 h 899752"/>
                <a:gd name="T68" fmla="*/ 0 w 561616"/>
                <a:gd name="T69" fmla="*/ 787547 h 899752"/>
                <a:gd name="T70" fmla="*/ 56089 w 561616"/>
                <a:gd name="T71" fmla="*/ 787547 h 899752"/>
                <a:gd name="T72" fmla="*/ 56089 w 561616"/>
                <a:gd name="T73" fmla="*/ 688648 h 899752"/>
                <a:gd name="T74" fmla="*/ 113977 w 561616"/>
                <a:gd name="T75" fmla="*/ 549830 h 899752"/>
                <a:gd name="T76" fmla="*/ 196673 w 561616"/>
                <a:gd name="T77" fmla="*/ 466755 h 899752"/>
                <a:gd name="T78" fmla="*/ 196673 w 561616"/>
                <a:gd name="T79" fmla="*/ 434028 h 899752"/>
                <a:gd name="T80" fmla="*/ 113977 w 561616"/>
                <a:gd name="T81" fmla="*/ 350953 h 899752"/>
                <a:gd name="T82" fmla="*/ 56089 w 561616"/>
                <a:gd name="T83" fmla="*/ 212135 h 899752"/>
                <a:gd name="T84" fmla="*/ 0 w 561616"/>
                <a:gd name="T85" fmla="*/ 0 h 899752"/>
                <a:gd name="T86" fmla="*/ 561616 w 561616"/>
                <a:gd name="T87" fmla="*/ 0 h 899752"/>
                <a:gd name="T88" fmla="*/ 561616 w 561616"/>
                <a:gd name="T89" fmla="*/ 112352 h 899752"/>
                <a:gd name="T90" fmla="*/ 0 w 561616"/>
                <a:gd name="T91" fmla="*/ 112352 h 89975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561616" h="899752">
                  <a:moveTo>
                    <a:pt x="252413" y="533400"/>
                  </a:moveTo>
                  <a:lnTo>
                    <a:pt x="309199" y="533400"/>
                  </a:lnTo>
                  <a:lnTo>
                    <a:pt x="309199" y="590188"/>
                  </a:lnTo>
                  <a:lnTo>
                    <a:pt x="252413" y="590188"/>
                  </a:lnTo>
                  <a:lnTo>
                    <a:pt x="252413" y="533400"/>
                  </a:lnTo>
                  <a:close/>
                  <a:moveTo>
                    <a:pt x="252763" y="478263"/>
                  </a:moveTo>
                  <a:lnTo>
                    <a:pt x="252763" y="490131"/>
                  </a:lnTo>
                  <a:lnTo>
                    <a:pt x="153527" y="589389"/>
                  </a:lnTo>
                  <a:cubicBezTo>
                    <a:pt x="126921" y="616002"/>
                    <a:pt x="112179" y="651246"/>
                    <a:pt x="112179" y="688648"/>
                  </a:cubicBezTo>
                  <a:lnTo>
                    <a:pt x="112179" y="703033"/>
                  </a:lnTo>
                  <a:lnTo>
                    <a:pt x="252763" y="646931"/>
                  </a:lnTo>
                  <a:lnTo>
                    <a:pt x="308853" y="646931"/>
                  </a:lnTo>
                  <a:lnTo>
                    <a:pt x="449436" y="703033"/>
                  </a:lnTo>
                  <a:lnTo>
                    <a:pt x="449436" y="688648"/>
                  </a:lnTo>
                  <a:cubicBezTo>
                    <a:pt x="449436" y="651246"/>
                    <a:pt x="434695" y="616002"/>
                    <a:pt x="408088" y="589389"/>
                  </a:cubicBezTo>
                  <a:lnTo>
                    <a:pt x="308853" y="490131"/>
                  </a:lnTo>
                  <a:lnTo>
                    <a:pt x="308853" y="478263"/>
                  </a:lnTo>
                  <a:lnTo>
                    <a:pt x="252763" y="478263"/>
                  </a:lnTo>
                  <a:close/>
                  <a:moveTo>
                    <a:pt x="56089" y="141287"/>
                  </a:moveTo>
                  <a:lnTo>
                    <a:pt x="112179" y="141287"/>
                  </a:lnTo>
                  <a:lnTo>
                    <a:pt x="112179" y="212135"/>
                  </a:lnTo>
                  <a:cubicBezTo>
                    <a:pt x="112179" y="248817"/>
                    <a:pt x="126561" y="283701"/>
                    <a:pt x="152089" y="309955"/>
                  </a:cubicBezTo>
                  <a:lnTo>
                    <a:pt x="409526" y="309955"/>
                  </a:lnTo>
                  <a:cubicBezTo>
                    <a:pt x="435054" y="283701"/>
                    <a:pt x="449436" y="248817"/>
                    <a:pt x="449436" y="212135"/>
                  </a:cubicBezTo>
                  <a:lnTo>
                    <a:pt x="449436" y="141287"/>
                  </a:lnTo>
                  <a:lnTo>
                    <a:pt x="505526" y="141287"/>
                  </a:lnTo>
                  <a:lnTo>
                    <a:pt x="505526" y="212135"/>
                  </a:lnTo>
                  <a:cubicBezTo>
                    <a:pt x="505526" y="264641"/>
                    <a:pt x="485032" y="313911"/>
                    <a:pt x="447998" y="350953"/>
                  </a:cubicBezTo>
                  <a:lnTo>
                    <a:pt x="364942" y="434028"/>
                  </a:lnTo>
                  <a:lnTo>
                    <a:pt x="364942" y="466755"/>
                  </a:lnTo>
                  <a:lnTo>
                    <a:pt x="447998" y="549830"/>
                  </a:lnTo>
                  <a:cubicBezTo>
                    <a:pt x="485032" y="586872"/>
                    <a:pt x="505526" y="636142"/>
                    <a:pt x="505526" y="688648"/>
                  </a:cubicBezTo>
                  <a:lnTo>
                    <a:pt x="505526" y="787547"/>
                  </a:lnTo>
                  <a:lnTo>
                    <a:pt x="561616" y="787547"/>
                  </a:lnTo>
                  <a:lnTo>
                    <a:pt x="561616" y="899752"/>
                  </a:lnTo>
                  <a:lnTo>
                    <a:pt x="0" y="899752"/>
                  </a:lnTo>
                  <a:lnTo>
                    <a:pt x="0" y="787547"/>
                  </a:lnTo>
                  <a:lnTo>
                    <a:pt x="56089" y="787547"/>
                  </a:lnTo>
                  <a:lnTo>
                    <a:pt x="56089" y="688648"/>
                  </a:lnTo>
                  <a:cubicBezTo>
                    <a:pt x="56089" y="636142"/>
                    <a:pt x="76584" y="586872"/>
                    <a:pt x="113977" y="549830"/>
                  </a:cubicBezTo>
                  <a:lnTo>
                    <a:pt x="196673" y="466755"/>
                  </a:lnTo>
                  <a:lnTo>
                    <a:pt x="196673" y="434028"/>
                  </a:lnTo>
                  <a:lnTo>
                    <a:pt x="113977" y="350953"/>
                  </a:lnTo>
                  <a:cubicBezTo>
                    <a:pt x="76584" y="313911"/>
                    <a:pt x="56089" y="264641"/>
                    <a:pt x="56089" y="212135"/>
                  </a:cubicBezTo>
                  <a:lnTo>
                    <a:pt x="56089" y="141287"/>
                  </a:lnTo>
                  <a:close/>
                  <a:moveTo>
                    <a:pt x="0" y="0"/>
                  </a:moveTo>
                  <a:lnTo>
                    <a:pt x="561616" y="0"/>
                  </a:lnTo>
                  <a:lnTo>
                    <a:pt x="561616" y="112352"/>
                  </a:lnTo>
                  <a:lnTo>
                    <a:pt x="0" y="1123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3" name="Freeform 41">
              <a:extLst>
                <a:ext uri="{FF2B5EF4-FFF2-40B4-BE49-F238E27FC236}">
                  <a16:creationId xmlns:a16="http://schemas.microsoft.com/office/drawing/2014/main" id="{AFA5FE14-5495-C22D-ADC3-842307ABEF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98105" y="2164907"/>
              <a:ext cx="779383" cy="830660"/>
            </a:xfrm>
            <a:custGeom>
              <a:avLst/>
              <a:gdLst>
                <a:gd name="T0" fmla="*/ 450379 w 2344"/>
                <a:gd name="T1" fmla="*/ 478140 h 2500"/>
                <a:gd name="T2" fmla="*/ 731775 w 2344"/>
                <a:gd name="T3" fmla="*/ 421973 h 2500"/>
                <a:gd name="T4" fmla="*/ 731775 w 2344"/>
                <a:gd name="T5" fmla="*/ 703168 h 2500"/>
                <a:gd name="T6" fmla="*/ 450379 w 2344"/>
                <a:gd name="T7" fmla="*/ 646641 h 2500"/>
                <a:gd name="T8" fmla="*/ 731775 w 2344"/>
                <a:gd name="T9" fmla="*/ 703168 h 2500"/>
                <a:gd name="T10" fmla="*/ 366068 w 2344"/>
                <a:gd name="T11" fmla="*/ 365446 h 2500"/>
                <a:gd name="T12" fmla="*/ 337964 w 2344"/>
                <a:gd name="T13" fmla="*/ 337362 h 2500"/>
                <a:gd name="T14" fmla="*/ 366068 w 2344"/>
                <a:gd name="T15" fmla="*/ 309279 h 2500"/>
                <a:gd name="T16" fmla="*/ 394171 w 2344"/>
                <a:gd name="T17" fmla="*/ 337362 h 2500"/>
                <a:gd name="T18" fmla="*/ 366068 w 2344"/>
                <a:gd name="T19" fmla="*/ 478140 h 2500"/>
                <a:gd name="T20" fmla="*/ 337964 w 2344"/>
                <a:gd name="T21" fmla="*/ 449696 h 2500"/>
                <a:gd name="T22" fmla="*/ 366068 w 2344"/>
                <a:gd name="T23" fmla="*/ 421973 h 2500"/>
                <a:gd name="T24" fmla="*/ 394171 w 2344"/>
                <a:gd name="T25" fmla="*/ 449696 h 2500"/>
                <a:gd name="T26" fmla="*/ 366068 w 2344"/>
                <a:gd name="T27" fmla="*/ 478140 h 2500"/>
                <a:gd name="T28" fmla="*/ 366068 w 2344"/>
                <a:gd name="T29" fmla="*/ 590474 h 2500"/>
                <a:gd name="T30" fmla="*/ 337964 w 2344"/>
                <a:gd name="T31" fmla="*/ 562391 h 2500"/>
                <a:gd name="T32" fmla="*/ 366068 w 2344"/>
                <a:gd name="T33" fmla="*/ 534307 h 2500"/>
                <a:gd name="T34" fmla="*/ 394171 w 2344"/>
                <a:gd name="T35" fmla="*/ 562391 h 2500"/>
                <a:gd name="T36" fmla="*/ 366068 w 2344"/>
                <a:gd name="T37" fmla="*/ 703168 h 2500"/>
                <a:gd name="T38" fmla="*/ 337964 w 2344"/>
                <a:gd name="T39" fmla="*/ 674725 h 2500"/>
                <a:gd name="T40" fmla="*/ 366068 w 2344"/>
                <a:gd name="T41" fmla="*/ 646641 h 2500"/>
                <a:gd name="T42" fmla="*/ 394171 w 2344"/>
                <a:gd name="T43" fmla="*/ 674725 h 2500"/>
                <a:gd name="T44" fmla="*/ 366068 w 2344"/>
                <a:gd name="T45" fmla="*/ 703168 h 2500"/>
                <a:gd name="T46" fmla="*/ 619000 w 2344"/>
                <a:gd name="T47" fmla="*/ 534307 h 2500"/>
                <a:gd name="T48" fmla="*/ 450379 w 2344"/>
                <a:gd name="T49" fmla="*/ 590474 h 2500"/>
                <a:gd name="T50" fmla="*/ 450379 w 2344"/>
                <a:gd name="T51" fmla="*/ 309279 h 2500"/>
                <a:gd name="T52" fmla="*/ 703311 w 2344"/>
                <a:gd name="T53" fmla="*/ 365446 h 2500"/>
                <a:gd name="T54" fmla="*/ 450379 w 2344"/>
                <a:gd name="T55" fmla="*/ 309279 h 2500"/>
                <a:gd name="T56" fmla="*/ 647104 w 2344"/>
                <a:gd name="T57" fmla="*/ 140418 h 2500"/>
                <a:gd name="T58" fmla="*/ 450379 w 2344"/>
                <a:gd name="T59" fmla="*/ 196585 h 2500"/>
                <a:gd name="T60" fmla="*/ 225189 w 2344"/>
                <a:gd name="T61" fmla="*/ 815502 h 2500"/>
                <a:gd name="T62" fmla="*/ 197086 w 2344"/>
                <a:gd name="T63" fmla="*/ 843586 h 2500"/>
                <a:gd name="T64" fmla="*/ 168982 w 2344"/>
                <a:gd name="T65" fmla="*/ 815502 h 2500"/>
                <a:gd name="T66" fmla="*/ 168982 w 2344"/>
                <a:gd name="T67" fmla="*/ 309279 h 2500"/>
                <a:gd name="T68" fmla="*/ 225189 w 2344"/>
                <a:gd name="T69" fmla="*/ 281195 h 2500"/>
                <a:gd name="T70" fmla="*/ 112775 w 2344"/>
                <a:gd name="T71" fmla="*/ 590474 h 2500"/>
                <a:gd name="T72" fmla="*/ 56568 w 2344"/>
                <a:gd name="T73" fmla="*/ 309279 h 2500"/>
                <a:gd name="T74" fmla="*/ 84311 w 2344"/>
                <a:gd name="T75" fmla="*/ 281195 h 2500"/>
                <a:gd name="T76" fmla="*/ 112775 w 2344"/>
                <a:gd name="T77" fmla="*/ 309279 h 2500"/>
                <a:gd name="T78" fmla="*/ 225189 w 2344"/>
                <a:gd name="T79" fmla="*/ 0 h 2500"/>
                <a:gd name="T80" fmla="*/ 84311 w 2344"/>
                <a:gd name="T81" fmla="*/ 225028 h 2500"/>
                <a:gd name="T82" fmla="*/ 0 w 2344"/>
                <a:gd name="T83" fmla="*/ 309279 h 2500"/>
                <a:gd name="T84" fmla="*/ 112775 w 2344"/>
                <a:gd name="T85" fmla="*/ 646641 h 2500"/>
                <a:gd name="T86" fmla="*/ 112775 w 2344"/>
                <a:gd name="T87" fmla="*/ 815502 h 2500"/>
                <a:gd name="T88" fmla="*/ 759879 w 2344"/>
                <a:gd name="T89" fmla="*/ 899753 h 2500"/>
                <a:gd name="T90" fmla="*/ 844190 w 2344"/>
                <a:gd name="T91" fmla="*/ 815502 h 2500"/>
                <a:gd name="T92" fmla="*/ 225189 w 2344"/>
                <a:gd name="T93" fmla="*/ 0 h 250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344" h="2500">
                  <a:moveTo>
                    <a:pt x="2031" y="1328"/>
                  </a:moveTo>
                  <a:lnTo>
                    <a:pt x="1250" y="1328"/>
                  </a:lnTo>
                  <a:lnTo>
                    <a:pt x="1250" y="1172"/>
                  </a:lnTo>
                  <a:lnTo>
                    <a:pt x="2031" y="1172"/>
                  </a:lnTo>
                  <a:lnTo>
                    <a:pt x="2031" y="1328"/>
                  </a:lnTo>
                  <a:close/>
                  <a:moveTo>
                    <a:pt x="2031" y="1953"/>
                  </a:moveTo>
                  <a:lnTo>
                    <a:pt x="1250" y="1953"/>
                  </a:lnTo>
                  <a:lnTo>
                    <a:pt x="1250" y="1796"/>
                  </a:lnTo>
                  <a:lnTo>
                    <a:pt x="2031" y="1796"/>
                  </a:lnTo>
                  <a:lnTo>
                    <a:pt x="2031" y="1953"/>
                  </a:lnTo>
                  <a:close/>
                  <a:moveTo>
                    <a:pt x="1016" y="1015"/>
                  </a:moveTo>
                  <a:lnTo>
                    <a:pt x="1016" y="1015"/>
                  </a:lnTo>
                  <a:cubicBezTo>
                    <a:pt x="972" y="1015"/>
                    <a:pt x="938" y="980"/>
                    <a:pt x="938" y="937"/>
                  </a:cubicBezTo>
                  <a:cubicBezTo>
                    <a:pt x="938" y="893"/>
                    <a:pt x="972" y="859"/>
                    <a:pt x="1016" y="859"/>
                  </a:cubicBezTo>
                  <a:cubicBezTo>
                    <a:pt x="1059" y="859"/>
                    <a:pt x="1094" y="893"/>
                    <a:pt x="1094" y="937"/>
                  </a:cubicBezTo>
                  <a:cubicBezTo>
                    <a:pt x="1094" y="980"/>
                    <a:pt x="1059" y="1015"/>
                    <a:pt x="1016" y="1015"/>
                  </a:cubicBezTo>
                  <a:close/>
                  <a:moveTo>
                    <a:pt x="1016" y="1328"/>
                  </a:moveTo>
                  <a:lnTo>
                    <a:pt x="1016" y="1328"/>
                  </a:lnTo>
                  <a:cubicBezTo>
                    <a:pt x="972" y="1328"/>
                    <a:pt x="938" y="1293"/>
                    <a:pt x="938" y="1249"/>
                  </a:cubicBezTo>
                  <a:cubicBezTo>
                    <a:pt x="938" y="1206"/>
                    <a:pt x="972" y="1172"/>
                    <a:pt x="1016" y="1172"/>
                  </a:cubicBezTo>
                  <a:cubicBezTo>
                    <a:pt x="1059" y="1172"/>
                    <a:pt x="1094" y="1206"/>
                    <a:pt x="1094" y="1249"/>
                  </a:cubicBezTo>
                  <a:cubicBezTo>
                    <a:pt x="1094" y="1293"/>
                    <a:pt x="1059" y="1328"/>
                    <a:pt x="1016" y="1328"/>
                  </a:cubicBezTo>
                  <a:close/>
                  <a:moveTo>
                    <a:pt x="1016" y="1640"/>
                  </a:moveTo>
                  <a:lnTo>
                    <a:pt x="1016" y="1640"/>
                  </a:lnTo>
                  <a:cubicBezTo>
                    <a:pt x="972" y="1640"/>
                    <a:pt x="938" y="1605"/>
                    <a:pt x="938" y="1562"/>
                  </a:cubicBezTo>
                  <a:cubicBezTo>
                    <a:pt x="938" y="1519"/>
                    <a:pt x="972" y="1484"/>
                    <a:pt x="1016" y="1484"/>
                  </a:cubicBezTo>
                  <a:cubicBezTo>
                    <a:pt x="1059" y="1484"/>
                    <a:pt x="1094" y="1519"/>
                    <a:pt x="1094" y="1562"/>
                  </a:cubicBezTo>
                  <a:cubicBezTo>
                    <a:pt x="1094" y="1605"/>
                    <a:pt x="1059" y="1640"/>
                    <a:pt x="1016" y="1640"/>
                  </a:cubicBezTo>
                  <a:close/>
                  <a:moveTo>
                    <a:pt x="1016" y="1953"/>
                  </a:moveTo>
                  <a:lnTo>
                    <a:pt x="1016" y="1953"/>
                  </a:lnTo>
                  <a:cubicBezTo>
                    <a:pt x="972" y="1953"/>
                    <a:pt x="938" y="1917"/>
                    <a:pt x="938" y="1874"/>
                  </a:cubicBezTo>
                  <a:cubicBezTo>
                    <a:pt x="938" y="1831"/>
                    <a:pt x="972" y="1796"/>
                    <a:pt x="1016" y="1796"/>
                  </a:cubicBezTo>
                  <a:cubicBezTo>
                    <a:pt x="1059" y="1796"/>
                    <a:pt x="1094" y="1831"/>
                    <a:pt x="1094" y="1874"/>
                  </a:cubicBezTo>
                  <a:cubicBezTo>
                    <a:pt x="1094" y="1917"/>
                    <a:pt x="1059" y="1953"/>
                    <a:pt x="1016" y="1953"/>
                  </a:cubicBezTo>
                  <a:close/>
                  <a:moveTo>
                    <a:pt x="1250" y="1484"/>
                  </a:moveTo>
                  <a:lnTo>
                    <a:pt x="1718" y="1484"/>
                  </a:lnTo>
                  <a:lnTo>
                    <a:pt x="1718" y="1640"/>
                  </a:lnTo>
                  <a:lnTo>
                    <a:pt x="1250" y="1640"/>
                  </a:lnTo>
                  <a:lnTo>
                    <a:pt x="1250" y="1484"/>
                  </a:lnTo>
                  <a:close/>
                  <a:moveTo>
                    <a:pt x="1250" y="859"/>
                  </a:moveTo>
                  <a:lnTo>
                    <a:pt x="1952" y="859"/>
                  </a:lnTo>
                  <a:lnTo>
                    <a:pt x="1952" y="1015"/>
                  </a:lnTo>
                  <a:lnTo>
                    <a:pt x="1250" y="1015"/>
                  </a:lnTo>
                  <a:lnTo>
                    <a:pt x="1250" y="859"/>
                  </a:lnTo>
                  <a:close/>
                  <a:moveTo>
                    <a:pt x="1250" y="390"/>
                  </a:moveTo>
                  <a:lnTo>
                    <a:pt x="1796" y="390"/>
                  </a:lnTo>
                  <a:lnTo>
                    <a:pt x="1796" y="546"/>
                  </a:lnTo>
                  <a:lnTo>
                    <a:pt x="1250" y="546"/>
                  </a:lnTo>
                  <a:lnTo>
                    <a:pt x="1250" y="390"/>
                  </a:lnTo>
                  <a:close/>
                  <a:moveTo>
                    <a:pt x="625" y="2265"/>
                  </a:moveTo>
                  <a:lnTo>
                    <a:pt x="625" y="2265"/>
                  </a:lnTo>
                  <a:cubicBezTo>
                    <a:pt x="625" y="2308"/>
                    <a:pt x="590" y="2343"/>
                    <a:pt x="547" y="2343"/>
                  </a:cubicBezTo>
                  <a:cubicBezTo>
                    <a:pt x="504" y="2343"/>
                    <a:pt x="469" y="2308"/>
                    <a:pt x="469" y="2265"/>
                  </a:cubicBezTo>
                  <a:lnTo>
                    <a:pt x="469" y="859"/>
                  </a:lnTo>
                  <a:cubicBezTo>
                    <a:pt x="469" y="831"/>
                    <a:pt x="463" y="806"/>
                    <a:pt x="454" y="781"/>
                  </a:cubicBezTo>
                  <a:lnTo>
                    <a:pt x="625" y="781"/>
                  </a:lnTo>
                  <a:lnTo>
                    <a:pt x="625" y="2265"/>
                  </a:lnTo>
                  <a:close/>
                  <a:moveTo>
                    <a:pt x="313" y="1640"/>
                  </a:moveTo>
                  <a:lnTo>
                    <a:pt x="157" y="1640"/>
                  </a:lnTo>
                  <a:lnTo>
                    <a:pt x="157" y="859"/>
                  </a:lnTo>
                  <a:cubicBezTo>
                    <a:pt x="157" y="816"/>
                    <a:pt x="191" y="781"/>
                    <a:pt x="234" y="781"/>
                  </a:cubicBezTo>
                  <a:cubicBezTo>
                    <a:pt x="277" y="781"/>
                    <a:pt x="313" y="816"/>
                    <a:pt x="313" y="859"/>
                  </a:cubicBezTo>
                  <a:lnTo>
                    <a:pt x="313" y="1640"/>
                  </a:lnTo>
                  <a:close/>
                  <a:moveTo>
                    <a:pt x="625" y="0"/>
                  </a:moveTo>
                  <a:lnTo>
                    <a:pt x="625" y="625"/>
                  </a:lnTo>
                  <a:lnTo>
                    <a:pt x="234" y="625"/>
                  </a:lnTo>
                  <a:cubicBezTo>
                    <a:pt x="105" y="625"/>
                    <a:pt x="0" y="730"/>
                    <a:pt x="0" y="859"/>
                  </a:cubicBezTo>
                  <a:lnTo>
                    <a:pt x="0" y="1796"/>
                  </a:lnTo>
                  <a:lnTo>
                    <a:pt x="313" y="1796"/>
                  </a:lnTo>
                  <a:lnTo>
                    <a:pt x="313" y="2265"/>
                  </a:lnTo>
                  <a:cubicBezTo>
                    <a:pt x="313" y="2394"/>
                    <a:pt x="418" y="2499"/>
                    <a:pt x="547" y="2499"/>
                  </a:cubicBezTo>
                  <a:lnTo>
                    <a:pt x="2109" y="2499"/>
                  </a:lnTo>
                  <a:cubicBezTo>
                    <a:pt x="2238" y="2499"/>
                    <a:pt x="2343" y="2394"/>
                    <a:pt x="2343" y="2265"/>
                  </a:cubicBezTo>
                  <a:lnTo>
                    <a:pt x="2343" y="0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4" name="Freeform 89">
              <a:extLst>
                <a:ext uri="{FF2B5EF4-FFF2-40B4-BE49-F238E27FC236}">
                  <a16:creationId xmlns:a16="http://schemas.microsoft.com/office/drawing/2014/main" id="{27F34AB2-3910-D75A-2B5C-2D1A4A4A55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0730" y="2189715"/>
              <a:ext cx="620464" cy="464256"/>
            </a:xfrm>
            <a:custGeom>
              <a:avLst/>
              <a:gdLst>
                <a:gd name="T0" fmla="*/ 573956 w 901340"/>
                <a:gd name="T1" fmla="*/ 561975 h 674329"/>
                <a:gd name="T2" fmla="*/ 901340 w 901340"/>
                <a:gd name="T3" fmla="*/ 561975 h 674329"/>
                <a:gd name="T4" fmla="*/ 901340 w 901340"/>
                <a:gd name="T5" fmla="*/ 674329 h 674329"/>
                <a:gd name="T6" fmla="*/ 468313 w 901340"/>
                <a:gd name="T7" fmla="*/ 674329 h 674329"/>
                <a:gd name="T8" fmla="*/ 573956 w 901340"/>
                <a:gd name="T9" fmla="*/ 561975 h 674329"/>
                <a:gd name="T10" fmla="*/ 616811 w 901340"/>
                <a:gd name="T11" fmla="*/ 420688 h 674329"/>
                <a:gd name="T12" fmla="*/ 842604 w 901340"/>
                <a:gd name="T13" fmla="*/ 420688 h 674329"/>
                <a:gd name="T14" fmla="*/ 842604 w 901340"/>
                <a:gd name="T15" fmla="*/ 533040 h 674329"/>
                <a:gd name="T16" fmla="*/ 587375 w 901340"/>
                <a:gd name="T17" fmla="*/ 533040 h 674329"/>
                <a:gd name="T18" fmla="*/ 616811 w 901340"/>
                <a:gd name="T19" fmla="*/ 420688 h 674329"/>
                <a:gd name="T20" fmla="*/ 600075 w 901340"/>
                <a:gd name="T21" fmla="*/ 280988 h 674329"/>
                <a:gd name="T22" fmla="*/ 901339 w 901340"/>
                <a:gd name="T23" fmla="*/ 280988 h 674329"/>
                <a:gd name="T24" fmla="*/ 901339 w 901340"/>
                <a:gd name="T25" fmla="*/ 393341 h 674329"/>
                <a:gd name="T26" fmla="*/ 619919 w 901340"/>
                <a:gd name="T27" fmla="*/ 393341 h 674329"/>
                <a:gd name="T28" fmla="*/ 600075 w 901340"/>
                <a:gd name="T29" fmla="*/ 280988 h 674329"/>
                <a:gd name="T30" fmla="*/ 196799 w 901340"/>
                <a:gd name="T31" fmla="*/ 280982 h 674329"/>
                <a:gd name="T32" fmla="*/ 196799 w 901340"/>
                <a:gd name="T33" fmla="*/ 337072 h 674329"/>
                <a:gd name="T34" fmla="*/ 252925 w 901340"/>
                <a:gd name="T35" fmla="*/ 337072 h 674329"/>
                <a:gd name="T36" fmla="*/ 252925 w 901340"/>
                <a:gd name="T37" fmla="*/ 449611 h 674329"/>
                <a:gd name="T38" fmla="*/ 196799 w 901340"/>
                <a:gd name="T39" fmla="*/ 449611 h 674329"/>
                <a:gd name="T40" fmla="*/ 196799 w 901340"/>
                <a:gd name="T41" fmla="*/ 505700 h 674329"/>
                <a:gd name="T42" fmla="*/ 365176 w 901340"/>
                <a:gd name="T43" fmla="*/ 505700 h 674329"/>
                <a:gd name="T44" fmla="*/ 365176 w 901340"/>
                <a:gd name="T45" fmla="*/ 449611 h 674329"/>
                <a:gd name="T46" fmla="*/ 309051 w 901340"/>
                <a:gd name="T47" fmla="*/ 449611 h 674329"/>
                <a:gd name="T48" fmla="*/ 309051 w 901340"/>
                <a:gd name="T49" fmla="*/ 280982 h 674329"/>
                <a:gd name="T50" fmla="*/ 503238 w 901340"/>
                <a:gd name="T51" fmla="*/ 139700 h 674329"/>
                <a:gd name="T52" fmla="*/ 787040 w 901340"/>
                <a:gd name="T53" fmla="*/ 139700 h 674329"/>
                <a:gd name="T54" fmla="*/ 787040 w 901340"/>
                <a:gd name="T55" fmla="*/ 252053 h 674329"/>
                <a:gd name="T56" fmla="*/ 587154 w 901340"/>
                <a:gd name="T57" fmla="*/ 252053 h 674329"/>
                <a:gd name="T58" fmla="*/ 503238 w 901340"/>
                <a:gd name="T59" fmla="*/ 139700 h 674329"/>
                <a:gd name="T60" fmla="*/ 280988 w 901340"/>
                <a:gd name="T61" fmla="*/ 112713 h 674329"/>
                <a:gd name="T62" fmla="*/ 561615 w 901340"/>
                <a:gd name="T63" fmla="*/ 393521 h 674329"/>
                <a:gd name="T64" fmla="*/ 280988 w 901340"/>
                <a:gd name="T65" fmla="*/ 674329 h 674329"/>
                <a:gd name="T66" fmla="*/ 0 w 901340"/>
                <a:gd name="T67" fmla="*/ 393521 h 674329"/>
                <a:gd name="T68" fmla="*/ 280988 w 901340"/>
                <a:gd name="T69" fmla="*/ 112713 h 674329"/>
                <a:gd name="T70" fmla="*/ 282575 w 901340"/>
                <a:gd name="T71" fmla="*/ 0 h 674329"/>
                <a:gd name="T72" fmla="*/ 844190 w 901340"/>
                <a:gd name="T73" fmla="*/ 0 h 674329"/>
                <a:gd name="T74" fmla="*/ 844190 w 901340"/>
                <a:gd name="T75" fmla="*/ 112353 h 674329"/>
                <a:gd name="T76" fmla="*/ 468221 w 901340"/>
                <a:gd name="T77" fmla="*/ 112353 h 674329"/>
                <a:gd name="T78" fmla="*/ 282575 w 901340"/>
                <a:gd name="T79" fmla="*/ 55816 h 67432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901340" h="674329">
                  <a:moveTo>
                    <a:pt x="573956" y="561975"/>
                  </a:moveTo>
                  <a:lnTo>
                    <a:pt x="901340" y="561975"/>
                  </a:lnTo>
                  <a:lnTo>
                    <a:pt x="901340" y="674329"/>
                  </a:lnTo>
                  <a:lnTo>
                    <a:pt x="468313" y="674329"/>
                  </a:lnTo>
                  <a:cubicBezTo>
                    <a:pt x="511940" y="645613"/>
                    <a:pt x="547996" y="607204"/>
                    <a:pt x="573956" y="561975"/>
                  </a:cubicBezTo>
                  <a:close/>
                  <a:moveTo>
                    <a:pt x="616811" y="420688"/>
                  </a:moveTo>
                  <a:lnTo>
                    <a:pt x="842604" y="420688"/>
                  </a:lnTo>
                  <a:lnTo>
                    <a:pt x="842604" y="533040"/>
                  </a:lnTo>
                  <a:lnTo>
                    <a:pt x="587375" y="533040"/>
                  </a:lnTo>
                  <a:cubicBezTo>
                    <a:pt x="603529" y="498470"/>
                    <a:pt x="613580" y="460660"/>
                    <a:pt x="616811" y="420688"/>
                  </a:cubicBezTo>
                  <a:close/>
                  <a:moveTo>
                    <a:pt x="600075" y="280988"/>
                  </a:moveTo>
                  <a:lnTo>
                    <a:pt x="901339" y="280988"/>
                  </a:lnTo>
                  <a:lnTo>
                    <a:pt x="901339" y="393341"/>
                  </a:lnTo>
                  <a:lnTo>
                    <a:pt x="619919" y="393341"/>
                  </a:lnTo>
                  <a:cubicBezTo>
                    <a:pt x="619919" y="353856"/>
                    <a:pt x="612703" y="316166"/>
                    <a:pt x="600075" y="280988"/>
                  </a:cubicBezTo>
                  <a:close/>
                  <a:moveTo>
                    <a:pt x="196799" y="280982"/>
                  </a:moveTo>
                  <a:lnTo>
                    <a:pt x="196799" y="337072"/>
                  </a:lnTo>
                  <a:lnTo>
                    <a:pt x="252925" y="337072"/>
                  </a:lnTo>
                  <a:lnTo>
                    <a:pt x="252925" y="449611"/>
                  </a:lnTo>
                  <a:lnTo>
                    <a:pt x="196799" y="449611"/>
                  </a:lnTo>
                  <a:lnTo>
                    <a:pt x="196799" y="505700"/>
                  </a:lnTo>
                  <a:lnTo>
                    <a:pt x="365176" y="505700"/>
                  </a:lnTo>
                  <a:lnTo>
                    <a:pt x="365176" y="449611"/>
                  </a:lnTo>
                  <a:lnTo>
                    <a:pt x="309051" y="449611"/>
                  </a:lnTo>
                  <a:lnTo>
                    <a:pt x="309051" y="280982"/>
                  </a:lnTo>
                  <a:lnTo>
                    <a:pt x="196799" y="280982"/>
                  </a:lnTo>
                  <a:close/>
                  <a:moveTo>
                    <a:pt x="503238" y="139700"/>
                  </a:moveTo>
                  <a:lnTo>
                    <a:pt x="787040" y="139700"/>
                  </a:lnTo>
                  <a:lnTo>
                    <a:pt x="787040" y="252053"/>
                  </a:lnTo>
                  <a:lnTo>
                    <a:pt x="587154" y="252053"/>
                  </a:lnTo>
                  <a:cubicBezTo>
                    <a:pt x="567346" y="208840"/>
                    <a:pt x="538894" y="170669"/>
                    <a:pt x="503238" y="139700"/>
                  </a:cubicBezTo>
                  <a:close/>
                  <a:moveTo>
                    <a:pt x="280988" y="112713"/>
                  </a:moveTo>
                  <a:cubicBezTo>
                    <a:pt x="436053" y="112713"/>
                    <a:pt x="561615" y="238555"/>
                    <a:pt x="561615" y="393521"/>
                  </a:cubicBezTo>
                  <a:cubicBezTo>
                    <a:pt x="561615" y="548487"/>
                    <a:pt x="436053" y="674329"/>
                    <a:pt x="280988" y="674329"/>
                  </a:cubicBezTo>
                  <a:cubicBezTo>
                    <a:pt x="125923" y="674329"/>
                    <a:pt x="0" y="548487"/>
                    <a:pt x="0" y="393521"/>
                  </a:cubicBezTo>
                  <a:cubicBezTo>
                    <a:pt x="0" y="238555"/>
                    <a:pt x="125923" y="112713"/>
                    <a:pt x="280988" y="112713"/>
                  </a:cubicBezTo>
                  <a:close/>
                  <a:moveTo>
                    <a:pt x="282575" y="0"/>
                  </a:moveTo>
                  <a:lnTo>
                    <a:pt x="844190" y="0"/>
                  </a:lnTo>
                  <a:lnTo>
                    <a:pt x="844190" y="112353"/>
                  </a:lnTo>
                  <a:lnTo>
                    <a:pt x="468221" y="112353"/>
                  </a:lnTo>
                  <a:cubicBezTo>
                    <a:pt x="415694" y="76702"/>
                    <a:pt x="351293" y="55816"/>
                    <a:pt x="282575" y="55816"/>
                  </a:cubicBezTo>
                  <a:lnTo>
                    <a:pt x="28257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5" name="Freeform 85">
              <a:extLst>
                <a:ext uri="{FF2B5EF4-FFF2-40B4-BE49-F238E27FC236}">
                  <a16:creationId xmlns:a16="http://schemas.microsoft.com/office/drawing/2014/main" id="{D4F95317-E85D-0A28-091B-1081ECE799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7018" y="2112157"/>
              <a:ext cx="619371" cy="619372"/>
            </a:xfrm>
            <a:custGeom>
              <a:avLst/>
              <a:gdLst>
                <a:gd name="T0" fmla="*/ 422275 w 899752"/>
                <a:gd name="T1" fmla="*/ 280988 h 899754"/>
                <a:gd name="T2" fmla="*/ 534627 w 899752"/>
                <a:gd name="T3" fmla="*/ 365919 h 899754"/>
                <a:gd name="T4" fmla="*/ 422275 w 899752"/>
                <a:gd name="T5" fmla="*/ 450489 h 899754"/>
                <a:gd name="T6" fmla="*/ 57150 w 899752"/>
                <a:gd name="T7" fmla="*/ 225425 h 899754"/>
                <a:gd name="T8" fmla="*/ 113290 w 899752"/>
                <a:gd name="T9" fmla="*/ 225425 h 899754"/>
                <a:gd name="T10" fmla="*/ 113290 w 899752"/>
                <a:gd name="T11" fmla="*/ 562409 h 899754"/>
                <a:gd name="T12" fmla="*/ 422420 w 899752"/>
                <a:gd name="T13" fmla="*/ 562409 h 899754"/>
                <a:gd name="T14" fmla="*/ 478560 w 899752"/>
                <a:gd name="T15" fmla="*/ 562409 h 899754"/>
                <a:gd name="T16" fmla="*/ 787690 w 899752"/>
                <a:gd name="T17" fmla="*/ 562409 h 899754"/>
                <a:gd name="T18" fmla="*/ 787690 w 899752"/>
                <a:gd name="T19" fmla="*/ 225425 h 899754"/>
                <a:gd name="T20" fmla="*/ 844190 w 899752"/>
                <a:gd name="T21" fmla="*/ 225425 h 899754"/>
                <a:gd name="T22" fmla="*/ 844190 w 899752"/>
                <a:gd name="T23" fmla="*/ 618873 h 899754"/>
                <a:gd name="T24" fmla="*/ 478560 w 899752"/>
                <a:gd name="T25" fmla="*/ 618873 h 899754"/>
                <a:gd name="T26" fmla="*/ 478560 w 899752"/>
                <a:gd name="T27" fmla="*/ 803729 h 899754"/>
                <a:gd name="T28" fmla="*/ 490436 w 899752"/>
                <a:gd name="T29" fmla="*/ 815597 h 899754"/>
                <a:gd name="T30" fmla="*/ 518146 w 899752"/>
                <a:gd name="T31" fmla="*/ 843649 h 899754"/>
                <a:gd name="T32" fmla="*/ 590840 w 899752"/>
                <a:gd name="T33" fmla="*/ 843649 h 899754"/>
                <a:gd name="T34" fmla="*/ 590840 w 899752"/>
                <a:gd name="T35" fmla="*/ 899754 h 899754"/>
                <a:gd name="T36" fmla="*/ 495114 w 899752"/>
                <a:gd name="T37" fmla="*/ 899754 h 899754"/>
                <a:gd name="T38" fmla="*/ 450490 w 899752"/>
                <a:gd name="T39" fmla="*/ 855158 h 899754"/>
                <a:gd name="T40" fmla="*/ 405866 w 899752"/>
                <a:gd name="T41" fmla="*/ 899754 h 899754"/>
                <a:gd name="T42" fmla="*/ 309780 w 899752"/>
                <a:gd name="T43" fmla="*/ 899754 h 899754"/>
                <a:gd name="T44" fmla="*/ 309780 w 899752"/>
                <a:gd name="T45" fmla="*/ 843649 h 899754"/>
                <a:gd name="T46" fmla="*/ 382475 w 899752"/>
                <a:gd name="T47" fmla="*/ 843649 h 899754"/>
                <a:gd name="T48" fmla="*/ 410904 w 899752"/>
                <a:gd name="T49" fmla="*/ 815597 h 899754"/>
                <a:gd name="T50" fmla="*/ 422420 w 899752"/>
                <a:gd name="T51" fmla="*/ 803729 h 899754"/>
                <a:gd name="T52" fmla="*/ 422420 w 899752"/>
                <a:gd name="T53" fmla="*/ 618873 h 899754"/>
                <a:gd name="T54" fmla="*/ 57150 w 899752"/>
                <a:gd name="T55" fmla="*/ 618873 h 899754"/>
                <a:gd name="T56" fmla="*/ 421804 w 899752"/>
                <a:gd name="T57" fmla="*/ 0 h 899754"/>
                <a:gd name="T58" fmla="*/ 477949 w 899752"/>
                <a:gd name="T59" fmla="*/ 0 h 899754"/>
                <a:gd name="T60" fmla="*/ 477949 w 899752"/>
                <a:gd name="T61" fmla="*/ 56380 h 899754"/>
                <a:gd name="T62" fmla="*/ 899752 w 899752"/>
                <a:gd name="T63" fmla="*/ 56380 h 899754"/>
                <a:gd name="T64" fmla="*/ 899752 w 899752"/>
                <a:gd name="T65" fmla="*/ 169501 h 899754"/>
                <a:gd name="T66" fmla="*/ 0 w 899752"/>
                <a:gd name="T67" fmla="*/ 169501 h 899754"/>
                <a:gd name="T68" fmla="*/ 0 w 899752"/>
                <a:gd name="T69" fmla="*/ 56380 h 899754"/>
                <a:gd name="T70" fmla="*/ 421804 w 899752"/>
                <a:gd name="T71" fmla="*/ 56380 h 89975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899752" h="899754">
                  <a:moveTo>
                    <a:pt x="422275" y="280988"/>
                  </a:moveTo>
                  <a:lnTo>
                    <a:pt x="534627" y="365919"/>
                  </a:lnTo>
                  <a:lnTo>
                    <a:pt x="422275" y="450489"/>
                  </a:lnTo>
                  <a:lnTo>
                    <a:pt x="422275" y="280988"/>
                  </a:lnTo>
                  <a:close/>
                  <a:moveTo>
                    <a:pt x="57150" y="225425"/>
                  </a:moveTo>
                  <a:lnTo>
                    <a:pt x="113290" y="225425"/>
                  </a:lnTo>
                  <a:lnTo>
                    <a:pt x="113290" y="562409"/>
                  </a:lnTo>
                  <a:lnTo>
                    <a:pt x="422420" y="562409"/>
                  </a:lnTo>
                  <a:lnTo>
                    <a:pt x="478560" y="562409"/>
                  </a:lnTo>
                  <a:lnTo>
                    <a:pt x="787690" y="562409"/>
                  </a:lnTo>
                  <a:lnTo>
                    <a:pt x="787690" y="225425"/>
                  </a:lnTo>
                  <a:lnTo>
                    <a:pt x="844190" y="225425"/>
                  </a:lnTo>
                  <a:lnTo>
                    <a:pt x="844190" y="618873"/>
                  </a:lnTo>
                  <a:lnTo>
                    <a:pt x="478560" y="618873"/>
                  </a:lnTo>
                  <a:lnTo>
                    <a:pt x="478560" y="803729"/>
                  </a:lnTo>
                  <a:lnTo>
                    <a:pt x="490436" y="815597"/>
                  </a:lnTo>
                  <a:lnTo>
                    <a:pt x="518146" y="843649"/>
                  </a:lnTo>
                  <a:lnTo>
                    <a:pt x="590840" y="843649"/>
                  </a:lnTo>
                  <a:lnTo>
                    <a:pt x="590840" y="899754"/>
                  </a:lnTo>
                  <a:lnTo>
                    <a:pt x="495114" y="899754"/>
                  </a:lnTo>
                  <a:lnTo>
                    <a:pt x="450490" y="855158"/>
                  </a:lnTo>
                  <a:lnTo>
                    <a:pt x="405866" y="899754"/>
                  </a:lnTo>
                  <a:lnTo>
                    <a:pt x="309780" y="899754"/>
                  </a:lnTo>
                  <a:lnTo>
                    <a:pt x="309780" y="843649"/>
                  </a:lnTo>
                  <a:lnTo>
                    <a:pt x="382475" y="843649"/>
                  </a:lnTo>
                  <a:lnTo>
                    <a:pt x="410904" y="815597"/>
                  </a:lnTo>
                  <a:lnTo>
                    <a:pt x="422420" y="803729"/>
                  </a:lnTo>
                  <a:lnTo>
                    <a:pt x="422420" y="618873"/>
                  </a:lnTo>
                  <a:lnTo>
                    <a:pt x="57150" y="618873"/>
                  </a:lnTo>
                  <a:lnTo>
                    <a:pt x="57150" y="225425"/>
                  </a:lnTo>
                  <a:close/>
                  <a:moveTo>
                    <a:pt x="421804" y="0"/>
                  </a:moveTo>
                  <a:lnTo>
                    <a:pt x="477949" y="0"/>
                  </a:lnTo>
                  <a:lnTo>
                    <a:pt x="477949" y="56380"/>
                  </a:lnTo>
                  <a:lnTo>
                    <a:pt x="899752" y="56380"/>
                  </a:lnTo>
                  <a:lnTo>
                    <a:pt x="899752" y="169501"/>
                  </a:lnTo>
                  <a:lnTo>
                    <a:pt x="0" y="169501"/>
                  </a:lnTo>
                  <a:lnTo>
                    <a:pt x="0" y="56380"/>
                  </a:lnTo>
                  <a:lnTo>
                    <a:pt x="421804" y="56380"/>
                  </a:lnTo>
                  <a:lnTo>
                    <a:pt x="42180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7" name="Freeform 91">
              <a:extLst>
                <a:ext uri="{FF2B5EF4-FFF2-40B4-BE49-F238E27FC236}">
                  <a16:creationId xmlns:a16="http://schemas.microsoft.com/office/drawing/2014/main" id="{A2FD554F-54AC-104D-ACCC-8493C7E76B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11284" y="2766188"/>
              <a:ext cx="788321" cy="738267"/>
            </a:xfrm>
            <a:custGeom>
              <a:avLst/>
              <a:gdLst>
                <a:gd name="T0" fmla="*/ 642085 w 899753"/>
                <a:gd name="T1" fmla="*/ 505575 h 842602"/>
                <a:gd name="T2" fmla="*/ 781355 w 899753"/>
                <a:gd name="T3" fmla="*/ 645275 h 842602"/>
                <a:gd name="T4" fmla="*/ 838935 w 899753"/>
                <a:gd name="T5" fmla="*/ 505575 h 842602"/>
                <a:gd name="T6" fmla="*/ 506413 w 899753"/>
                <a:gd name="T7" fmla="*/ 449262 h 842602"/>
                <a:gd name="T8" fmla="*/ 899753 w 899753"/>
                <a:gd name="T9" fmla="*/ 449262 h 842602"/>
                <a:gd name="T10" fmla="*/ 784594 w 899753"/>
                <a:gd name="T11" fmla="*/ 728301 h 842602"/>
                <a:gd name="T12" fmla="*/ 506990 w 899753"/>
                <a:gd name="T13" fmla="*/ 61123 h 842602"/>
                <a:gd name="T14" fmla="*/ 506990 w 899753"/>
                <a:gd name="T15" fmla="*/ 336892 h 842602"/>
                <a:gd name="T16" fmla="*/ 783372 w 899753"/>
                <a:gd name="T17" fmla="*/ 336892 h 842602"/>
                <a:gd name="T18" fmla="*/ 506990 w 899753"/>
                <a:gd name="T19" fmla="*/ 61123 h 842602"/>
                <a:gd name="T20" fmla="*/ 394203 w 899753"/>
                <a:gd name="T21" fmla="*/ 55562 h 842602"/>
                <a:gd name="T22" fmla="*/ 394203 w 899753"/>
                <a:gd name="T23" fmla="*/ 449082 h 842602"/>
                <a:gd name="T24" fmla="*/ 672740 w 899753"/>
                <a:gd name="T25" fmla="*/ 727390 h 842602"/>
                <a:gd name="T26" fmla="*/ 394203 w 899753"/>
                <a:gd name="T27" fmla="*/ 842602 h 842602"/>
                <a:gd name="T28" fmla="*/ 0 w 899753"/>
                <a:gd name="T29" fmla="*/ 449082 h 842602"/>
                <a:gd name="T30" fmla="*/ 394203 w 899753"/>
                <a:gd name="T31" fmla="*/ 55562 h 842602"/>
                <a:gd name="T32" fmla="*/ 450850 w 899753"/>
                <a:gd name="T33" fmla="*/ 0 h 842602"/>
                <a:gd name="T34" fmla="*/ 844190 w 899753"/>
                <a:gd name="T35" fmla="*/ 393341 h 842602"/>
                <a:gd name="T36" fmla="*/ 450850 w 899753"/>
                <a:gd name="T37" fmla="*/ 393341 h 84260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899753" h="842602">
                  <a:moveTo>
                    <a:pt x="642085" y="505575"/>
                  </a:moveTo>
                  <a:lnTo>
                    <a:pt x="781355" y="645275"/>
                  </a:lnTo>
                  <a:cubicBezTo>
                    <a:pt x="810865" y="603763"/>
                    <a:pt x="830658" y="556113"/>
                    <a:pt x="838935" y="505575"/>
                  </a:cubicBezTo>
                  <a:lnTo>
                    <a:pt x="642085" y="505575"/>
                  </a:lnTo>
                  <a:close/>
                  <a:moveTo>
                    <a:pt x="506413" y="449262"/>
                  </a:moveTo>
                  <a:lnTo>
                    <a:pt x="899753" y="449262"/>
                  </a:lnTo>
                  <a:cubicBezTo>
                    <a:pt x="899753" y="558279"/>
                    <a:pt x="855849" y="656827"/>
                    <a:pt x="784594" y="728301"/>
                  </a:cubicBezTo>
                  <a:lnTo>
                    <a:pt x="506413" y="449262"/>
                  </a:lnTo>
                  <a:close/>
                  <a:moveTo>
                    <a:pt x="506990" y="61123"/>
                  </a:moveTo>
                  <a:lnTo>
                    <a:pt x="506990" y="336892"/>
                  </a:lnTo>
                  <a:lnTo>
                    <a:pt x="783372" y="336892"/>
                  </a:lnTo>
                  <a:cubicBezTo>
                    <a:pt x="759620" y="195951"/>
                    <a:pt x="648060" y="84493"/>
                    <a:pt x="506990" y="61123"/>
                  </a:cubicBezTo>
                  <a:close/>
                  <a:moveTo>
                    <a:pt x="394203" y="55562"/>
                  </a:moveTo>
                  <a:lnTo>
                    <a:pt x="394203" y="449082"/>
                  </a:lnTo>
                  <a:lnTo>
                    <a:pt x="672740" y="727390"/>
                  </a:lnTo>
                  <a:cubicBezTo>
                    <a:pt x="601394" y="798678"/>
                    <a:pt x="502663" y="842602"/>
                    <a:pt x="394203" y="842602"/>
                  </a:cubicBezTo>
                  <a:cubicBezTo>
                    <a:pt x="176203" y="842602"/>
                    <a:pt x="0" y="666544"/>
                    <a:pt x="0" y="449082"/>
                  </a:cubicBezTo>
                  <a:cubicBezTo>
                    <a:pt x="0" y="231620"/>
                    <a:pt x="176203" y="55562"/>
                    <a:pt x="394203" y="55562"/>
                  </a:cubicBezTo>
                  <a:close/>
                  <a:moveTo>
                    <a:pt x="450850" y="0"/>
                  </a:moveTo>
                  <a:cubicBezTo>
                    <a:pt x="668213" y="0"/>
                    <a:pt x="844190" y="176176"/>
                    <a:pt x="844190" y="393341"/>
                  </a:cubicBezTo>
                  <a:lnTo>
                    <a:pt x="450850" y="393341"/>
                  </a:lnTo>
                  <a:lnTo>
                    <a:pt x="4508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40" name="Shape 9162">
              <a:extLst>
                <a:ext uri="{FF2B5EF4-FFF2-40B4-BE49-F238E27FC236}">
                  <a16:creationId xmlns:a16="http://schemas.microsoft.com/office/drawing/2014/main" id="{3FC445ED-842F-929E-C69E-3B386A6ED7B3}"/>
                </a:ext>
              </a:extLst>
            </p:cNvPr>
            <p:cNvSpPr/>
            <p:nvPr/>
          </p:nvSpPr>
          <p:spPr>
            <a:xfrm>
              <a:off x="5005125" y="1798158"/>
              <a:ext cx="2176384" cy="2176386"/>
            </a:xfrm>
            <a:prstGeom prst="ellipse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6" name="Freeform 90">
              <a:extLst>
                <a:ext uri="{FF2B5EF4-FFF2-40B4-BE49-F238E27FC236}">
                  <a16:creationId xmlns:a16="http://schemas.microsoft.com/office/drawing/2014/main" id="{B7597EB2-85E7-29CE-BAE6-414FF686FF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1001" y="2497392"/>
              <a:ext cx="832124" cy="777918"/>
            </a:xfrm>
            <a:custGeom>
              <a:avLst/>
              <a:gdLst>
                <a:gd name="T0" fmla="*/ 619798 w 901340"/>
                <a:gd name="T1" fmla="*/ 730250 h 842602"/>
                <a:gd name="T2" fmla="*/ 845104 w 901340"/>
                <a:gd name="T3" fmla="*/ 730250 h 842602"/>
                <a:gd name="T4" fmla="*/ 901340 w 901340"/>
                <a:gd name="T5" fmla="*/ 786426 h 842602"/>
                <a:gd name="T6" fmla="*/ 901340 w 901340"/>
                <a:gd name="T7" fmla="*/ 842602 h 842602"/>
                <a:gd name="T8" fmla="*/ 563562 w 901340"/>
                <a:gd name="T9" fmla="*/ 842602 h 842602"/>
                <a:gd name="T10" fmla="*/ 563562 w 901340"/>
                <a:gd name="T11" fmla="*/ 786426 h 842602"/>
                <a:gd name="T12" fmla="*/ 56536 w 901340"/>
                <a:gd name="T13" fmla="*/ 730250 h 842602"/>
                <a:gd name="T14" fmla="*/ 281241 w 901340"/>
                <a:gd name="T15" fmla="*/ 730250 h 842602"/>
                <a:gd name="T16" fmla="*/ 337777 w 901340"/>
                <a:gd name="T17" fmla="*/ 786426 h 842602"/>
                <a:gd name="T18" fmla="*/ 337777 w 901340"/>
                <a:gd name="T19" fmla="*/ 842602 h 842602"/>
                <a:gd name="T20" fmla="*/ 0 w 901340"/>
                <a:gd name="T21" fmla="*/ 842602 h 842602"/>
                <a:gd name="T22" fmla="*/ 0 w 901340"/>
                <a:gd name="T23" fmla="*/ 786426 h 842602"/>
                <a:gd name="T24" fmla="*/ 318349 w 901340"/>
                <a:gd name="T25" fmla="*/ 612775 h 842602"/>
                <a:gd name="T26" fmla="*/ 582992 w 901340"/>
                <a:gd name="T27" fmla="*/ 612775 h 842602"/>
                <a:gd name="T28" fmla="*/ 609241 w 901340"/>
                <a:gd name="T29" fmla="*/ 662402 h 842602"/>
                <a:gd name="T30" fmla="*/ 450670 w 901340"/>
                <a:gd name="T31" fmla="*/ 701318 h 842602"/>
                <a:gd name="T32" fmla="*/ 292100 w 901340"/>
                <a:gd name="T33" fmla="*/ 662402 h 842602"/>
                <a:gd name="T34" fmla="*/ 732270 w 901340"/>
                <a:gd name="T35" fmla="*/ 504825 h 842602"/>
                <a:gd name="T36" fmla="*/ 817201 w 901340"/>
                <a:gd name="T37" fmla="*/ 588881 h 842602"/>
                <a:gd name="T38" fmla="*/ 817201 w 901340"/>
                <a:gd name="T39" fmla="*/ 616900 h 842602"/>
                <a:gd name="T40" fmla="*/ 732270 w 901340"/>
                <a:gd name="T41" fmla="*/ 701316 h 842602"/>
                <a:gd name="T42" fmla="*/ 647700 w 901340"/>
                <a:gd name="T43" fmla="*/ 616900 h 842602"/>
                <a:gd name="T44" fmla="*/ 647700 w 901340"/>
                <a:gd name="T45" fmla="*/ 588881 h 842602"/>
                <a:gd name="T46" fmla="*/ 732270 w 901340"/>
                <a:gd name="T47" fmla="*/ 504825 h 842602"/>
                <a:gd name="T48" fmla="*/ 168095 w 901340"/>
                <a:gd name="T49" fmla="*/ 504825 h 842602"/>
                <a:gd name="T50" fmla="*/ 252053 w 901340"/>
                <a:gd name="T51" fmla="*/ 588881 h 842602"/>
                <a:gd name="T52" fmla="*/ 252053 w 901340"/>
                <a:gd name="T53" fmla="*/ 616900 h 842602"/>
                <a:gd name="T54" fmla="*/ 168095 w 901340"/>
                <a:gd name="T55" fmla="*/ 701316 h 842602"/>
                <a:gd name="T56" fmla="*/ 84137 w 901340"/>
                <a:gd name="T57" fmla="*/ 616900 h 842602"/>
                <a:gd name="T58" fmla="*/ 84137 w 901340"/>
                <a:gd name="T59" fmla="*/ 588881 h 842602"/>
                <a:gd name="T60" fmla="*/ 168095 w 901340"/>
                <a:gd name="T61" fmla="*/ 504825 h 842602"/>
                <a:gd name="T62" fmla="*/ 337524 w 901340"/>
                <a:gd name="T63" fmla="*/ 223837 h 842602"/>
                <a:gd name="T64" fmla="*/ 562589 w 901340"/>
                <a:gd name="T65" fmla="*/ 223837 h 842602"/>
                <a:gd name="T66" fmla="*/ 618765 w 901340"/>
                <a:gd name="T67" fmla="*/ 280013 h 842602"/>
                <a:gd name="T68" fmla="*/ 618765 w 901340"/>
                <a:gd name="T69" fmla="*/ 336190 h 842602"/>
                <a:gd name="T70" fmla="*/ 280987 w 901340"/>
                <a:gd name="T71" fmla="*/ 336190 h 842602"/>
                <a:gd name="T72" fmla="*/ 280987 w 901340"/>
                <a:gd name="T73" fmla="*/ 280013 h 842602"/>
                <a:gd name="T74" fmla="*/ 337524 w 901340"/>
                <a:gd name="T75" fmla="*/ 223837 h 842602"/>
                <a:gd name="T76" fmla="*/ 637877 w 901340"/>
                <a:gd name="T77" fmla="*/ 142875 h 842602"/>
                <a:gd name="T78" fmla="*/ 788626 w 901340"/>
                <a:gd name="T79" fmla="*/ 421914 h 842602"/>
                <a:gd name="T80" fmla="*/ 732230 w 901340"/>
                <a:gd name="T81" fmla="*/ 421914 h 842602"/>
                <a:gd name="T82" fmla="*/ 606425 w 901340"/>
                <a:gd name="T83" fmla="*/ 189742 h 842602"/>
                <a:gd name="T84" fmla="*/ 261899 w 901340"/>
                <a:gd name="T85" fmla="*/ 142875 h 842602"/>
                <a:gd name="T86" fmla="*/ 293326 w 901340"/>
                <a:gd name="T87" fmla="*/ 189657 h 842602"/>
                <a:gd name="T88" fmla="*/ 169064 w 901340"/>
                <a:gd name="T89" fmla="*/ 420327 h 842602"/>
                <a:gd name="T90" fmla="*/ 112712 w 901340"/>
                <a:gd name="T91" fmla="*/ 420327 h 842602"/>
                <a:gd name="T92" fmla="*/ 261899 w 901340"/>
                <a:gd name="T93" fmla="*/ 142875 h 842602"/>
                <a:gd name="T94" fmla="*/ 450670 w 901340"/>
                <a:gd name="T95" fmla="*/ 0 h 842602"/>
                <a:gd name="T96" fmla="*/ 534628 w 901340"/>
                <a:gd name="T97" fmla="*/ 84415 h 842602"/>
                <a:gd name="T98" fmla="*/ 534628 w 901340"/>
                <a:gd name="T99" fmla="*/ 112434 h 842602"/>
                <a:gd name="T100" fmla="*/ 450670 w 901340"/>
                <a:gd name="T101" fmla="*/ 196491 h 842602"/>
                <a:gd name="T102" fmla="*/ 366712 w 901340"/>
                <a:gd name="T103" fmla="*/ 112434 h 842602"/>
                <a:gd name="T104" fmla="*/ 366712 w 901340"/>
                <a:gd name="T105" fmla="*/ 84415 h 842602"/>
                <a:gd name="T106" fmla="*/ 450670 w 901340"/>
                <a:gd name="T107" fmla="*/ 0 h 84260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901340" h="842602">
                  <a:moveTo>
                    <a:pt x="619798" y="730250"/>
                  </a:moveTo>
                  <a:lnTo>
                    <a:pt x="845104" y="730250"/>
                  </a:lnTo>
                  <a:cubicBezTo>
                    <a:pt x="867093" y="752216"/>
                    <a:pt x="879350" y="764460"/>
                    <a:pt x="901340" y="786426"/>
                  </a:cubicBezTo>
                  <a:lnTo>
                    <a:pt x="901340" y="842602"/>
                  </a:lnTo>
                  <a:lnTo>
                    <a:pt x="563562" y="842602"/>
                  </a:lnTo>
                  <a:lnTo>
                    <a:pt x="563562" y="786426"/>
                  </a:lnTo>
                  <a:lnTo>
                    <a:pt x="619798" y="730250"/>
                  </a:lnTo>
                  <a:close/>
                  <a:moveTo>
                    <a:pt x="56536" y="730250"/>
                  </a:moveTo>
                  <a:lnTo>
                    <a:pt x="281241" y="730250"/>
                  </a:lnTo>
                  <a:lnTo>
                    <a:pt x="337777" y="786426"/>
                  </a:lnTo>
                  <a:lnTo>
                    <a:pt x="337777" y="842602"/>
                  </a:lnTo>
                  <a:lnTo>
                    <a:pt x="0" y="842602"/>
                  </a:lnTo>
                  <a:lnTo>
                    <a:pt x="0" y="786426"/>
                  </a:lnTo>
                  <a:lnTo>
                    <a:pt x="56536" y="730250"/>
                  </a:lnTo>
                  <a:close/>
                  <a:moveTo>
                    <a:pt x="318349" y="612775"/>
                  </a:moveTo>
                  <a:cubicBezTo>
                    <a:pt x="399252" y="655618"/>
                    <a:pt x="502089" y="655618"/>
                    <a:pt x="582992" y="612775"/>
                  </a:cubicBezTo>
                  <a:lnTo>
                    <a:pt x="609241" y="662402"/>
                  </a:lnTo>
                  <a:cubicBezTo>
                    <a:pt x="561058" y="687751"/>
                    <a:pt x="506044" y="701318"/>
                    <a:pt x="450670" y="701318"/>
                  </a:cubicBezTo>
                  <a:cubicBezTo>
                    <a:pt x="395297" y="701318"/>
                    <a:pt x="340642" y="687751"/>
                    <a:pt x="292100" y="662402"/>
                  </a:cubicBezTo>
                  <a:lnTo>
                    <a:pt x="318349" y="612775"/>
                  </a:lnTo>
                  <a:close/>
                  <a:moveTo>
                    <a:pt x="732270" y="504825"/>
                  </a:moveTo>
                  <a:cubicBezTo>
                    <a:pt x="778892" y="504825"/>
                    <a:pt x="817201" y="542542"/>
                    <a:pt x="817201" y="588881"/>
                  </a:cubicBezTo>
                  <a:lnTo>
                    <a:pt x="817201" y="616900"/>
                  </a:lnTo>
                  <a:cubicBezTo>
                    <a:pt x="817201" y="663598"/>
                    <a:pt x="778892" y="701316"/>
                    <a:pt x="732270" y="701316"/>
                  </a:cubicBezTo>
                  <a:cubicBezTo>
                    <a:pt x="685648" y="701316"/>
                    <a:pt x="647700" y="663598"/>
                    <a:pt x="647700" y="616900"/>
                  </a:cubicBezTo>
                  <a:lnTo>
                    <a:pt x="647700" y="588881"/>
                  </a:lnTo>
                  <a:cubicBezTo>
                    <a:pt x="647700" y="542542"/>
                    <a:pt x="685648" y="504825"/>
                    <a:pt x="732270" y="504825"/>
                  </a:cubicBezTo>
                  <a:close/>
                  <a:moveTo>
                    <a:pt x="168095" y="504825"/>
                  </a:moveTo>
                  <a:cubicBezTo>
                    <a:pt x="214739" y="504825"/>
                    <a:pt x="252053" y="542542"/>
                    <a:pt x="252053" y="588881"/>
                  </a:cubicBezTo>
                  <a:lnTo>
                    <a:pt x="252053" y="616900"/>
                  </a:lnTo>
                  <a:cubicBezTo>
                    <a:pt x="252053" y="663598"/>
                    <a:pt x="214739" y="701316"/>
                    <a:pt x="168095" y="701316"/>
                  </a:cubicBezTo>
                  <a:cubicBezTo>
                    <a:pt x="121811" y="701316"/>
                    <a:pt x="84137" y="663598"/>
                    <a:pt x="84137" y="616900"/>
                  </a:cubicBezTo>
                  <a:lnTo>
                    <a:pt x="84137" y="588881"/>
                  </a:lnTo>
                  <a:cubicBezTo>
                    <a:pt x="84137" y="542542"/>
                    <a:pt x="121811" y="504825"/>
                    <a:pt x="168095" y="504825"/>
                  </a:cubicBezTo>
                  <a:close/>
                  <a:moveTo>
                    <a:pt x="337524" y="223837"/>
                  </a:moveTo>
                  <a:lnTo>
                    <a:pt x="562589" y="223837"/>
                  </a:lnTo>
                  <a:cubicBezTo>
                    <a:pt x="584555" y="245803"/>
                    <a:pt x="596799" y="258407"/>
                    <a:pt x="618765" y="280013"/>
                  </a:cubicBezTo>
                  <a:lnTo>
                    <a:pt x="618765" y="336190"/>
                  </a:lnTo>
                  <a:lnTo>
                    <a:pt x="280987" y="336190"/>
                  </a:lnTo>
                  <a:lnTo>
                    <a:pt x="280987" y="280013"/>
                  </a:lnTo>
                  <a:cubicBezTo>
                    <a:pt x="302954" y="258407"/>
                    <a:pt x="315557" y="245803"/>
                    <a:pt x="337524" y="223837"/>
                  </a:cubicBezTo>
                  <a:close/>
                  <a:moveTo>
                    <a:pt x="637877" y="142875"/>
                  </a:moveTo>
                  <a:cubicBezTo>
                    <a:pt x="732230" y="205605"/>
                    <a:pt x="788626" y="309794"/>
                    <a:pt x="788626" y="421914"/>
                  </a:cubicBezTo>
                  <a:lnTo>
                    <a:pt x="732230" y="421914"/>
                  </a:lnTo>
                  <a:cubicBezTo>
                    <a:pt x="732230" y="328901"/>
                    <a:pt x="685234" y="242017"/>
                    <a:pt x="606425" y="189742"/>
                  </a:cubicBezTo>
                  <a:lnTo>
                    <a:pt x="637877" y="142875"/>
                  </a:lnTo>
                  <a:close/>
                  <a:moveTo>
                    <a:pt x="261899" y="142875"/>
                  </a:moveTo>
                  <a:lnTo>
                    <a:pt x="293326" y="189657"/>
                  </a:lnTo>
                  <a:cubicBezTo>
                    <a:pt x="215301" y="241477"/>
                    <a:pt x="169064" y="327843"/>
                    <a:pt x="169064" y="420327"/>
                  </a:cubicBezTo>
                  <a:lnTo>
                    <a:pt x="112712" y="420327"/>
                  </a:lnTo>
                  <a:cubicBezTo>
                    <a:pt x="112712" y="309130"/>
                    <a:pt x="168341" y="205491"/>
                    <a:pt x="261899" y="142875"/>
                  </a:cubicBezTo>
                  <a:close/>
                  <a:moveTo>
                    <a:pt x="450670" y="0"/>
                  </a:moveTo>
                  <a:cubicBezTo>
                    <a:pt x="496955" y="0"/>
                    <a:pt x="534628" y="37717"/>
                    <a:pt x="534628" y="84415"/>
                  </a:cubicBezTo>
                  <a:lnTo>
                    <a:pt x="534628" y="112434"/>
                  </a:lnTo>
                  <a:cubicBezTo>
                    <a:pt x="534628" y="158773"/>
                    <a:pt x="496955" y="196491"/>
                    <a:pt x="450670" y="196491"/>
                  </a:cubicBezTo>
                  <a:cubicBezTo>
                    <a:pt x="404386" y="196491"/>
                    <a:pt x="366712" y="158773"/>
                    <a:pt x="366712" y="112434"/>
                  </a:cubicBezTo>
                  <a:lnTo>
                    <a:pt x="366712" y="84415"/>
                  </a:lnTo>
                  <a:cubicBezTo>
                    <a:pt x="366712" y="37717"/>
                    <a:pt x="404386" y="0"/>
                    <a:pt x="45067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C1BA8728-996F-76F3-F5F6-38D0AC795A4E}"/>
                </a:ext>
              </a:extLst>
            </p:cNvPr>
            <p:cNvSpPr txBox="1"/>
            <p:nvPr/>
          </p:nvSpPr>
          <p:spPr>
            <a:xfrm>
              <a:off x="1333366" y="4175711"/>
              <a:ext cx="175080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ANALIZA 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STRATEGICZNA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5DD68EF3-97F2-84C0-6188-19B0D11EF99F}"/>
                </a:ext>
              </a:extLst>
            </p:cNvPr>
            <p:cNvSpPr txBox="1"/>
            <p:nvPr/>
          </p:nvSpPr>
          <p:spPr>
            <a:xfrm>
              <a:off x="4143828" y="4175711"/>
              <a:ext cx="131318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WARTOŚĆI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01DD38F6-D64B-3621-EBE0-F00DAEEAF517}"/>
                </a:ext>
              </a:extLst>
            </p:cNvPr>
            <p:cNvSpPr txBox="1"/>
            <p:nvPr/>
          </p:nvSpPr>
          <p:spPr>
            <a:xfrm>
              <a:off x="6536910" y="4175711"/>
              <a:ext cx="1710725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CELE 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STRATEGICZNE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850E9F2-3264-0579-8D51-9DB48B554546}"/>
                </a:ext>
              </a:extLst>
            </p:cNvPr>
            <p:cNvSpPr txBox="1"/>
            <p:nvPr/>
          </p:nvSpPr>
          <p:spPr>
            <a:xfrm>
              <a:off x="2680270" y="5060294"/>
              <a:ext cx="16466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MISJA I WIZJA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04103E20-11D5-FB02-2C54-3331E752AFBA}"/>
                </a:ext>
              </a:extLst>
            </p:cNvPr>
            <p:cNvSpPr txBox="1"/>
            <p:nvPr/>
          </p:nvSpPr>
          <p:spPr>
            <a:xfrm>
              <a:off x="5328528" y="5060294"/>
              <a:ext cx="1529586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OBSZARY 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STRAGICZNE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(FILARY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PRIORYTETY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61309C0D-5139-C9E9-0C20-0048E4820212}"/>
                </a:ext>
              </a:extLst>
            </p:cNvPr>
            <p:cNvSpPr txBox="1"/>
            <p:nvPr/>
          </p:nvSpPr>
          <p:spPr>
            <a:xfrm>
              <a:off x="7579914" y="5060294"/>
              <a:ext cx="222208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CELE 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OPERACYJNE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(+WSKAŹNIKI - KPI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F7750AC8-7007-E22D-F0B6-238A50F1B5A5}"/>
                </a:ext>
              </a:extLst>
            </p:cNvPr>
            <p:cNvSpPr txBox="1"/>
            <p:nvPr/>
          </p:nvSpPr>
          <p:spPr>
            <a:xfrm>
              <a:off x="8863383" y="4175711"/>
              <a:ext cx="2239716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HARMONOGRAM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(KAMIENIE MILOWE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49D23DF6-0004-E67F-3681-93D57BF7FEDE}"/>
              </a:ext>
            </a:extLst>
          </p:cNvPr>
          <p:cNvSpPr txBox="1"/>
          <p:nvPr/>
        </p:nvSpPr>
        <p:spPr>
          <a:xfrm>
            <a:off x="359151" y="4543502"/>
            <a:ext cx="1418184" cy="260654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naliza </a:t>
            </a:r>
            <a:r>
              <a:rPr kumimoji="0" lang="pl-PL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krootoczenia</a:t>
            </a: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PEST)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naliza mikrootoczenia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5 sił portera)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naliza organizacji/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yscypliny </a:t>
            </a: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SWOT)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3942">
                  <a:lumMod val="50000"/>
                </a:srgbClr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8B88194F-219E-961A-35A3-36CB388024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4890" y="2182203"/>
            <a:ext cx="1859598" cy="1859598"/>
          </a:xfrm>
          <a:prstGeom prst="rect">
            <a:avLst/>
          </a:prstGeom>
        </p:spPr>
      </p:pic>
      <p:pic>
        <p:nvPicPr>
          <p:cNvPr id="4" name="Obraz 3">
            <a:extLst>
              <a:ext uri="{FF2B5EF4-FFF2-40B4-BE49-F238E27FC236}">
                <a16:creationId xmlns:a16="http://schemas.microsoft.com/office/drawing/2014/main" id="{061DB5B7-0399-67B1-D4FB-F8622A05FC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99187" y="4865988"/>
            <a:ext cx="174852" cy="174852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14A1474F-CE4B-1726-0E3E-0D3C4E78E2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05959" y="2843993"/>
            <a:ext cx="725487" cy="774259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DD142DEB-DD27-1A3B-DD4D-DA48891D5C02}"/>
              </a:ext>
            </a:extLst>
          </p:cNvPr>
          <p:cNvSpPr txBox="1"/>
          <p:nvPr/>
        </p:nvSpPr>
        <p:spPr>
          <a:xfrm>
            <a:off x="10050999" y="5194727"/>
            <a:ext cx="1646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UNIKACJA</a:t>
            </a: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39A3C8A0-5E70-B4FF-3CA9-43B6E6A45D4C}"/>
              </a:ext>
            </a:extLst>
          </p:cNvPr>
          <p:cNvSpPr txBox="1"/>
          <p:nvPr/>
        </p:nvSpPr>
        <p:spPr>
          <a:xfrm>
            <a:off x="9448800" y="6424341"/>
            <a:ext cx="3175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>
                <a:solidFill>
                  <a:schemeClr val="tx2"/>
                </a:solidFill>
              </a:rPr>
              <a:t>Źródło: opracowanie własne</a:t>
            </a:r>
          </a:p>
        </p:txBody>
      </p:sp>
    </p:spTree>
    <p:extLst>
      <p:ext uri="{BB962C8B-B14F-4D97-AF65-F5344CB8AC3E}">
        <p14:creationId xmlns:p14="http://schemas.microsoft.com/office/powerpoint/2010/main" val="13918194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FD37255-700F-D2CB-AA96-9FAC0AD605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D73821C5-B515-693C-D0C5-7C21A551C9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11FB4C5-3259-9E6C-CE65-3E23AD3E82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F1082F90-CE58-15D7-CE4E-DD8C4B6544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9533" y="261495"/>
            <a:ext cx="4080694" cy="785906"/>
          </a:xfrm>
        </p:spPr>
        <p:txBody>
          <a:bodyPr>
            <a:normAutofit fontScale="90000"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PLAN DZIAŁANIA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17FEC9B2-0910-73B3-3C8E-E771078F12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6287" y="4121253"/>
            <a:ext cx="3125337" cy="1136843"/>
          </a:xfrm>
        </p:spPr>
        <p:txBody>
          <a:bodyPr>
            <a:normAutofit/>
          </a:bodyPr>
          <a:lstStyle/>
          <a:p>
            <a:endParaRPr lang="pl-PL" sz="1800"/>
          </a:p>
        </p:txBody>
      </p:sp>
      <p:pic>
        <p:nvPicPr>
          <p:cNvPr id="5" name="Obraz 4" descr="Obraz zawierający tekst, zrzut ekranu, Czcionka, dokument&#10;&#10;Zawartość wygenerowana przez AI może być niepoprawna.">
            <a:extLst>
              <a:ext uri="{FF2B5EF4-FFF2-40B4-BE49-F238E27FC236}">
                <a16:creationId xmlns:a16="http://schemas.microsoft.com/office/drawing/2014/main" id="{C7F02257-DEDE-9E15-A75B-3D6013D2B3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893" y="1308896"/>
            <a:ext cx="5802086" cy="5282524"/>
          </a:xfrm>
          <a:prstGeom prst="rect">
            <a:avLst/>
          </a:prstGeom>
        </p:spPr>
      </p:pic>
      <p:pic>
        <p:nvPicPr>
          <p:cNvPr id="6" name="Obraz 5" descr="Obraz zawierający tekst, zrzut ekranu, Czcionka, dokument&#10;&#10;Zawartość wygenerowana przez AI może być niepoprawna.">
            <a:extLst>
              <a:ext uri="{FF2B5EF4-FFF2-40B4-BE49-F238E27FC236}">
                <a16:creationId xmlns:a16="http://schemas.microsoft.com/office/drawing/2014/main" id="{0EBD105A-FC23-3925-E1BA-82DBDBEBE5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6022" y="121523"/>
            <a:ext cx="5618671" cy="3637678"/>
          </a:xfrm>
          <a:prstGeom prst="rect">
            <a:avLst/>
          </a:prstGeom>
        </p:spPr>
      </p:pic>
      <p:pic>
        <p:nvPicPr>
          <p:cNvPr id="9" name="Obraz 8" descr="Obraz zawierający tekst, zrzut ekranu, Strona internetowa, Reklama internetowa&#10;&#10;Zawartość wygenerowana przez AI może być niepoprawna.">
            <a:extLst>
              <a:ext uri="{FF2B5EF4-FFF2-40B4-BE49-F238E27FC236}">
                <a16:creationId xmlns:a16="http://schemas.microsoft.com/office/drawing/2014/main" id="{1591609E-4C0B-CD64-1990-ED860DA352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3584" y="3469569"/>
            <a:ext cx="4720810" cy="3291887"/>
          </a:xfrm>
          <a:prstGeom prst="rect">
            <a:avLst/>
          </a:prstGeom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id="{912E93DA-267E-735F-828E-66ACFAE96C36}"/>
              </a:ext>
            </a:extLst>
          </p:cNvPr>
          <p:cNvSpPr txBox="1"/>
          <p:nvPr/>
        </p:nvSpPr>
        <p:spPr>
          <a:xfrm>
            <a:off x="136835" y="6573249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 dirty="0"/>
              <a:t>Źródło: </a:t>
            </a:r>
            <a:r>
              <a:rPr lang="pl-PL" sz="1200" dirty="0">
                <a:hlinkClick r:id="rId5"/>
              </a:rPr>
              <a:t>https://worldathletics.org/about-iaaf/documents/strategic-plans-and-reports</a:t>
            </a:r>
            <a:r>
              <a:rPr lang="pl-PL" sz="12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8753029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3ABC9E9-6528-4DFC-ACA2-EDF66C2C95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E70C608E-D27D-F6C1-6924-A70B0DD474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9D9D1ED1-5569-2DD7-786C-4F37ECC3D9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9C36CDD2-D8B0-3B7B-E89D-26F0234B8A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8608" y="118034"/>
            <a:ext cx="4080694" cy="785906"/>
          </a:xfrm>
        </p:spPr>
        <p:txBody>
          <a:bodyPr>
            <a:normAutofit fontScale="90000"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PLAN DZIAŁANIA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C90A43A8-E415-17E3-E763-2D19584463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6287" y="4121253"/>
            <a:ext cx="3125337" cy="1136843"/>
          </a:xfrm>
        </p:spPr>
        <p:txBody>
          <a:bodyPr>
            <a:normAutofit/>
          </a:bodyPr>
          <a:lstStyle/>
          <a:p>
            <a:endParaRPr lang="pl-PL" sz="1800"/>
          </a:p>
        </p:txBody>
      </p:sp>
      <p:pic>
        <p:nvPicPr>
          <p:cNvPr id="13" name="Obraz 12" descr="Obraz zawierający tekst, menu, zrzut ekranu, dokument&#10;&#10;Zawartość wygenerowana przez AI może być niepoprawna.">
            <a:extLst>
              <a:ext uri="{FF2B5EF4-FFF2-40B4-BE49-F238E27FC236}">
                <a16:creationId xmlns:a16="http://schemas.microsoft.com/office/drawing/2014/main" id="{FD153EB0-28BC-61C8-4557-78CA41D11F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2084" y="903940"/>
            <a:ext cx="9444516" cy="5692565"/>
          </a:xfrm>
          <a:prstGeom prst="rect">
            <a:avLst/>
          </a:prstGeom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id="{572F71E5-EF6A-6013-062C-85624F0D9B3B}"/>
              </a:ext>
            </a:extLst>
          </p:cNvPr>
          <p:cNvSpPr txBox="1"/>
          <p:nvPr/>
        </p:nvSpPr>
        <p:spPr>
          <a:xfrm>
            <a:off x="6257883" y="6588753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 dirty="0"/>
              <a:t>Źródło: </a:t>
            </a:r>
            <a:r>
              <a:rPr lang="pl-PL" sz="1200" dirty="0">
                <a:hlinkClick r:id="rId3"/>
              </a:rPr>
              <a:t>https://worldathletics.org/about-iaaf/documents/strategic-plans-and-reports</a:t>
            </a:r>
            <a:r>
              <a:rPr lang="pl-PL" sz="12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8909474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C2DE54-5E0E-1D16-8D5F-314BD8A2BB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>
            <a:extLst>
              <a:ext uri="{FF2B5EF4-FFF2-40B4-BE49-F238E27FC236}">
                <a16:creationId xmlns:a16="http://schemas.microsoft.com/office/drawing/2014/main" id="{A8192514-E79A-9B0A-DECC-DC8ECB586B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6987" y="3955089"/>
            <a:ext cx="1452199" cy="973365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A3EF88CC-0E56-F0C5-E33F-41BD143BDAD9}"/>
              </a:ext>
            </a:extLst>
          </p:cNvPr>
          <p:cNvSpPr txBox="1"/>
          <p:nvPr/>
        </p:nvSpPr>
        <p:spPr>
          <a:xfrm>
            <a:off x="2212933" y="26591"/>
            <a:ext cx="729879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0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MASTER PLAN ROZWOJU </a:t>
            </a:r>
          </a:p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0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POLSKICH ZWIĄZKÓW SPORTOWYCH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1C2835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grpSp>
        <p:nvGrpSpPr>
          <p:cNvPr id="3" name="Grupa 2">
            <a:extLst>
              <a:ext uri="{FF2B5EF4-FFF2-40B4-BE49-F238E27FC236}">
                <a16:creationId xmlns:a16="http://schemas.microsoft.com/office/drawing/2014/main" id="{5CBA5A64-6C73-9F4C-48C4-D9D9E8EF9EB5}"/>
              </a:ext>
            </a:extLst>
          </p:cNvPr>
          <p:cNvGrpSpPr/>
          <p:nvPr/>
        </p:nvGrpSpPr>
        <p:grpSpPr>
          <a:xfrm>
            <a:off x="289162" y="1447529"/>
            <a:ext cx="9987086" cy="4645468"/>
            <a:chOff x="1116013" y="1492044"/>
            <a:chExt cx="9987086" cy="4645468"/>
          </a:xfrm>
        </p:grpSpPr>
        <p:sp>
          <p:nvSpPr>
            <p:cNvPr id="50" name="Shape 9155">
              <a:extLst>
                <a:ext uri="{FF2B5EF4-FFF2-40B4-BE49-F238E27FC236}">
                  <a16:creationId xmlns:a16="http://schemas.microsoft.com/office/drawing/2014/main" id="{FA7DE166-9026-EF32-E8F1-2233C4C77BF9}"/>
                </a:ext>
              </a:extLst>
            </p:cNvPr>
            <p:cNvSpPr/>
            <p:nvPr/>
          </p:nvSpPr>
          <p:spPr>
            <a:xfrm>
              <a:off x="7575670" y="2197032"/>
              <a:ext cx="1859597" cy="1859599"/>
            </a:xfrm>
            <a:prstGeom prst="ellipse">
              <a:avLst/>
            </a:prstGeom>
            <a:solidFill>
              <a:schemeClr val="accent6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49" name="Shape 9155">
              <a:extLst>
                <a:ext uri="{FF2B5EF4-FFF2-40B4-BE49-F238E27FC236}">
                  <a16:creationId xmlns:a16="http://schemas.microsoft.com/office/drawing/2014/main" id="{93F746BE-54FC-C5E4-3D42-0AFD786006E8}"/>
                </a:ext>
              </a:extLst>
            </p:cNvPr>
            <p:cNvSpPr/>
            <p:nvPr/>
          </p:nvSpPr>
          <p:spPr>
            <a:xfrm>
              <a:off x="2633515" y="2197032"/>
              <a:ext cx="1859597" cy="1859599"/>
            </a:xfrm>
            <a:prstGeom prst="ellipse">
              <a:avLst/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44" name="Shape 9155">
              <a:extLst>
                <a:ext uri="{FF2B5EF4-FFF2-40B4-BE49-F238E27FC236}">
                  <a16:creationId xmlns:a16="http://schemas.microsoft.com/office/drawing/2014/main" id="{AF8740A3-BE23-CF2E-4945-2C2C86877838}"/>
                </a:ext>
              </a:extLst>
            </p:cNvPr>
            <p:cNvSpPr/>
            <p:nvPr/>
          </p:nvSpPr>
          <p:spPr>
            <a:xfrm>
              <a:off x="6464308" y="1492044"/>
              <a:ext cx="1859597" cy="1859599"/>
            </a:xfrm>
            <a:prstGeom prst="ellipse">
              <a:avLst/>
            </a:pr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42" name="Shape 9159">
              <a:extLst>
                <a:ext uri="{FF2B5EF4-FFF2-40B4-BE49-F238E27FC236}">
                  <a16:creationId xmlns:a16="http://schemas.microsoft.com/office/drawing/2014/main" id="{958FB06E-2491-995A-18B1-3A3E765A5976}"/>
                </a:ext>
              </a:extLst>
            </p:cNvPr>
            <p:cNvSpPr/>
            <p:nvPr/>
          </p:nvSpPr>
          <p:spPr>
            <a:xfrm>
              <a:off x="3892929" y="1492044"/>
              <a:ext cx="1859597" cy="1859598"/>
            </a:xfrm>
            <a:prstGeom prst="ellipse">
              <a:avLst/>
            </a:pr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38" name="Shape 9165">
              <a:extLst>
                <a:ext uri="{FF2B5EF4-FFF2-40B4-BE49-F238E27FC236}">
                  <a16:creationId xmlns:a16="http://schemas.microsoft.com/office/drawing/2014/main" id="{93185BEB-D658-550E-9D18-2A92BC2E0CD5}"/>
                </a:ext>
              </a:extLst>
            </p:cNvPr>
            <p:cNvSpPr/>
            <p:nvPr/>
          </p:nvSpPr>
          <p:spPr>
            <a:xfrm>
              <a:off x="8899605" y="1492044"/>
              <a:ext cx="2176383" cy="2176386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36" name="Shape 9168">
              <a:extLst>
                <a:ext uri="{FF2B5EF4-FFF2-40B4-BE49-F238E27FC236}">
                  <a16:creationId xmlns:a16="http://schemas.microsoft.com/office/drawing/2014/main" id="{F8A68E12-5A4A-B0AD-9369-370D79C9368E}"/>
                </a:ext>
              </a:extLst>
            </p:cNvPr>
            <p:cNvSpPr/>
            <p:nvPr/>
          </p:nvSpPr>
          <p:spPr>
            <a:xfrm>
              <a:off x="1116013" y="1492044"/>
              <a:ext cx="2181425" cy="2181428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5" name="Shape 9180">
              <a:extLst>
                <a:ext uri="{FF2B5EF4-FFF2-40B4-BE49-F238E27FC236}">
                  <a16:creationId xmlns:a16="http://schemas.microsoft.com/office/drawing/2014/main" id="{F2F08521-C9E9-0B23-235D-1CC0D6169466}"/>
                </a:ext>
              </a:extLst>
            </p:cNvPr>
            <p:cNvSpPr/>
            <p:nvPr/>
          </p:nvSpPr>
          <p:spPr>
            <a:xfrm>
              <a:off x="2116042" y="3846520"/>
              <a:ext cx="181366" cy="181367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6" name="Shape 9181">
              <a:extLst>
                <a:ext uri="{FF2B5EF4-FFF2-40B4-BE49-F238E27FC236}">
                  <a16:creationId xmlns:a16="http://schemas.microsoft.com/office/drawing/2014/main" id="{46521DC7-2248-9246-E751-097048963B44}"/>
                </a:ext>
              </a:extLst>
            </p:cNvPr>
            <p:cNvSpPr/>
            <p:nvPr/>
          </p:nvSpPr>
          <p:spPr>
            <a:xfrm>
              <a:off x="4709733" y="3846520"/>
              <a:ext cx="181367" cy="181367"/>
            </a:xfrm>
            <a:prstGeom prst="ellipse">
              <a:avLst/>
            </a:pr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7" name="Shape 9182">
              <a:extLst>
                <a:ext uri="{FF2B5EF4-FFF2-40B4-BE49-F238E27FC236}">
                  <a16:creationId xmlns:a16="http://schemas.microsoft.com/office/drawing/2014/main" id="{CCA82BF0-1D23-8C24-9FF6-504DB478F02F}"/>
                </a:ext>
              </a:extLst>
            </p:cNvPr>
            <p:cNvSpPr/>
            <p:nvPr/>
          </p:nvSpPr>
          <p:spPr>
            <a:xfrm>
              <a:off x="9897116" y="3846520"/>
              <a:ext cx="181367" cy="18136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8" name="Shape 9183">
              <a:extLst>
                <a:ext uri="{FF2B5EF4-FFF2-40B4-BE49-F238E27FC236}">
                  <a16:creationId xmlns:a16="http://schemas.microsoft.com/office/drawing/2014/main" id="{AEF1516F-6501-FD3A-BC24-B48CE9AB300C}"/>
                </a:ext>
              </a:extLst>
            </p:cNvPr>
            <p:cNvSpPr/>
            <p:nvPr/>
          </p:nvSpPr>
          <p:spPr>
            <a:xfrm>
              <a:off x="7303425" y="3846520"/>
              <a:ext cx="181367" cy="181367"/>
            </a:xfrm>
            <a:prstGeom prst="ellipse">
              <a:avLst/>
            </a:pr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9" name="Shape 9184">
              <a:extLst>
                <a:ext uri="{FF2B5EF4-FFF2-40B4-BE49-F238E27FC236}">
                  <a16:creationId xmlns:a16="http://schemas.microsoft.com/office/drawing/2014/main" id="{A21744ED-D38E-1CB9-3E74-7FB055D6A6EA}"/>
                </a:ext>
              </a:extLst>
            </p:cNvPr>
            <p:cNvSpPr/>
            <p:nvPr/>
          </p:nvSpPr>
          <p:spPr>
            <a:xfrm>
              <a:off x="3412887" y="4704075"/>
              <a:ext cx="181367" cy="181367"/>
            </a:xfrm>
            <a:prstGeom prst="ellipse">
              <a:avLst/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20" name="Shape 9185">
              <a:extLst>
                <a:ext uri="{FF2B5EF4-FFF2-40B4-BE49-F238E27FC236}">
                  <a16:creationId xmlns:a16="http://schemas.microsoft.com/office/drawing/2014/main" id="{540400A4-1803-84A4-C3F5-B0E5E18D5678}"/>
                </a:ext>
              </a:extLst>
            </p:cNvPr>
            <p:cNvSpPr/>
            <p:nvPr/>
          </p:nvSpPr>
          <p:spPr>
            <a:xfrm>
              <a:off x="6006579" y="4704075"/>
              <a:ext cx="181367" cy="181367"/>
            </a:xfrm>
            <a:prstGeom prst="ellipse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21" name="Shape 9186">
              <a:extLst>
                <a:ext uri="{FF2B5EF4-FFF2-40B4-BE49-F238E27FC236}">
                  <a16:creationId xmlns:a16="http://schemas.microsoft.com/office/drawing/2014/main" id="{FD4A0DFF-88CC-90FF-D7E0-2DEC9B33CB49}"/>
                </a:ext>
              </a:extLst>
            </p:cNvPr>
            <p:cNvSpPr/>
            <p:nvPr/>
          </p:nvSpPr>
          <p:spPr>
            <a:xfrm>
              <a:off x="8600270" y="4704075"/>
              <a:ext cx="181367" cy="181367"/>
            </a:xfrm>
            <a:prstGeom prst="ellipse">
              <a:avLst/>
            </a:prstGeom>
            <a:solidFill>
              <a:schemeClr val="accent6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9" name="Shape 9188">
              <a:extLst>
                <a:ext uri="{FF2B5EF4-FFF2-40B4-BE49-F238E27FC236}">
                  <a16:creationId xmlns:a16="http://schemas.microsoft.com/office/drawing/2014/main" id="{A9D38D1B-9FB5-1EE8-B78E-C2421103F97A}"/>
                </a:ext>
              </a:extLst>
            </p:cNvPr>
            <p:cNvSpPr/>
            <p:nvPr/>
          </p:nvSpPr>
          <p:spPr>
            <a:xfrm>
              <a:off x="2301481" y="3999087"/>
              <a:ext cx="1111406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0" name="Shape 9189">
              <a:extLst>
                <a:ext uri="{FF2B5EF4-FFF2-40B4-BE49-F238E27FC236}">
                  <a16:creationId xmlns:a16="http://schemas.microsoft.com/office/drawing/2014/main" id="{FC7C1E72-1715-66C5-C20D-28E8AD889CE5}"/>
                </a:ext>
              </a:extLst>
            </p:cNvPr>
            <p:cNvSpPr/>
            <p:nvPr/>
          </p:nvSpPr>
          <p:spPr>
            <a:xfrm flipV="1">
              <a:off x="3598326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1" name="Shape 9190">
              <a:extLst>
                <a:ext uri="{FF2B5EF4-FFF2-40B4-BE49-F238E27FC236}">
                  <a16:creationId xmlns:a16="http://schemas.microsoft.com/office/drawing/2014/main" id="{74E22DA2-588A-EB30-3D15-1AD85136B416}"/>
                </a:ext>
              </a:extLst>
            </p:cNvPr>
            <p:cNvSpPr/>
            <p:nvPr/>
          </p:nvSpPr>
          <p:spPr>
            <a:xfrm>
              <a:off x="4895172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2" name="Shape 9191">
              <a:extLst>
                <a:ext uri="{FF2B5EF4-FFF2-40B4-BE49-F238E27FC236}">
                  <a16:creationId xmlns:a16="http://schemas.microsoft.com/office/drawing/2014/main" id="{AFE8DDDE-D2D3-586D-2C9E-1D81402AD90E}"/>
                </a:ext>
              </a:extLst>
            </p:cNvPr>
            <p:cNvSpPr/>
            <p:nvPr/>
          </p:nvSpPr>
          <p:spPr>
            <a:xfrm flipV="1">
              <a:off x="6192018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3" name="Shape 9192">
              <a:extLst>
                <a:ext uri="{FF2B5EF4-FFF2-40B4-BE49-F238E27FC236}">
                  <a16:creationId xmlns:a16="http://schemas.microsoft.com/office/drawing/2014/main" id="{1D45691E-7115-6172-E05C-7E512EC87C42}"/>
                </a:ext>
              </a:extLst>
            </p:cNvPr>
            <p:cNvSpPr/>
            <p:nvPr/>
          </p:nvSpPr>
          <p:spPr>
            <a:xfrm>
              <a:off x="7484989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4" name="Shape 9193">
              <a:extLst>
                <a:ext uri="{FF2B5EF4-FFF2-40B4-BE49-F238E27FC236}">
                  <a16:creationId xmlns:a16="http://schemas.microsoft.com/office/drawing/2014/main" id="{A269BC64-8AF4-0A11-C319-6520B1B94253}"/>
                </a:ext>
              </a:extLst>
            </p:cNvPr>
            <p:cNvSpPr/>
            <p:nvPr/>
          </p:nvSpPr>
          <p:spPr>
            <a:xfrm flipV="1">
              <a:off x="8781834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1" name="Freeform 82">
              <a:extLst>
                <a:ext uri="{FF2B5EF4-FFF2-40B4-BE49-F238E27FC236}">
                  <a16:creationId xmlns:a16="http://schemas.microsoft.com/office/drawing/2014/main" id="{F239C01F-C73A-3A7E-B15A-F3A64BA2A8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1394" y="2191277"/>
              <a:ext cx="830660" cy="777920"/>
            </a:xfrm>
            <a:custGeom>
              <a:avLst/>
              <a:gdLst>
                <a:gd name="T0" fmla="*/ 28575 w 899753"/>
                <a:gd name="T1" fmla="*/ 444500 h 842603"/>
                <a:gd name="T2" fmla="*/ 65686 w 899753"/>
                <a:gd name="T3" fmla="*/ 449899 h 842603"/>
                <a:gd name="T4" fmla="*/ 366179 w 899753"/>
                <a:gd name="T5" fmla="*/ 475816 h 842603"/>
                <a:gd name="T6" fmla="*/ 366179 w 899753"/>
                <a:gd name="T7" fmla="*/ 533047 h 842603"/>
                <a:gd name="T8" fmla="*/ 535161 w 899753"/>
                <a:gd name="T9" fmla="*/ 533047 h 842603"/>
                <a:gd name="T10" fmla="*/ 535161 w 899753"/>
                <a:gd name="T11" fmla="*/ 475816 h 842603"/>
                <a:gd name="T12" fmla="*/ 835293 w 899753"/>
                <a:gd name="T13" fmla="*/ 449899 h 842603"/>
                <a:gd name="T14" fmla="*/ 872765 w 899753"/>
                <a:gd name="T15" fmla="*/ 444500 h 842603"/>
                <a:gd name="T16" fmla="*/ 872765 w 899753"/>
                <a:gd name="T17" fmla="*/ 769894 h 842603"/>
                <a:gd name="T18" fmla="*/ 799984 w 899753"/>
                <a:gd name="T19" fmla="*/ 842603 h 842603"/>
                <a:gd name="T20" fmla="*/ 101356 w 899753"/>
                <a:gd name="T21" fmla="*/ 842603 h 842603"/>
                <a:gd name="T22" fmla="*/ 28575 w 899753"/>
                <a:gd name="T23" fmla="*/ 769894 h 842603"/>
                <a:gd name="T24" fmla="*/ 348884 w 899753"/>
                <a:gd name="T25" fmla="*/ 56606 h 842603"/>
                <a:gd name="T26" fmla="*/ 337362 w 899753"/>
                <a:gd name="T27" fmla="*/ 68144 h 842603"/>
                <a:gd name="T28" fmla="*/ 337362 w 899753"/>
                <a:gd name="T29" fmla="*/ 112852 h 842603"/>
                <a:gd name="T30" fmla="*/ 562391 w 899753"/>
                <a:gd name="T31" fmla="*/ 112852 h 842603"/>
                <a:gd name="T32" fmla="*/ 562391 w 899753"/>
                <a:gd name="T33" fmla="*/ 68144 h 842603"/>
                <a:gd name="T34" fmla="*/ 550869 w 899753"/>
                <a:gd name="T35" fmla="*/ 56606 h 842603"/>
                <a:gd name="T36" fmla="*/ 325841 w 899753"/>
                <a:gd name="T37" fmla="*/ 0 h 842603"/>
                <a:gd name="T38" fmla="*/ 573912 w 899753"/>
                <a:gd name="T39" fmla="*/ 0 h 842603"/>
                <a:gd name="T40" fmla="*/ 618558 w 899753"/>
                <a:gd name="T41" fmla="*/ 44708 h 842603"/>
                <a:gd name="T42" fmla="*/ 618558 w 899753"/>
                <a:gd name="T43" fmla="*/ 112852 h 842603"/>
                <a:gd name="T44" fmla="*/ 855108 w 899753"/>
                <a:gd name="T45" fmla="*/ 112852 h 842603"/>
                <a:gd name="T46" fmla="*/ 899753 w 899753"/>
                <a:gd name="T47" fmla="*/ 157561 h 842603"/>
                <a:gd name="T48" fmla="*/ 899753 w 899753"/>
                <a:gd name="T49" fmla="*/ 390837 h 842603"/>
                <a:gd name="T50" fmla="*/ 816943 w 899753"/>
                <a:gd name="T51" fmla="*/ 402014 h 842603"/>
                <a:gd name="T52" fmla="*/ 534307 w 899753"/>
                <a:gd name="T53" fmla="*/ 425089 h 842603"/>
                <a:gd name="T54" fmla="*/ 534307 w 899753"/>
                <a:gd name="T55" fmla="*/ 366320 h 842603"/>
                <a:gd name="T56" fmla="*/ 365446 w 899753"/>
                <a:gd name="T57" fmla="*/ 366320 h 842603"/>
                <a:gd name="T58" fmla="*/ 365446 w 899753"/>
                <a:gd name="T59" fmla="*/ 425089 h 842603"/>
                <a:gd name="T60" fmla="*/ 83171 w 899753"/>
                <a:gd name="T61" fmla="*/ 402014 h 842603"/>
                <a:gd name="T62" fmla="*/ 0 w 899753"/>
                <a:gd name="T63" fmla="*/ 390837 h 842603"/>
                <a:gd name="T64" fmla="*/ 0 w 899753"/>
                <a:gd name="T65" fmla="*/ 157561 h 842603"/>
                <a:gd name="T66" fmla="*/ 44646 w 899753"/>
                <a:gd name="T67" fmla="*/ 112852 h 842603"/>
                <a:gd name="T68" fmla="*/ 281195 w 899753"/>
                <a:gd name="T69" fmla="*/ 112852 h 842603"/>
                <a:gd name="T70" fmla="*/ 281195 w 899753"/>
                <a:gd name="T71" fmla="*/ 44708 h 84260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899753" h="842603">
                  <a:moveTo>
                    <a:pt x="28575" y="444500"/>
                  </a:moveTo>
                  <a:lnTo>
                    <a:pt x="65686" y="449899"/>
                  </a:lnTo>
                  <a:cubicBezTo>
                    <a:pt x="165490" y="463937"/>
                    <a:pt x="265654" y="472576"/>
                    <a:pt x="366179" y="475816"/>
                  </a:cubicBezTo>
                  <a:lnTo>
                    <a:pt x="366179" y="533047"/>
                  </a:lnTo>
                  <a:lnTo>
                    <a:pt x="535161" y="533047"/>
                  </a:lnTo>
                  <a:lnTo>
                    <a:pt x="535161" y="475816"/>
                  </a:lnTo>
                  <a:cubicBezTo>
                    <a:pt x="635325" y="472576"/>
                    <a:pt x="735850" y="463937"/>
                    <a:pt x="835293" y="449899"/>
                  </a:cubicBezTo>
                  <a:lnTo>
                    <a:pt x="872765" y="444500"/>
                  </a:lnTo>
                  <a:lnTo>
                    <a:pt x="872765" y="769894"/>
                  </a:lnTo>
                  <a:lnTo>
                    <a:pt x="799984" y="842603"/>
                  </a:lnTo>
                  <a:lnTo>
                    <a:pt x="101356" y="842603"/>
                  </a:lnTo>
                  <a:lnTo>
                    <a:pt x="28575" y="769894"/>
                  </a:lnTo>
                  <a:lnTo>
                    <a:pt x="28575" y="444500"/>
                  </a:lnTo>
                  <a:close/>
                  <a:moveTo>
                    <a:pt x="348884" y="56606"/>
                  </a:moveTo>
                  <a:lnTo>
                    <a:pt x="337362" y="68144"/>
                  </a:lnTo>
                  <a:lnTo>
                    <a:pt x="337362" y="112852"/>
                  </a:lnTo>
                  <a:lnTo>
                    <a:pt x="562391" y="112852"/>
                  </a:lnTo>
                  <a:lnTo>
                    <a:pt x="562391" y="68144"/>
                  </a:lnTo>
                  <a:lnTo>
                    <a:pt x="550869" y="56606"/>
                  </a:lnTo>
                  <a:lnTo>
                    <a:pt x="348884" y="56606"/>
                  </a:lnTo>
                  <a:close/>
                  <a:moveTo>
                    <a:pt x="325841" y="0"/>
                  </a:moveTo>
                  <a:lnTo>
                    <a:pt x="573912" y="0"/>
                  </a:lnTo>
                  <a:lnTo>
                    <a:pt x="618558" y="44708"/>
                  </a:lnTo>
                  <a:lnTo>
                    <a:pt x="618558" y="112852"/>
                  </a:lnTo>
                  <a:lnTo>
                    <a:pt x="855108" y="112852"/>
                  </a:lnTo>
                  <a:lnTo>
                    <a:pt x="899753" y="157561"/>
                  </a:lnTo>
                  <a:lnTo>
                    <a:pt x="899753" y="390837"/>
                  </a:lnTo>
                  <a:lnTo>
                    <a:pt x="816943" y="402014"/>
                  </a:lnTo>
                  <a:cubicBezTo>
                    <a:pt x="722971" y="414633"/>
                    <a:pt x="628639" y="422205"/>
                    <a:pt x="534307" y="425089"/>
                  </a:cubicBezTo>
                  <a:lnTo>
                    <a:pt x="534307" y="366320"/>
                  </a:lnTo>
                  <a:lnTo>
                    <a:pt x="365446" y="366320"/>
                  </a:lnTo>
                  <a:lnTo>
                    <a:pt x="365446" y="425089"/>
                  </a:lnTo>
                  <a:cubicBezTo>
                    <a:pt x="271114" y="422205"/>
                    <a:pt x="176782" y="414633"/>
                    <a:pt x="83171" y="402014"/>
                  </a:cubicBezTo>
                  <a:lnTo>
                    <a:pt x="0" y="390837"/>
                  </a:lnTo>
                  <a:lnTo>
                    <a:pt x="0" y="157561"/>
                  </a:lnTo>
                  <a:lnTo>
                    <a:pt x="44646" y="112852"/>
                  </a:lnTo>
                  <a:lnTo>
                    <a:pt x="281195" y="112852"/>
                  </a:lnTo>
                  <a:lnTo>
                    <a:pt x="281195" y="44708"/>
                  </a:lnTo>
                  <a:lnTo>
                    <a:pt x="32584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2" name="Freeform 80">
              <a:extLst>
                <a:ext uri="{FF2B5EF4-FFF2-40B4-BE49-F238E27FC236}">
                  <a16:creationId xmlns:a16="http://schemas.microsoft.com/office/drawing/2014/main" id="{390CE2E5-CE10-00FC-3548-DD84A39B99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7224" y="2732671"/>
              <a:ext cx="492179" cy="788319"/>
            </a:xfrm>
            <a:custGeom>
              <a:avLst/>
              <a:gdLst>
                <a:gd name="T0" fmla="*/ 252413 w 561616"/>
                <a:gd name="T1" fmla="*/ 533400 h 899752"/>
                <a:gd name="T2" fmla="*/ 309199 w 561616"/>
                <a:gd name="T3" fmla="*/ 533400 h 899752"/>
                <a:gd name="T4" fmla="*/ 309199 w 561616"/>
                <a:gd name="T5" fmla="*/ 590188 h 899752"/>
                <a:gd name="T6" fmla="*/ 252413 w 561616"/>
                <a:gd name="T7" fmla="*/ 590188 h 899752"/>
                <a:gd name="T8" fmla="*/ 252763 w 561616"/>
                <a:gd name="T9" fmla="*/ 478263 h 899752"/>
                <a:gd name="T10" fmla="*/ 252763 w 561616"/>
                <a:gd name="T11" fmla="*/ 490131 h 899752"/>
                <a:gd name="T12" fmla="*/ 153527 w 561616"/>
                <a:gd name="T13" fmla="*/ 589389 h 899752"/>
                <a:gd name="T14" fmla="*/ 112179 w 561616"/>
                <a:gd name="T15" fmla="*/ 688648 h 899752"/>
                <a:gd name="T16" fmla="*/ 112179 w 561616"/>
                <a:gd name="T17" fmla="*/ 703033 h 899752"/>
                <a:gd name="T18" fmla="*/ 252763 w 561616"/>
                <a:gd name="T19" fmla="*/ 646931 h 899752"/>
                <a:gd name="T20" fmla="*/ 308853 w 561616"/>
                <a:gd name="T21" fmla="*/ 646931 h 899752"/>
                <a:gd name="T22" fmla="*/ 449436 w 561616"/>
                <a:gd name="T23" fmla="*/ 703033 h 899752"/>
                <a:gd name="T24" fmla="*/ 449436 w 561616"/>
                <a:gd name="T25" fmla="*/ 688648 h 899752"/>
                <a:gd name="T26" fmla="*/ 408088 w 561616"/>
                <a:gd name="T27" fmla="*/ 589389 h 899752"/>
                <a:gd name="T28" fmla="*/ 308853 w 561616"/>
                <a:gd name="T29" fmla="*/ 490131 h 899752"/>
                <a:gd name="T30" fmla="*/ 308853 w 561616"/>
                <a:gd name="T31" fmla="*/ 478263 h 899752"/>
                <a:gd name="T32" fmla="*/ 56089 w 561616"/>
                <a:gd name="T33" fmla="*/ 141287 h 899752"/>
                <a:gd name="T34" fmla="*/ 112179 w 561616"/>
                <a:gd name="T35" fmla="*/ 141287 h 899752"/>
                <a:gd name="T36" fmla="*/ 112179 w 561616"/>
                <a:gd name="T37" fmla="*/ 212135 h 899752"/>
                <a:gd name="T38" fmla="*/ 152089 w 561616"/>
                <a:gd name="T39" fmla="*/ 309955 h 899752"/>
                <a:gd name="T40" fmla="*/ 409526 w 561616"/>
                <a:gd name="T41" fmla="*/ 309955 h 899752"/>
                <a:gd name="T42" fmla="*/ 449436 w 561616"/>
                <a:gd name="T43" fmla="*/ 212135 h 899752"/>
                <a:gd name="T44" fmla="*/ 449436 w 561616"/>
                <a:gd name="T45" fmla="*/ 141287 h 899752"/>
                <a:gd name="T46" fmla="*/ 505526 w 561616"/>
                <a:gd name="T47" fmla="*/ 141287 h 899752"/>
                <a:gd name="T48" fmla="*/ 505526 w 561616"/>
                <a:gd name="T49" fmla="*/ 212135 h 899752"/>
                <a:gd name="T50" fmla="*/ 447998 w 561616"/>
                <a:gd name="T51" fmla="*/ 350953 h 899752"/>
                <a:gd name="T52" fmla="*/ 364942 w 561616"/>
                <a:gd name="T53" fmla="*/ 434028 h 899752"/>
                <a:gd name="T54" fmla="*/ 364942 w 561616"/>
                <a:gd name="T55" fmla="*/ 466755 h 899752"/>
                <a:gd name="T56" fmla="*/ 447998 w 561616"/>
                <a:gd name="T57" fmla="*/ 549830 h 899752"/>
                <a:gd name="T58" fmla="*/ 505526 w 561616"/>
                <a:gd name="T59" fmla="*/ 688648 h 899752"/>
                <a:gd name="T60" fmla="*/ 505526 w 561616"/>
                <a:gd name="T61" fmla="*/ 787547 h 899752"/>
                <a:gd name="T62" fmla="*/ 561616 w 561616"/>
                <a:gd name="T63" fmla="*/ 787547 h 899752"/>
                <a:gd name="T64" fmla="*/ 561616 w 561616"/>
                <a:gd name="T65" fmla="*/ 899752 h 899752"/>
                <a:gd name="T66" fmla="*/ 0 w 561616"/>
                <a:gd name="T67" fmla="*/ 899752 h 899752"/>
                <a:gd name="T68" fmla="*/ 0 w 561616"/>
                <a:gd name="T69" fmla="*/ 787547 h 899752"/>
                <a:gd name="T70" fmla="*/ 56089 w 561616"/>
                <a:gd name="T71" fmla="*/ 787547 h 899752"/>
                <a:gd name="T72" fmla="*/ 56089 w 561616"/>
                <a:gd name="T73" fmla="*/ 688648 h 899752"/>
                <a:gd name="T74" fmla="*/ 113977 w 561616"/>
                <a:gd name="T75" fmla="*/ 549830 h 899752"/>
                <a:gd name="T76" fmla="*/ 196673 w 561616"/>
                <a:gd name="T77" fmla="*/ 466755 h 899752"/>
                <a:gd name="T78" fmla="*/ 196673 w 561616"/>
                <a:gd name="T79" fmla="*/ 434028 h 899752"/>
                <a:gd name="T80" fmla="*/ 113977 w 561616"/>
                <a:gd name="T81" fmla="*/ 350953 h 899752"/>
                <a:gd name="T82" fmla="*/ 56089 w 561616"/>
                <a:gd name="T83" fmla="*/ 212135 h 899752"/>
                <a:gd name="T84" fmla="*/ 0 w 561616"/>
                <a:gd name="T85" fmla="*/ 0 h 899752"/>
                <a:gd name="T86" fmla="*/ 561616 w 561616"/>
                <a:gd name="T87" fmla="*/ 0 h 899752"/>
                <a:gd name="T88" fmla="*/ 561616 w 561616"/>
                <a:gd name="T89" fmla="*/ 112352 h 899752"/>
                <a:gd name="T90" fmla="*/ 0 w 561616"/>
                <a:gd name="T91" fmla="*/ 112352 h 89975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561616" h="899752">
                  <a:moveTo>
                    <a:pt x="252413" y="533400"/>
                  </a:moveTo>
                  <a:lnTo>
                    <a:pt x="309199" y="533400"/>
                  </a:lnTo>
                  <a:lnTo>
                    <a:pt x="309199" y="590188"/>
                  </a:lnTo>
                  <a:lnTo>
                    <a:pt x="252413" y="590188"/>
                  </a:lnTo>
                  <a:lnTo>
                    <a:pt x="252413" y="533400"/>
                  </a:lnTo>
                  <a:close/>
                  <a:moveTo>
                    <a:pt x="252763" y="478263"/>
                  </a:moveTo>
                  <a:lnTo>
                    <a:pt x="252763" y="490131"/>
                  </a:lnTo>
                  <a:lnTo>
                    <a:pt x="153527" y="589389"/>
                  </a:lnTo>
                  <a:cubicBezTo>
                    <a:pt x="126921" y="616002"/>
                    <a:pt x="112179" y="651246"/>
                    <a:pt x="112179" y="688648"/>
                  </a:cubicBezTo>
                  <a:lnTo>
                    <a:pt x="112179" y="703033"/>
                  </a:lnTo>
                  <a:lnTo>
                    <a:pt x="252763" y="646931"/>
                  </a:lnTo>
                  <a:lnTo>
                    <a:pt x="308853" y="646931"/>
                  </a:lnTo>
                  <a:lnTo>
                    <a:pt x="449436" y="703033"/>
                  </a:lnTo>
                  <a:lnTo>
                    <a:pt x="449436" y="688648"/>
                  </a:lnTo>
                  <a:cubicBezTo>
                    <a:pt x="449436" y="651246"/>
                    <a:pt x="434695" y="616002"/>
                    <a:pt x="408088" y="589389"/>
                  </a:cubicBezTo>
                  <a:lnTo>
                    <a:pt x="308853" y="490131"/>
                  </a:lnTo>
                  <a:lnTo>
                    <a:pt x="308853" y="478263"/>
                  </a:lnTo>
                  <a:lnTo>
                    <a:pt x="252763" y="478263"/>
                  </a:lnTo>
                  <a:close/>
                  <a:moveTo>
                    <a:pt x="56089" y="141287"/>
                  </a:moveTo>
                  <a:lnTo>
                    <a:pt x="112179" y="141287"/>
                  </a:lnTo>
                  <a:lnTo>
                    <a:pt x="112179" y="212135"/>
                  </a:lnTo>
                  <a:cubicBezTo>
                    <a:pt x="112179" y="248817"/>
                    <a:pt x="126561" y="283701"/>
                    <a:pt x="152089" y="309955"/>
                  </a:cubicBezTo>
                  <a:lnTo>
                    <a:pt x="409526" y="309955"/>
                  </a:lnTo>
                  <a:cubicBezTo>
                    <a:pt x="435054" y="283701"/>
                    <a:pt x="449436" y="248817"/>
                    <a:pt x="449436" y="212135"/>
                  </a:cubicBezTo>
                  <a:lnTo>
                    <a:pt x="449436" y="141287"/>
                  </a:lnTo>
                  <a:lnTo>
                    <a:pt x="505526" y="141287"/>
                  </a:lnTo>
                  <a:lnTo>
                    <a:pt x="505526" y="212135"/>
                  </a:lnTo>
                  <a:cubicBezTo>
                    <a:pt x="505526" y="264641"/>
                    <a:pt x="485032" y="313911"/>
                    <a:pt x="447998" y="350953"/>
                  </a:cubicBezTo>
                  <a:lnTo>
                    <a:pt x="364942" y="434028"/>
                  </a:lnTo>
                  <a:lnTo>
                    <a:pt x="364942" y="466755"/>
                  </a:lnTo>
                  <a:lnTo>
                    <a:pt x="447998" y="549830"/>
                  </a:lnTo>
                  <a:cubicBezTo>
                    <a:pt x="485032" y="586872"/>
                    <a:pt x="505526" y="636142"/>
                    <a:pt x="505526" y="688648"/>
                  </a:cubicBezTo>
                  <a:lnTo>
                    <a:pt x="505526" y="787547"/>
                  </a:lnTo>
                  <a:lnTo>
                    <a:pt x="561616" y="787547"/>
                  </a:lnTo>
                  <a:lnTo>
                    <a:pt x="561616" y="899752"/>
                  </a:lnTo>
                  <a:lnTo>
                    <a:pt x="0" y="899752"/>
                  </a:lnTo>
                  <a:lnTo>
                    <a:pt x="0" y="787547"/>
                  </a:lnTo>
                  <a:lnTo>
                    <a:pt x="56089" y="787547"/>
                  </a:lnTo>
                  <a:lnTo>
                    <a:pt x="56089" y="688648"/>
                  </a:lnTo>
                  <a:cubicBezTo>
                    <a:pt x="56089" y="636142"/>
                    <a:pt x="76584" y="586872"/>
                    <a:pt x="113977" y="549830"/>
                  </a:cubicBezTo>
                  <a:lnTo>
                    <a:pt x="196673" y="466755"/>
                  </a:lnTo>
                  <a:lnTo>
                    <a:pt x="196673" y="434028"/>
                  </a:lnTo>
                  <a:lnTo>
                    <a:pt x="113977" y="350953"/>
                  </a:lnTo>
                  <a:cubicBezTo>
                    <a:pt x="76584" y="313911"/>
                    <a:pt x="56089" y="264641"/>
                    <a:pt x="56089" y="212135"/>
                  </a:cubicBezTo>
                  <a:lnTo>
                    <a:pt x="56089" y="141287"/>
                  </a:lnTo>
                  <a:close/>
                  <a:moveTo>
                    <a:pt x="0" y="0"/>
                  </a:moveTo>
                  <a:lnTo>
                    <a:pt x="561616" y="0"/>
                  </a:lnTo>
                  <a:lnTo>
                    <a:pt x="561616" y="112352"/>
                  </a:lnTo>
                  <a:lnTo>
                    <a:pt x="0" y="1123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3" name="Freeform 41">
              <a:extLst>
                <a:ext uri="{FF2B5EF4-FFF2-40B4-BE49-F238E27FC236}">
                  <a16:creationId xmlns:a16="http://schemas.microsoft.com/office/drawing/2014/main" id="{855A7558-E4B0-5898-53DB-91A0ED5477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98105" y="2164907"/>
              <a:ext cx="779383" cy="830660"/>
            </a:xfrm>
            <a:custGeom>
              <a:avLst/>
              <a:gdLst>
                <a:gd name="T0" fmla="*/ 450379 w 2344"/>
                <a:gd name="T1" fmla="*/ 478140 h 2500"/>
                <a:gd name="T2" fmla="*/ 731775 w 2344"/>
                <a:gd name="T3" fmla="*/ 421973 h 2500"/>
                <a:gd name="T4" fmla="*/ 731775 w 2344"/>
                <a:gd name="T5" fmla="*/ 703168 h 2500"/>
                <a:gd name="T6" fmla="*/ 450379 w 2344"/>
                <a:gd name="T7" fmla="*/ 646641 h 2500"/>
                <a:gd name="T8" fmla="*/ 731775 w 2344"/>
                <a:gd name="T9" fmla="*/ 703168 h 2500"/>
                <a:gd name="T10" fmla="*/ 366068 w 2344"/>
                <a:gd name="T11" fmla="*/ 365446 h 2500"/>
                <a:gd name="T12" fmla="*/ 337964 w 2344"/>
                <a:gd name="T13" fmla="*/ 337362 h 2500"/>
                <a:gd name="T14" fmla="*/ 366068 w 2344"/>
                <a:gd name="T15" fmla="*/ 309279 h 2500"/>
                <a:gd name="T16" fmla="*/ 394171 w 2344"/>
                <a:gd name="T17" fmla="*/ 337362 h 2500"/>
                <a:gd name="T18" fmla="*/ 366068 w 2344"/>
                <a:gd name="T19" fmla="*/ 478140 h 2500"/>
                <a:gd name="T20" fmla="*/ 337964 w 2344"/>
                <a:gd name="T21" fmla="*/ 449696 h 2500"/>
                <a:gd name="T22" fmla="*/ 366068 w 2344"/>
                <a:gd name="T23" fmla="*/ 421973 h 2500"/>
                <a:gd name="T24" fmla="*/ 394171 w 2344"/>
                <a:gd name="T25" fmla="*/ 449696 h 2500"/>
                <a:gd name="T26" fmla="*/ 366068 w 2344"/>
                <a:gd name="T27" fmla="*/ 478140 h 2500"/>
                <a:gd name="T28" fmla="*/ 366068 w 2344"/>
                <a:gd name="T29" fmla="*/ 590474 h 2500"/>
                <a:gd name="T30" fmla="*/ 337964 w 2344"/>
                <a:gd name="T31" fmla="*/ 562391 h 2500"/>
                <a:gd name="T32" fmla="*/ 366068 w 2344"/>
                <a:gd name="T33" fmla="*/ 534307 h 2500"/>
                <a:gd name="T34" fmla="*/ 394171 w 2344"/>
                <a:gd name="T35" fmla="*/ 562391 h 2500"/>
                <a:gd name="T36" fmla="*/ 366068 w 2344"/>
                <a:gd name="T37" fmla="*/ 703168 h 2500"/>
                <a:gd name="T38" fmla="*/ 337964 w 2344"/>
                <a:gd name="T39" fmla="*/ 674725 h 2500"/>
                <a:gd name="T40" fmla="*/ 366068 w 2344"/>
                <a:gd name="T41" fmla="*/ 646641 h 2500"/>
                <a:gd name="T42" fmla="*/ 394171 w 2344"/>
                <a:gd name="T43" fmla="*/ 674725 h 2500"/>
                <a:gd name="T44" fmla="*/ 366068 w 2344"/>
                <a:gd name="T45" fmla="*/ 703168 h 2500"/>
                <a:gd name="T46" fmla="*/ 619000 w 2344"/>
                <a:gd name="T47" fmla="*/ 534307 h 2500"/>
                <a:gd name="T48" fmla="*/ 450379 w 2344"/>
                <a:gd name="T49" fmla="*/ 590474 h 2500"/>
                <a:gd name="T50" fmla="*/ 450379 w 2344"/>
                <a:gd name="T51" fmla="*/ 309279 h 2500"/>
                <a:gd name="T52" fmla="*/ 703311 w 2344"/>
                <a:gd name="T53" fmla="*/ 365446 h 2500"/>
                <a:gd name="T54" fmla="*/ 450379 w 2344"/>
                <a:gd name="T55" fmla="*/ 309279 h 2500"/>
                <a:gd name="T56" fmla="*/ 647104 w 2344"/>
                <a:gd name="T57" fmla="*/ 140418 h 2500"/>
                <a:gd name="T58" fmla="*/ 450379 w 2344"/>
                <a:gd name="T59" fmla="*/ 196585 h 2500"/>
                <a:gd name="T60" fmla="*/ 225189 w 2344"/>
                <a:gd name="T61" fmla="*/ 815502 h 2500"/>
                <a:gd name="T62" fmla="*/ 197086 w 2344"/>
                <a:gd name="T63" fmla="*/ 843586 h 2500"/>
                <a:gd name="T64" fmla="*/ 168982 w 2344"/>
                <a:gd name="T65" fmla="*/ 815502 h 2500"/>
                <a:gd name="T66" fmla="*/ 168982 w 2344"/>
                <a:gd name="T67" fmla="*/ 309279 h 2500"/>
                <a:gd name="T68" fmla="*/ 225189 w 2344"/>
                <a:gd name="T69" fmla="*/ 281195 h 2500"/>
                <a:gd name="T70" fmla="*/ 112775 w 2344"/>
                <a:gd name="T71" fmla="*/ 590474 h 2500"/>
                <a:gd name="T72" fmla="*/ 56568 w 2344"/>
                <a:gd name="T73" fmla="*/ 309279 h 2500"/>
                <a:gd name="T74" fmla="*/ 84311 w 2344"/>
                <a:gd name="T75" fmla="*/ 281195 h 2500"/>
                <a:gd name="T76" fmla="*/ 112775 w 2344"/>
                <a:gd name="T77" fmla="*/ 309279 h 2500"/>
                <a:gd name="T78" fmla="*/ 225189 w 2344"/>
                <a:gd name="T79" fmla="*/ 0 h 2500"/>
                <a:gd name="T80" fmla="*/ 84311 w 2344"/>
                <a:gd name="T81" fmla="*/ 225028 h 2500"/>
                <a:gd name="T82" fmla="*/ 0 w 2344"/>
                <a:gd name="T83" fmla="*/ 309279 h 2500"/>
                <a:gd name="T84" fmla="*/ 112775 w 2344"/>
                <a:gd name="T85" fmla="*/ 646641 h 2500"/>
                <a:gd name="T86" fmla="*/ 112775 w 2344"/>
                <a:gd name="T87" fmla="*/ 815502 h 2500"/>
                <a:gd name="T88" fmla="*/ 759879 w 2344"/>
                <a:gd name="T89" fmla="*/ 899753 h 2500"/>
                <a:gd name="T90" fmla="*/ 844190 w 2344"/>
                <a:gd name="T91" fmla="*/ 815502 h 2500"/>
                <a:gd name="T92" fmla="*/ 225189 w 2344"/>
                <a:gd name="T93" fmla="*/ 0 h 250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344" h="2500">
                  <a:moveTo>
                    <a:pt x="2031" y="1328"/>
                  </a:moveTo>
                  <a:lnTo>
                    <a:pt x="1250" y="1328"/>
                  </a:lnTo>
                  <a:lnTo>
                    <a:pt x="1250" y="1172"/>
                  </a:lnTo>
                  <a:lnTo>
                    <a:pt x="2031" y="1172"/>
                  </a:lnTo>
                  <a:lnTo>
                    <a:pt x="2031" y="1328"/>
                  </a:lnTo>
                  <a:close/>
                  <a:moveTo>
                    <a:pt x="2031" y="1953"/>
                  </a:moveTo>
                  <a:lnTo>
                    <a:pt x="1250" y="1953"/>
                  </a:lnTo>
                  <a:lnTo>
                    <a:pt x="1250" y="1796"/>
                  </a:lnTo>
                  <a:lnTo>
                    <a:pt x="2031" y="1796"/>
                  </a:lnTo>
                  <a:lnTo>
                    <a:pt x="2031" y="1953"/>
                  </a:lnTo>
                  <a:close/>
                  <a:moveTo>
                    <a:pt x="1016" y="1015"/>
                  </a:moveTo>
                  <a:lnTo>
                    <a:pt x="1016" y="1015"/>
                  </a:lnTo>
                  <a:cubicBezTo>
                    <a:pt x="972" y="1015"/>
                    <a:pt x="938" y="980"/>
                    <a:pt x="938" y="937"/>
                  </a:cubicBezTo>
                  <a:cubicBezTo>
                    <a:pt x="938" y="893"/>
                    <a:pt x="972" y="859"/>
                    <a:pt x="1016" y="859"/>
                  </a:cubicBezTo>
                  <a:cubicBezTo>
                    <a:pt x="1059" y="859"/>
                    <a:pt x="1094" y="893"/>
                    <a:pt x="1094" y="937"/>
                  </a:cubicBezTo>
                  <a:cubicBezTo>
                    <a:pt x="1094" y="980"/>
                    <a:pt x="1059" y="1015"/>
                    <a:pt x="1016" y="1015"/>
                  </a:cubicBezTo>
                  <a:close/>
                  <a:moveTo>
                    <a:pt x="1016" y="1328"/>
                  </a:moveTo>
                  <a:lnTo>
                    <a:pt x="1016" y="1328"/>
                  </a:lnTo>
                  <a:cubicBezTo>
                    <a:pt x="972" y="1328"/>
                    <a:pt x="938" y="1293"/>
                    <a:pt x="938" y="1249"/>
                  </a:cubicBezTo>
                  <a:cubicBezTo>
                    <a:pt x="938" y="1206"/>
                    <a:pt x="972" y="1172"/>
                    <a:pt x="1016" y="1172"/>
                  </a:cubicBezTo>
                  <a:cubicBezTo>
                    <a:pt x="1059" y="1172"/>
                    <a:pt x="1094" y="1206"/>
                    <a:pt x="1094" y="1249"/>
                  </a:cubicBezTo>
                  <a:cubicBezTo>
                    <a:pt x="1094" y="1293"/>
                    <a:pt x="1059" y="1328"/>
                    <a:pt x="1016" y="1328"/>
                  </a:cubicBezTo>
                  <a:close/>
                  <a:moveTo>
                    <a:pt x="1016" y="1640"/>
                  </a:moveTo>
                  <a:lnTo>
                    <a:pt x="1016" y="1640"/>
                  </a:lnTo>
                  <a:cubicBezTo>
                    <a:pt x="972" y="1640"/>
                    <a:pt x="938" y="1605"/>
                    <a:pt x="938" y="1562"/>
                  </a:cubicBezTo>
                  <a:cubicBezTo>
                    <a:pt x="938" y="1519"/>
                    <a:pt x="972" y="1484"/>
                    <a:pt x="1016" y="1484"/>
                  </a:cubicBezTo>
                  <a:cubicBezTo>
                    <a:pt x="1059" y="1484"/>
                    <a:pt x="1094" y="1519"/>
                    <a:pt x="1094" y="1562"/>
                  </a:cubicBezTo>
                  <a:cubicBezTo>
                    <a:pt x="1094" y="1605"/>
                    <a:pt x="1059" y="1640"/>
                    <a:pt x="1016" y="1640"/>
                  </a:cubicBezTo>
                  <a:close/>
                  <a:moveTo>
                    <a:pt x="1016" y="1953"/>
                  </a:moveTo>
                  <a:lnTo>
                    <a:pt x="1016" y="1953"/>
                  </a:lnTo>
                  <a:cubicBezTo>
                    <a:pt x="972" y="1953"/>
                    <a:pt x="938" y="1917"/>
                    <a:pt x="938" y="1874"/>
                  </a:cubicBezTo>
                  <a:cubicBezTo>
                    <a:pt x="938" y="1831"/>
                    <a:pt x="972" y="1796"/>
                    <a:pt x="1016" y="1796"/>
                  </a:cubicBezTo>
                  <a:cubicBezTo>
                    <a:pt x="1059" y="1796"/>
                    <a:pt x="1094" y="1831"/>
                    <a:pt x="1094" y="1874"/>
                  </a:cubicBezTo>
                  <a:cubicBezTo>
                    <a:pt x="1094" y="1917"/>
                    <a:pt x="1059" y="1953"/>
                    <a:pt x="1016" y="1953"/>
                  </a:cubicBezTo>
                  <a:close/>
                  <a:moveTo>
                    <a:pt x="1250" y="1484"/>
                  </a:moveTo>
                  <a:lnTo>
                    <a:pt x="1718" y="1484"/>
                  </a:lnTo>
                  <a:lnTo>
                    <a:pt x="1718" y="1640"/>
                  </a:lnTo>
                  <a:lnTo>
                    <a:pt x="1250" y="1640"/>
                  </a:lnTo>
                  <a:lnTo>
                    <a:pt x="1250" y="1484"/>
                  </a:lnTo>
                  <a:close/>
                  <a:moveTo>
                    <a:pt x="1250" y="859"/>
                  </a:moveTo>
                  <a:lnTo>
                    <a:pt x="1952" y="859"/>
                  </a:lnTo>
                  <a:lnTo>
                    <a:pt x="1952" y="1015"/>
                  </a:lnTo>
                  <a:lnTo>
                    <a:pt x="1250" y="1015"/>
                  </a:lnTo>
                  <a:lnTo>
                    <a:pt x="1250" y="859"/>
                  </a:lnTo>
                  <a:close/>
                  <a:moveTo>
                    <a:pt x="1250" y="390"/>
                  </a:moveTo>
                  <a:lnTo>
                    <a:pt x="1796" y="390"/>
                  </a:lnTo>
                  <a:lnTo>
                    <a:pt x="1796" y="546"/>
                  </a:lnTo>
                  <a:lnTo>
                    <a:pt x="1250" y="546"/>
                  </a:lnTo>
                  <a:lnTo>
                    <a:pt x="1250" y="390"/>
                  </a:lnTo>
                  <a:close/>
                  <a:moveTo>
                    <a:pt x="625" y="2265"/>
                  </a:moveTo>
                  <a:lnTo>
                    <a:pt x="625" y="2265"/>
                  </a:lnTo>
                  <a:cubicBezTo>
                    <a:pt x="625" y="2308"/>
                    <a:pt x="590" y="2343"/>
                    <a:pt x="547" y="2343"/>
                  </a:cubicBezTo>
                  <a:cubicBezTo>
                    <a:pt x="504" y="2343"/>
                    <a:pt x="469" y="2308"/>
                    <a:pt x="469" y="2265"/>
                  </a:cubicBezTo>
                  <a:lnTo>
                    <a:pt x="469" y="859"/>
                  </a:lnTo>
                  <a:cubicBezTo>
                    <a:pt x="469" y="831"/>
                    <a:pt x="463" y="806"/>
                    <a:pt x="454" y="781"/>
                  </a:cubicBezTo>
                  <a:lnTo>
                    <a:pt x="625" y="781"/>
                  </a:lnTo>
                  <a:lnTo>
                    <a:pt x="625" y="2265"/>
                  </a:lnTo>
                  <a:close/>
                  <a:moveTo>
                    <a:pt x="313" y="1640"/>
                  </a:moveTo>
                  <a:lnTo>
                    <a:pt x="157" y="1640"/>
                  </a:lnTo>
                  <a:lnTo>
                    <a:pt x="157" y="859"/>
                  </a:lnTo>
                  <a:cubicBezTo>
                    <a:pt x="157" y="816"/>
                    <a:pt x="191" y="781"/>
                    <a:pt x="234" y="781"/>
                  </a:cubicBezTo>
                  <a:cubicBezTo>
                    <a:pt x="277" y="781"/>
                    <a:pt x="313" y="816"/>
                    <a:pt x="313" y="859"/>
                  </a:cubicBezTo>
                  <a:lnTo>
                    <a:pt x="313" y="1640"/>
                  </a:lnTo>
                  <a:close/>
                  <a:moveTo>
                    <a:pt x="625" y="0"/>
                  </a:moveTo>
                  <a:lnTo>
                    <a:pt x="625" y="625"/>
                  </a:lnTo>
                  <a:lnTo>
                    <a:pt x="234" y="625"/>
                  </a:lnTo>
                  <a:cubicBezTo>
                    <a:pt x="105" y="625"/>
                    <a:pt x="0" y="730"/>
                    <a:pt x="0" y="859"/>
                  </a:cubicBezTo>
                  <a:lnTo>
                    <a:pt x="0" y="1796"/>
                  </a:lnTo>
                  <a:lnTo>
                    <a:pt x="313" y="1796"/>
                  </a:lnTo>
                  <a:lnTo>
                    <a:pt x="313" y="2265"/>
                  </a:lnTo>
                  <a:cubicBezTo>
                    <a:pt x="313" y="2394"/>
                    <a:pt x="418" y="2499"/>
                    <a:pt x="547" y="2499"/>
                  </a:cubicBezTo>
                  <a:lnTo>
                    <a:pt x="2109" y="2499"/>
                  </a:lnTo>
                  <a:cubicBezTo>
                    <a:pt x="2238" y="2499"/>
                    <a:pt x="2343" y="2394"/>
                    <a:pt x="2343" y="2265"/>
                  </a:cubicBezTo>
                  <a:lnTo>
                    <a:pt x="2343" y="0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4" name="Freeform 89">
              <a:extLst>
                <a:ext uri="{FF2B5EF4-FFF2-40B4-BE49-F238E27FC236}">
                  <a16:creationId xmlns:a16="http://schemas.microsoft.com/office/drawing/2014/main" id="{68D3D53F-E550-B9FC-A8F1-BA83C8543D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0730" y="2189715"/>
              <a:ext cx="620464" cy="464256"/>
            </a:xfrm>
            <a:custGeom>
              <a:avLst/>
              <a:gdLst>
                <a:gd name="T0" fmla="*/ 573956 w 901340"/>
                <a:gd name="T1" fmla="*/ 561975 h 674329"/>
                <a:gd name="T2" fmla="*/ 901340 w 901340"/>
                <a:gd name="T3" fmla="*/ 561975 h 674329"/>
                <a:gd name="T4" fmla="*/ 901340 w 901340"/>
                <a:gd name="T5" fmla="*/ 674329 h 674329"/>
                <a:gd name="T6" fmla="*/ 468313 w 901340"/>
                <a:gd name="T7" fmla="*/ 674329 h 674329"/>
                <a:gd name="T8" fmla="*/ 573956 w 901340"/>
                <a:gd name="T9" fmla="*/ 561975 h 674329"/>
                <a:gd name="T10" fmla="*/ 616811 w 901340"/>
                <a:gd name="T11" fmla="*/ 420688 h 674329"/>
                <a:gd name="T12" fmla="*/ 842604 w 901340"/>
                <a:gd name="T13" fmla="*/ 420688 h 674329"/>
                <a:gd name="T14" fmla="*/ 842604 w 901340"/>
                <a:gd name="T15" fmla="*/ 533040 h 674329"/>
                <a:gd name="T16" fmla="*/ 587375 w 901340"/>
                <a:gd name="T17" fmla="*/ 533040 h 674329"/>
                <a:gd name="T18" fmla="*/ 616811 w 901340"/>
                <a:gd name="T19" fmla="*/ 420688 h 674329"/>
                <a:gd name="T20" fmla="*/ 600075 w 901340"/>
                <a:gd name="T21" fmla="*/ 280988 h 674329"/>
                <a:gd name="T22" fmla="*/ 901339 w 901340"/>
                <a:gd name="T23" fmla="*/ 280988 h 674329"/>
                <a:gd name="T24" fmla="*/ 901339 w 901340"/>
                <a:gd name="T25" fmla="*/ 393341 h 674329"/>
                <a:gd name="T26" fmla="*/ 619919 w 901340"/>
                <a:gd name="T27" fmla="*/ 393341 h 674329"/>
                <a:gd name="T28" fmla="*/ 600075 w 901340"/>
                <a:gd name="T29" fmla="*/ 280988 h 674329"/>
                <a:gd name="T30" fmla="*/ 196799 w 901340"/>
                <a:gd name="T31" fmla="*/ 280982 h 674329"/>
                <a:gd name="T32" fmla="*/ 196799 w 901340"/>
                <a:gd name="T33" fmla="*/ 337072 h 674329"/>
                <a:gd name="T34" fmla="*/ 252925 w 901340"/>
                <a:gd name="T35" fmla="*/ 337072 h 674329"/>
                <a:gd name="T36" fmla="*/ 252925 w 901340"/>
                <a:gd name="T37" fmla="*/ 449611 h 674329"/>
                <a:gd name="T38" fmla="*/ 196799 w 901340"/>
                <a:gd name="T39" fmla="*/ 449611 h 674329"/>
                <a:gd name="T40" fmla="*/ 196799 w 901340"/>
                <a:gd name="T41" fmla="*/ 505700 h 674329"/>
                <a:gd name="T42" fmla="*/ 365176 w 901340"/>
                <a:gd name="T43" fmla="*/ 505700 h 674329"/>
                <a:gd name="T44" fmla="*/ 365176 w 901340"/>
                <a:gd name="T45" fmla="*/ 449611 h 674329"/>
                <a:gd name="T46" fmla="*/ 309051 w 901340"/>
                <a:gd name="T47" fmla="*/ 449611 h 674329"/>
                <a:gd name="T48" fmla="*/ 309051 w 901340"/>
                <a:gd name="T49" fmla="*/ 280982 h 674329"/>
                <a:gd name="T50" fmla="*/ 503238 w 901340"/>
                <a:gd name="T51" fmla="*/ 139700 h 674329"/>
                <a:gd name="T52" fmla="*/ 787040 w 901340"/>
                <a:gd name="T53" fmla="*/ 139700 h 674329"/>
                <a:gd name="T54" fmla="*/ 787040 w 901340"/>
                <a:gd name="T55" fmla="*/ 252053 h 674329"/>
                <a:gd name="T56" fmla="*/ 587154 w 901340"/>
                <a:gd name="T57" fmla="*/ 252053 h 674329"/>
                <a:gd name="T58" fmla="*/ 503238 w 901340"/>
                <a:gd name="T59" fmla="*/ 139700 h 674329"/>
                <a:gd name="T60" fmla="*/ 280988 w 901340"/>
                <a:gd name="T61" fmla="*/ 112713 h 674329"/>
                <a:gd name="T62" fmla="*/ 561615 w 901340"/>
                <a:gd name="T63" fmla="*/ 393521 h 674329"/>
                <a:gd name="T64" fmla="*/ 280988 w 901340"/>
                <a:gd name="T65" fmla="*/ 674329 h 674329"/>
                <a:gd name="T66" fmla="*/ 0 w 901340"/>
                <a:gd name="T67" fmla="*/ 393521 h 674329"/>
                <a:gd name="T68" fmla="*/ 280988 w 901340"/>
                <a:gd name="T69" fmla="*/ 112713 h 674329"/>
                <a:gd name="T70" fmla="*/ 282575 w 901340"/>
                <a:gd name="T71" fmla="*/ 0 h 674329"/>
                <a:gd name="T72" fmla="*/ 844190 w 901340"/>
                <a:gd name="T73" fmla="*/ 0 h 674329"/>
                <a:gd name="T74" fmla="*/ 844190 w 901340"/>
                <a:gd name="T75" fmla="*/ 112353 h 674329"/>
                <a:gd name="T76" fmla="*/ 468221 w 901340"/>
                <a:gd name="T77" fmla="*/ 112353 h 674329"/>
                <a:gd name="T78" fmla="*/ 282575 w 901340"/>
                <a:gd name="T79" fmla="*/ 55816 h 67432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901340" h="674329">
                  <a:moveTo>
                    <a:pt x="573956" y="561975"/>
                  </a:moveTo>
                  <a:lnTo>
                    <a:pt x="901340" y="561975"/>
                  </a:lnTo>
                  <a:lnTo>
                    <a:pt x="901340" y="674329"/>
                  </a:lnTo>
                  <a:lnTo>
                    <a:pt x="468313" y="674329"/>
                  </a:lnTo>
                  <a:cubicBezTo>
                    <a:pt x="511940" y="645613"/>
                    <a:pt x="547996" y="607204"/>
                    <a:pt x="573956" y="561975"/>
                  </a:cubicBezTo>
                  <a:close/>
                  <a:moveTo>
                    <a:pt x="616811" y="420688"/>
                  </a:moveTo>
                  <a:lnTo>
                    <a:pt x="842604" y="420688"/>
                  </a:lnTo>
                  <a:lnTo>
                    <a:pt x="842604" y="533040"/>
                  </a:lnTo>
                  <a:lnTo>
                    <a:pt x="587375" y="533040"/>
                  </a:lnTo>
                  <a:cubicBezTo>
                    <a:pt x="603529" y="498470"/>
                    <a:pt x="613580" y="460660"/>
                    <a:pt x="616811" y="420688"/>
                  </a:cubicBezTo>
                  <a:close/>
                  <a:moveTo>
                    <a:pt x="600075" y="280988"/>
                  </a:moveTo>
                  <a:lnTo>
                    <a:pt x="901339" y="280988"/>
                  </a:lnTo>
                  <a:lnTo>
                    <a:pt x="901339" y="393341"/>
                  </a:lnTo>
                  <a:lnTo>
                    <a:pt x="619919" y="393341"/>
                  </a:lnTo>
                  <a:cubicBezTo>
                    <a:pt x="619919" y="353856"/>
                    <a:pt x="612703" y="316166"/>
                    <a:pt x="600075" y="280988"/>
                  </a:cubicBezTo>
                  <a:close/>
                  <a:moveTo>
                    <a:pt x="196799" y="280982"/>
                  </a:moveTo>
                  <a:lnTo>
                    <a:pt x="196799" y="337072"/>
                  </a:lnTo>
                  <a:lnTo>
                    <a:pt x="252925" y="337072"/>
                  </a:lnTo>
                  <a:lnTo>
                    <a:pt x="252925" y="449611"/>
                  </a:lnTo>
                  <a:lnTo>
                    <a:pt x="196799" y="449611"/>
                  </a:lnTo>
                  <a:lnTo>
                    <a:pt x="196799" y="505700"/>
                  </a:lnTo>
                  <a:lnTo>
                    <a:pt x="365176" y="505700"/>
                  </a:lnTo>
                  <a:lnTo>
                    <a:pt x="365176" y="449611"/>
                  </a:lnTo>
                  <a:lnTo>
                    <a:pt x="309051" y="449611"/>
                  </a:lnTo>
                  <a:lnTo>
                    <a:pt x="309051" y="280982"/>
                  </a:lnTo>
                  <a:lnTo>
                    <a:pt x="196799" y="280982"/>
                  </a:lnTo>
                  <a:close/>
                  <a:moveTo>
                    <a:pt x="503238" y="139700"/>
                  </a:moveTo>
                  <a:lnTo>
                    <a:pt x="787040" y="139700"/>
                  </a:lnTo>
                  <a:lnTo>
                    <a:pt x="787040" y="252053"/>
                  </a:lnTo>
                  <a:lnTo>
                    <a:pt x="587154" y="252053"/>
                  </a:lnTo>
                  <a:cubicBezTo>
                    <a:pt x="567346" y="208840"/>
                    <a:pt x="538894" y="170669"/>
                    <a:pt x="503238" y="139700"/>
                  </a:cubicBezTo>
                  <a:close/>
                  <a:moveTo>
                    <a:pt x="280988" y="112713"/>
                  </a:moveTo>
                  <a:cubicBezTo>
                    <a:pt x="436053" y="112713"/>
                    <a:pt x="561615" y="238555"/>
                    <a:pt x="561615" y="393521"/>
                  </a:cubicBezTo>
                  <a:cubicBezTo>
                    <a:pt x="561615" y="548487"/>
                    <a:pt x="436053" y="674329"/>
                    <a:pt x="280988" y="674329"/>
                  </a:cubicBezTo>
                  <a:cubicBezTo>
                    <a:pt x="125923" y="674329"/>
                    <a:pt x="0" y="548487"/>
                    <a:pt x="0" y="393521"/>
                  </a:cubicBezTo>
                  <a:cubicBezTo>
                    <a:pt x="0" y="238555"/>
                    <a:pt x="125923" y="112713"/>
                    <a:pt x="280988" y="112713"/>
                  </a:cubicBezTo>
                  <a:close/>
                  <a:moveTo>
                    <a:pt x="282575" y="0"/>
                  </a:moveTo>
                  <a:lnTo>
                    <a:pt x="844190" y="0"/>
                  </a:lnTo>
                  <a:lnTo>
                    <a:pt x="844190" y="112353"/>
                  </a:lnTo>
                  <a:lnTo>
                    <a:pt x="468221" y="112353"/>
                  </a:lnTo>
                  <a:cubicBezTo>
                    <a:pt x="415694" y="76702"/>
                    <a:pt x="351293" y="55816"/>
                    <a:pt x="282575" y="55816"/>
                  </a:cubicBezTo>
                  <a:lnTo>
                    <a:pt x="28257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5" name="Freeform 85">
              <a:extLst>
                <a:ext uri="{FF2B5EF4-FFF2-40B4-BE49-F238E27FC236}">
                  <a16:creationId xmlns:a16="http://schemas.microsoft.com/office/drawing/2014/main" id="{B2E0B60A-CD8D-FE75-B910-F560FDAE7A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7018" y="2112157"/>
              <a:ext cx="619371" cy="619372"/>
            </a:xfrm>
            <a:custGeom>
              <a:avLst/>
              <a:gdLst>
                <a:gd name="T0" fmla="*/ 422275 w 899752"/>
                <a:gd name="T1" fmla="*/ 280988 h 899754"/>
                <a:gd name="T2" fmla="*/ 534627 w 899752"/>
                <a:gd name="T3" fmla="*/ 365919 h 899754"/>
                <a:gd name="T4" fmla="*/ 422275 w 899752"/>
                <a:gd name="T5" fmla="*/ 450489 h 899754"/>
                <a:gd name="T6" fmla="*/ 57150 w 899752"/>
                <a:gd name="T7" fmla="*/ 225425 h 899754"/>
                <a:gd name="T8" fmla="*/ 113290 w 899752"/>
                <a:gd name="T9" fmla="*/ 225425 h 899754"/>
                <a:gd name="T10" fmla="*/ 113290 w 899752"/>
                <a:gd name="T11" fmla="*/ 562409 h 899754"/>
                <a:gd name="T12" fmla="*/ 422420 w 899752"/>
                <a:gd name="T13" fmla="*/ 562409 h 899754"/>
                <a:gd name="T14" fmla="*/ 478560 w 899752"/>
                <a:gd name="T15" fmla="*/ 562409 h 899754"/>
                <a:gd name="T16" fmla="*/ 787690 w 899752"/>
                <a:gd name="T17" fmla="*/ 562409 h 899754"/>
                <a:gd name="T18" fmla="*/ 787690 w 899752"/>
                <a:gd name="T19" fmla="*/ 225425 h 899754"/>
                <a:gd name="T20" fmla="*/ 844190 w 899752"/>
                <a:gd name="T21" fmla="*/ 225425 h 899754"/>
                <a:gd name="T22" fmla="*/ 844190 w 899752"/>
                <a:gd name="T23" fmla="*/ 618873 h 899754"/>
                <a:gd name="T24" fmla="*/ 478560 w 899752"/>
                <a:gd name="T25" fmla="*/ 618873 h 899754"/>
                <a:gd name="T26" fmla="*/ 478560 w 899752"/>
                <a:gd name="T27" fmla="*/ 803729 h 899754"/>
                <a:gd name="T28" fmla="*/ 490436 w 899752"/>
                <a:gd name="T29" fmla="*/ 815597 h 899754"/>
                <a:gd name="T30" fmla="*/ 518146 w 899752"/>
                <a:gd name="T31" fmla="*/ 843649 h 899754"/>
                <a:gd name="T32" fmla="*/ 590840 w 899752"/>
                <a:gd name="T33" fmla="*/ 843649 h 899754"/>
                <a:gd name="T34" fmla="*/ 590840 w 899752"/>
                <a:gd name="T35" fmla="*/ 899754 h 899754"/>
                <a:gd name="T36" fmla="*/ 495114 w 899752"/>
                <a:gd name="T37" fmla="*/ 899754 h 899754"/>
                <a:gd name="T38" fmla="*/ 450490 w 899752"/>
                <a:gd name="T39" fmla="*/ 855158 h 899754"/>
                <a:gd name="T40" fmla="*/ 405866 w 899752"/>
                <a:gd name="T41" fmla="*/ 899754 h 899754"/>
                <a:gd name="T42" fmla="*/ 309780 w 899752"/>
                <a:gd name="T43" fmla="*/ 899754 h 899754"/>
                <a:gd name="T44" fmla="*/ 309780 w 899752"/>
                <a:gd name="T45" fmla="*/ 843649 h 899754"/>
                <a:gd name="T46" fmla="*/ 382475 w 899752"/>
                <a:gd name="T47" fmla="*/ 843649 h 899754"/>
                <a:gd name="T48" fmla="*/ 410904 w 899752"/>
                <a:gd name="T49" fmla="*/ 815597 h 899754"/>
                <a:gd name="T50" fmla="*/ 422420 w 899752"/>
                <a:gd name="T51" fmla="*/ 803729 h 899754"/>
                <a:gd name="T52" fmla="*/ 422420 w 899752"/>
                <a:gd name="T53" fmla="*/ 618873 h 899754"/>
                <a:gd name="T54" fmla="*/ 57150 w 899752"/>
                <a:gd name="T55" fmla="*/ 618873 h 899754"/>
                <a:gd name="T56" fmla="*/ 421804 w 899752"/>
                <a:gd name="T57" fmla="*/ 0 h 899754"/>
                <a:gd name="T58" fmla="*/ 477949 w 899752"/>
                <a:gd name="T59" fmla="*/ 0 h 899754"/>
                <a:gd name="T60" fmla="*/ 477949 w 899752"/>
                <a:gd name="T61" fmla="*/ 56380 h 899754"/>
                <a:gd name="T62" fmla="*/ 899752 w 899752"/>
                <a:gd name="T63" fmla="*/ 56380 h 899754"/>
                <a:gd name="T64" fmla="*/ 899752 w 899752"/>
                <a:gd name="T65" fmla="*/ 169501 h 899754"/>
                <a:gd name="T66" fmla="*/ 0 w 899752"/>
                <a:gd name="T67" fmla="*/ 169501 h 899754"/>
                <a:gd name="T68" fmla="*/ 0 w 899752"/>
                <a:gd name="T69" fmla="*/ 56380 h 899754"/>
                <a:gd name="T70" fmla="*/ 421804 w 899752"/>
                <a:gd name="T71" fmla="*/ 56380 h 89975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899752" h="899754">
                  <a:moveTo>
                    <a:pt x="422275" y="280988"/>
                  </a:moveTo>
                  <a:lnTo>
                    <a:pt x="534627" y="365919"/>
                  </a:lnTo>
                  <a:lnTo>
                    <a:pt x="422275" y="450489"/>
                  </a:lnTo>
                  <a:lnTo>
                    <a:pt x="422275" y="280988"/>
                  </a:lnTo>
                  <a:close/>
                  <a:moveTo>
                    <a:pt x="57150" y="225425"/>
                  </a:moveTo>
                  <a:lnTo>
                    <a:pt x="113290" y="225425"/>
                  </a:lnTo>
                  <a:lnTo>
                    <a:pt x="113290" y="562409"/>
                  </a:lnTo>
                  <a:lnTo>
                    <a:pt x="422420" y="562409"/>
                  </a:lnTo>
                  <a:lnTo>
                    <a:pt x="478560" y="562409"/>
                  </a:lnTo>
                  <a:lnTo>
                    <a:pt x="787690" y="562409"/>
                  </a:lnTo>
                  <a:lnTo>
                    <a:pt x="787690" y="225425"/>
                  </a:lnTo>
                  <a:lnTo>
                    <a:pt x="844190" y="225425"/>
                  </a:lnTo>
                  <a:lnTo>
                    <a:pt x="844190" y="618873"/>
                  </a:lnTo>
                  <a:lnTo>
                    <a:pt x="478560" y="618873"/>
                  </a:lnTo>
                  <a:lnTo>
                    <a:pt x="478560" y="803729"/>
                  </a:lnTo>
                  <a:lnTo>
                    <a:pt x="490436" y="815597"/>
                  </a:lnTo>
                  <a:lnTo>
                    <a:pt x="518146" y="843649"/>
                  </a:lnTo>
                  <a:lnTo>
                    <a:pt x="590840" y="843649"/>
                  </a:lnTo>
                  <a:lnTo>
                    <a:pt x="590840" y="899754"/>
                  </a:lnTo>
                  <a:lnTo>
                    <a:pt x="495114" y="899754"/>
                  </a:lnTo>
                  <a:lnTo>
                    <a:pt x="450490" y="855158"/>
                  </a:lnTo>
                  <a:lnTo>
                    <a:pt x="405866" y="899754"/>
                  </a:lnTo>
                  <a:lnTo>
                    <a:pt x="309780" y="899754"/>
                  </a:lnTo>
                  <a:lnTo>
                    <a:pt x="309780" y="843649"/>
                  </a:lnTo>
                  <a:lnTo>
                    <a:pt x="382475" y="843649"/>
                  </a:lnTo>
                  <a:lnTo>
                    <a:pt x="410904" y="815597"/>
                  </a:lnTo>
                  <a:lnTo>
                    <a:pt x="422420" y="803729"/>
                  </a:lnTo>
                  <a:lnTo>
                    <a:pt x="422420" y="618873"/>
                  </a:lnTo>
                  <a:lnTo>
                    <a:pt x="57150" y="618873"/>
                  </a:lnTo>
                  <a:lnTo>
                    <a:pt x="57150" y="225425"/>
                  </a:lnTo>
                  <a:close/>
                  <a:moveTo>
                    <a:pt x="421804" y="0"/>
                  </a:moveTo>
                  <a:lnTo>
                    <a:pt x="477949" y="0"/>
                  </a:lnTo>
                  <a:lnTo>
                    <a:pt x="477949" y="56380"/>
                  </a:lnTo>
                  <a:lnTo>
                    <a:pt x="899752" y="56380"/>
                  </a:lnTo>
                  <a:lnTo>
                    <a:pt x="899752" y="169501"/>
                  </a:lnTo>
                  <a:lnTo>
                    <a:pt x="0" y="169501"/>
                  </a:lnTo>
                  <a:lnTo>
                    <a:pt x="0" y="56380"/>
                  </a:lnTo>
                  <a:lnTo>
                    <a:pt x="421804" y="56380"/>
                  </a:lnTo>
                  <a:lnTo>
                    <a:pt x="42180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7" name="Freeform 91">
              <a:extLst>
                <a:ext uri="{FF2B5EF4-FFF2-40B4-BE49-F238E27FC236}">
                  <a16:creationId xmlns:a16="http://schemas.microsoft.com/office/drawing/2014/main" id="{A301E73F-14BC-8D6E-0347-B5788B85A6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11284" y="2766188"/>
              <a:ext cx="788321" cy="738267"/>
            </a:xfrm>
            <a:custGeom>
              <a:avLst/>
              <a:gdLst>
                <a:gd name="T0" fmla="*/ 642085 w 899753"/>
                <a:gd name="T1" fmla="*/ 505575 h 842602"/>
                <a:gd name="T2" fmla="*/ 781355 w 899753"/>
                <a:gd name="T3" fmla="*/ 645275 h 842602"/>
                <a:gd name="T4" fmla="*/ 838935 w 899753"/>
                <a:gd name="T5" fmla="*/ 505575 h 842602"/>
                <a:gd name="T6" fmla="*/ 506413 w 899753"/>
                <a:gd name="T7" fmla="*/ 449262 h 842602"/>
                <a:gd name="T8" fmla="*/ 899753 w 899753"/>
                <a:gd name="T9" fmla="*/ 449262 h 842602"/>
                <a:gd name="T10" fmla="*/ 784594 w 899753"/>
                <a:gd name="T11" fmla="*/ 728301 h 842602"/>
                <a:gd name="T12" fmla="*/ 506990 w 899753"/>
                <a:gd name="T13" fmla="*/ 61123 h 842602"/>
                <a:gd name="T14" fmla="*/ 506990 w 899753"/>
                <a:gd name="T15" fmla="*/ 336892 h 842602"/>
                <a:gd name="T16" fmla="*/ 783372 w 899753"/>
                <a:gd name="T17" fmla="*/ 336892 h 842602"/>
                <a:gd name="T18" fmla="*/ 506990 w 899753"/>
                <a:gd name="T19" fmla="*/ 61123 h 842602"/>
                <a:gd name="T20" fmla="*/ 394203 w 899753"/>
                <a:gd name="T21" fmla="*/ 55562 h 842602"/>
                <a:gd name="T22" fmla="*/ 394203 w 899753"/>
                <a:gd name="T23" fmla="*/ 449082 h 842602"/>
                <a:gd name="T24" fmla="*/ 672740 w 899753"/>
                <a:gd name="T25" fmla="*/ 727390 h 842602"/>
                <a:gd name="T26" fmla="*/ 394203 w 899753"/>
                <a:gd name="T27" fmla="*/ 842602 h 842602"/>
                <a:gd name="T28" fmla="*/ 0 w 899753"/>
                <a:gd name="T29" fmla="*/ 449082 h 842602"/>
                <a:gd name="T30" fmla="*/ 394203 w 899753"/>
                <a:gd name="T31" fmla="*/ 55562 h 842602"/>
                <a:gd name="T32" fmla="*/ 450850 w 899753"/>
                <a:gd name="T33" fmla="*/ 0 h 842602"/>
                <a:gd name="T34" fmla="*/ 844190 w 899753"/>
                <a:gd name="T35" fmla="*/ 393341 h 842602"/>
                <a:gd name="T36" fmla="*/ 450850 w 899753"/>
                <a:gd name="T37" fmla="*/ 393341 h 84260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899753" h="842602">
                  <a:moveTo>
                    <a:pt x="642085" y="505575"/>
                  </a:moveTo>
                  <a:lnTo>
                    <a:pt x="781355" y="645275"/>
                  </a:lnTo>
                  <a:cubicBezTo>
                    <a:pt x="810865" y="603763"/>
                    <a:pt x="830658" y="556113"/>
                    <a:pt x="838935" y="505575"/>
                  </a:cubicBezTo>
                  <a:lnTo>
                    <a:pt x="642085" y="505575"/>
                  </a:lnTo>
                  <a:close/>
                  <a:moveTo>
                    <a:pt x="506413" y="449262"/>
                  </a:moveTo>
                  <a:lnTo>
                    <a:pt x="899753" y="449262"/>
                  </a:lnTo>
                  <a:cubicBezTo>
                    <a:pt x="899753" y="558279"/>
                    <a:pt x="855849" y="656827"/>
                    <a:pt x="784594" y="728301"/>
                  </a:cubicBezTo>
                  <a:lnTo>
                    <a:pt x="506413" y="449262"/>
                  </a:lnTo>
                  <a:close/>
                  <a:moveTo>
                    <a:pt x="506990" y="61123"/>
                  </a:moveTo>
                  <a:lnTo>
                    <a:pt x="506990" y="336892"/>
                  </a:lnTo>
                  <a:lnTo>
                    <a:pt x="783372" y="336892"/>
                  </a:lnTo>
                  <a:cubicBezTo>
                    <a:pt x="759620" y="195951"/>
                    <a:pt x="648060" y="84493"/>
                    <a:pt x="506990" y="61123"/>
                  </a:cubicBezTo>
                  <a:close/>
                  <a:moveTo>
                    <a:pt x="394203" y="55562"/>
                  </a:moveTo>
                  <a:lnTo>
                    <a:pt x="394203" y="449082"/>
                  </a:lnTo>
                  <a:lnTo>
                    <a:pt x="672740" y="727390"/>
                  </a:lnTo>
                  <a:cubicBezTo>
                    <a:pt x="601394" y="798678"/>
                    <a:pt x="502663" y="842602"/>
                    <a:pt x="394203" y="842602"/>
                  </a:cubicBezTo>
                  <a:cubicBezTo>
                    <a:pt x="176203" y="842602"/>
                    <a:pt x="0" y="666544"/>
                    <a:pt x="0" y="449082"/>
                  </a:cubicBezTo>
                  <a:cubicBezTo>
                    <a:pt x="0" y="231620"/>
                    <a:pt x="176203" y="55562"/>
                    <a:pt x="394203" y="55562"/>
                  </a:cubicBezTo>
                  <a:close/>
                  <a:moveTo>
                    <a:pt x="450850" y="0"/>
                  </a:moveTo>
                  <a:cubicBezTo>
                    <a:pt x="668213" y="0"/>
                    <a:pt x="844190" y="176176"/>
                    <a:pt x="844190" y="393341"/>
                  </a:cubicBezTo>
                  <a:lnTo>
                    <a:pt x="450850" y="393341"/>
                  </a:lnTo>
                  <a:lnTo>
                    <a:pt x="4508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40" name="Shape 9162">
              <a:extLst>
                <a:ext uri="{FF2B5EF4-FFF2-40B4-BE49-F238E27FC236}">
                  <a16:creationId xmlns:a16="http://schemas.microsoft.com/office/drawing/2014/main" id="{949BD3A9-52C9-4D8C-D542-731D434DDF11}"/>
                </a:ext>
              </a:extLst>
            </p:cNvPr>
            <p:cNvSpPr/>
            <p:nvPr/>
          </p:nvSpPr>
          <p:spPr>
            <a:xfrm>
              <a:off x="5005125" y="1798158"/>
              <a:ext cx="2176384" cy="2176386"/>
            </a:xfrm>
            <a:prstGeom prst="ellipse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32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6" name="Freeform 90">
              <a:extLst>
                <a:ext uri="{FF2B5EF4-FFF2-40B4-BE49-F238E27FC236}">
                  <a16:creationId xmlns:a16="http://schemas.microsoft.com/office/drawing/2014/main" id="{A529979E-E7BC-2F51-1940-D9D604F56E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1001" y="2497392"/>
              <a:ext cx="832124" cy="777918"/>
            </a:xfrm>
            <a:custGeom>
              <a:avLst/>
              <a:gdLst>
                <a:gd name="T0" fmla="*/ 619798 w 901340"/>
                <a:gd name="T1" fmla="*/ 730250 h 842602"/>
                <a:gd name="T2" fmla="*/ 845104 w 901340"/>
                <a:gd name="T3" fmla="*/ 730250 h 842602"/>
                <a:gd name="T4" fmla="*/ 901340 w 901340"/>
                <a:gd name="T5" fmla="*/ 786426 h 842602"/>
                <a:gd name="T6" fmla="*/ 901340 w 901340"/>
                <a:gd name="T7" fmla="*/ 842602 h 842602"/>
                <a:gd name="T8" fmla="*/ 563562 w 901340"/>
                <a:gd name="T9" fmla="*/ 842602 h 842602"/>
                <a:gd name="T10" fmla="*/ 563562 w 901340"/>
                <a:gd name="T11" fmla="*/ 786426 h 842602"/>
                <a:gd name="T12" fmla="*/ 56536 w 901340"/>
                <a:gd name="T13" fmla="*/ 730250 h 842602"/>
                <a:gd name="T14" fmla="*/ 281241 w 901340"/>
                <a:gd name="T15" fmla="*/ 730250 h 842602"/>
                <a:gd name="T16" fmla="*/ 337777 w 901340"/>
                <a:gd name="T17" fmla="*/ 786426 h 842602"/>
                <a:gd name="T18" fmla="*/ 337777 w 901340"/>
                <a:gd name="T19" fmla="*/ 842602 h 842602"/>
                <a:gd name="T20" fmla="*/ 0 w 901340"/>
                <a:gd name="T21" fmla="*/ 842602 h 842602"/>
                <a:gd name="T22" fmla="*/ 0 w 901340"/>
                <a:gd name="T23" fmla="*/ 786426 h 842602"/>
                <a:gd name="T24" fmla="*/ 318349 w 901340"/>
                <a:gd name="T25" fmla="*/ 612775 h 842602"/>
                <a:gd name="T26" fmla="*/ 582992 w 901340"/>
                <a:gd name="T27" fmla="*/ 612775 h 842602"/>
                <a:gd name="T28" fmla="*/ 609241 w 901340"/>
                <a:gd name="T29" fmla="*/ 662402 h 842602"/>
                <a:gd name="T30" fmla="*/ 450670 w 901340"/>
                <a:gd name="T31" fmla="*/ 701318 h 842602"/>
                <a:gd name="T32" fmla="*/ 292100 w 901340"/>
                <a:gd name="T33" fmla="*/ 662402 h 842602"/>
                <a:gd name="T34" fmla="*/ 732270 w 901340"/>
                <a:gd name="T35" fmla="*/ 504825 h 842602"/>
                <a:gd name="T36" fmla="*/ 817201 w 901340"/>
                <a:gd name="T37" fmla="*/ 588881 h 842602"/>
                <a:gd name="T38" fmla="*/ 817201 w 901340"/>
                <a:gd name="T39" fmla="*/ 616900 h 842602"/>
                <a:gd name="T40" fmla="*/ 732270 w 901340"/>
                <a:gd name="T41" fmla="*/ 701316 h 842602"/>
                <a:gd name="T42" fmla="*/ 647700 w 901340"/>
                <a:gd name="T43" fmla="*/ 616900 h 842602"/>
                <a:gd name="T44" fmla="*/ 647700 w 901340"/>
                <a:gd name="T45" fmla="*/ 588881 h 842602"/>
                <a:gd name="T46" fmla="*/ 732270 w 901340"/>
                <a:gd name="T47" fmla="*/ 504825 h 842602"/>
                <a:gd name="T48" fmla="*/ 168095 w 901340"/>
                <a:gd name="T49" fmla="*/ 504825 h 842602"/>
                <a:gd name="T50" fmla="*/ 252053 w 901340"/>
                <a:gd name="T51" fmla="*/ 588881 h 842602"/>
                <a:gd name="T52" fmla="*/ 252053 w 901340"/>
                <a:gd name="T53" fmla="*/ 616900 h 842602"/>
                <a:gd name="T54" fmla="*/ 168095 w 901340"/>
                <a:gd name="T55" fmla="*/ 701316 h 842602"/>
                <a:gd name="T56" fmla="*/ 84137 w 901340"/>
                <a:gd name="T57" fmla="*/ 616900 h 842602"/>
                <a:gd name="T58" fmla="*/ 84137 w 901340"/>
                <a:gd name="T59" fmla="*/ 588881 h 842602"/>
                <a:gd name="T60" fmla="*/ 168095 w 901340"/>
                <a:gd name="T61" fmla="*/ 504825 h 842602"/>
                <a:gd name="T62" fmla="*/ 337524 w 901340"/>
                <a:gd name="T63" fmla="*/ 223837 h 842602"/>
                <a:gd name="T64" fmla="*/ 562589 w 901340"/>
                <a:gd name="T65" fmla="*/ 223837 h 842602"/>
                <a:gd name="T66" fmla="*/ 618765 w 901340"/>
                <a:gd name="T67" fmla="*/ 280013 h 842602"/>
                <a:gd name="T68" fmla="*/ 618765 w 901340"/>
                <a:gd name="T69" fmla="*/ 336190 h 842602"/>
                <a:gd name="T70" fmla="*/ 280987 w 901340"/>
                <a:gd name="T71" fmla="*/ 336190 h 842602"/>
                <a:gd name="T72" fmla="*/ 280987 w 901340"/>
                <a:gd name="T73" fmla="*/ 280013 h 842602"/>
                <a:gd name="T74" fmla="*/ 337524 w 901340"/>
                <a:gd name="T75" fmla="*/ 223837 h 842602"/>
                <a:gd name="T76" fmla="*/ 637877 w 901340"/>
                <a:gd name="T77" fmla="*/ 142875 h 842602"/>
                <a:gd name="T78" fmla="*/ 788626 w 901340"/>
                <a:gd name="T79" fmla="*/ 421914 h 842602"/>
                <a:gd name="T80" fmla="*/ 732230 w 901340"/>
                <a:gd name="T81" fmla="*/ 421914 h 842602"/>
                <a:gd name="T82" fmla="*/ 606425 w 901340"/>
                <a:gd name="T83" fmla="*/ 189742 h 842602"/>
                <a:gd name="T84" fmla="*/ 261899 w 901340"/>
                <a:gd name="T85" fmla="*/ 142875 h 842602"/>
                <a:gd name="T86" fmla="*/ 293326 w 901340"/>
                <a:gd name="T87" fmla="*/ 189657 h 842602"/>
                <a:gd name="T88" fmla="*/ 169064 w 901340"/>
                <a:gd name="T89" fmla="*/ 420327 h 842602"/>
                <a:gd name="T90" fmla="*/ 112712 w 901340"/>
                <a:gd name="T91" fmla="*/ 420327 h 842602"/>
                <a:gd name="T92" fmla="*/ 261899 w 901340"/>
                <a:gd name="T93" fmla="*/ 142875 h 842602"/>
                <a:gd name="T94" fmla="*/ 450670 w 901340"/>
                <a:gd name="T95" fmla="*/ 0 h 842602"/>
                <a:gd name="T96" fmla="*/ 534628 w 901340"/>
                <a:gd name="T97" fmla="*/ 84415 h 842602"/>
                <a:gd name="T98" fmla="*/ 534628 w 901340"/>
                <a:gd name="T99" fmla="*/ 112434 h 842602"/>
                <a:gd name="T100" fmla="*/ 450670 w 901340"/>
                <a:gd name="T101" fmla="*/ 196491 h 842602"/>
                <a:gd name="T102" fmla="*/ 366712 w 901340"/>
                <a:gd name="T103" fmla="*/ 112434 h 842602"/>
                <a:gd name="T104" fmla="*/ 366712 w 901340"/>
                <a:gd name="T105" fmla="*/ 84415 h 842602"/>
                <a:gd name="T106" fmla="*/ 450670 w 901340"/>
                <a:gd name="T107" fmla="*/ 0 h 84260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901340" h="842602">
                  <a:moveTo>
                    <a:pt x="619798" y="730250"/>
                  </a:moveTo>
                  <a:lnTo>
                    <a:pt x="845104" y="730250"/>
                  </a:lnTo>
                  <a:cubicBezTo>
                    <a:pt x="867093" y="752216"/>
                    <a:pt x="879350" y="764460"/>
                    <a:pt x="901340" y="786426"/>
                  </a:cubicBezTo>
                  <a:lnTo>
                    <a:pt x="901340" y="842602"/>
                  </a:lnTo>
                  <a:lnTo>
                    <a:pt x="563562" y="842602"/>
                  </a:lnTo>
                  <a:lnTo>
                    <a:pt x="563562" y="786426"/>
                  </a:lnTo>
                  <a:lnTo>
                    <a:pt x="619798" y="730250"/>
                  </a:lnTo>
                  <a:close/>
                  <a:moveTo>
                    <a:pt x="56536" y="730250"/>
                  </a:moveTo>
                  <a:lnTo>
                    <a:pt x="281241" y="730250"/>
                  </a:lnTo>
                  <a:lnTo>
                    <a:pt x="337777" y="786426"/>
                  </a:lnTo>
                  <a:lnTo>
                    <a:pt x="337777" y="842602"/>
                  </a:lnTo>
                  <a:lnTo>
                    <a:pt x="0" y="842602"/>
                  </a:lnTo>
                  <a:lnTo>
                    <a:pt x="0" y="786426"/>
                  </a:lnTo>
                  <a:lnTo>
                    <a:pt x="56536" y="730250"/>
                  </a:lnTo>
                  <a:close/>
                  <a:moveTo>
                    <a:pt x="318349" y="612775"/>
                  </a:moveTo>
                  <a:cubicBezTo>
                    <a:pt x="399252" y="655618"/>
                    <a:pt x="502089" y="655618"/>
                    <a:pt x="582992" y="612775"/>
                  </a:cubicBezTo>
                  <a:lnTo>
                    <a:pt x="609241" y="662402"/>
                  </a:lnTo>
                  <a:cubicBezTo>
                    <a:pt x="561058" y="687751"/>
                    <a:pt x="506044" y="701318"/>
                    <a:pt x="450670" y="701318"/>
                  </a:cubicBezTo>
                  <a:cubicBezTo>
                    <a:pt x="395297" y="701318"/>
                    <a:pt x="340642" y="687751"/>
                    <a:pt x="292100" y="662402"/>
                  </a:cubicBezTo>
                  <a:lnTo>
                    <a:pt x="318349" y="612775"/>
                  </a:lnTo>
                  <a:close/>
                  <a:moveTo>
                    <a:pt x="732270" y="504825"/>
                  </a:moveTo>
                  <a:cubicBezTo>
                    <a:pt x="778892" y="504825"/>
                    <a:pt x="817201" y="542542"/>
                    <a:pt x="817201" y="588881"/>
                  </a:cubicBezTo>
                  <a:lnTo>
                    <a:pt x="817201" y="616900"/>
                  </a:lnTo>
                  <a:cubicBezTo>
                    <a:pt x="817201" y="663598"/>
                    <a:pt x="778892" y="701316"/>
                    <a:pt x="732270" y="701316"/>
                  </a:cubicBezTo>
                  <a:cubicBezTo>
                    <a:pt x="685648" y="701316"/>
                    <a:pt x="647700" y="663598"/>
                    <a:pt x="647700" y="616900"/>
                  </a:cubicBezTo>
                  <a:lnTo>
                    <a:pt x="647700" y="588881"/>
                  </a:lnTo>
                  <a:cubicBezTo>
                    <a:pt x="647700" y="542542"/>
                    <a:pt x="685648" y="504825"/>
                    <a:pt x="732270" y="504825"/>
                  </a:cubicBezTo>
                  <a:close/>
                  <a:moveTo>
                    <a:pt x="168095" y="504825"/>
                  </a:moveTo>
                  <a:cubicBezTo>
                    <a:pt x="214739" y="504825"/>
                    <a:pt x="252053" y="542542"/>
                    <a:pt x="252053" y="588881"/>
                  </a:cubicBezTo>
                  <a:lnTo>
                    <a:pt x="252053" y="616900"/>
                  </a:lnTo>
                  <a:cubicBezTo>
                    <a:pt x="252053" y="663598"/>
                    <a:pt x="214739" y="701316"/>
                    <a:pt x="168095" y="701316"/>
                  </a:cubicBezTo>
                  <a:cubicBezTo>
                    <a:pt x="121811" y="701316"/>
                    <a:pt x="84137" y="663598"/>
                    <a:pt x="84137" y="616900"/>
                  </a:cubicBezTo>
                  <a:lnTo>
                    <a:pt x="84137" y="588881"/>
                  </a:lnTo>
                  <a:cubicBezTo>
                    <a:pt x="84137" y="542542"/>
                    <a:pt x="121811" y="504825"/>
                    <a:pt x="168095" y="504825"/>
                  </a:cubicBezTo>
                  <a:close/>
                  <a:moveTo>
                    <a:pt x="337524" y="223837"/>
                  </a:moveTo>
                  <a:lnTo>
                    <a:pt x="562589" y="223837"/>
                  </a:lnTo>
                  <a:cubicBezTo>
                    <a:pt x="584555" y="245803"/>
                    <a:pt x="596799" y="258407"/>
                    <a:pt x="618765" y="280013"/>
                  </a:cubicBezTo>
                  <a:lnTo>
                    <a:pt x="618765" y="336190"/>
                  </a:lnTo>
                  <a:lnTo>
                    <a:pt x="280987" y="336190"/>
                  </a:lnTo>
                  <a:lnTo>
                    <a:pt x="280987" y="280013"/>
                  </a:lnTo>
                  <a:cubicBezTo>
                    <a:pt x="302954" y="258407"/>
                    <a:pt x="315557" y="245803"/>
                    <a:pt x="337524" y="223837"/>
                  </a:cubicBezTo>
                  <a:close/>
                  <a:moveTo>
                    <a:pt x="637877" y="142875"/>
                  </a:moveTo>
                  <a:cubicBezTo>
                    <a:pt x="732230" y="205605"/>
                    <a:pt x="788626" y="309794"/>
                    <a:pt x="788626" y="421914"/>
                  </a:cubicBezTo>
                  <a:lnTo>
                    <a:pt x="732230" y="421914"/>
                  </a:lnTo>
                  <a:cubicBezTo>
                    <a:pt x="732230" y="328901"/>
                    <a:pt x="685234" y="242017"/>
                    <a:pt x="606425" y="189742"/>
                  </a:cubicBezTo>
                  <a:lnTo>
                    <a:pt x="637877" y="142875"/>
                  </a:lnTo>
                  <a:close/>
                  <a:moveTo>
                    <a:pt x="261899" y="142875"/>
                  </a:moveTo>
                  <a:lnTo>
                    <a:pt x="293326" y="189657"/>
                  </a:lnTo>
                  <a:cubicBezTo>
                    <a:pt x="215301" y="241477"/>
                    <a:pt x="169064" y="327843"/>
                    <a:pt x="169064" y="420327"/>
                  </a:cubicBezTo>
                  <a:lnTo>
                    <a:pt x="112712" y="420327"/>
                  </a:lnTo>
                  <a:cubicBezTo>
                    <a:pt x="112712" y="309130"/>
                    <a:pt x="168341" y="205491"/>
                    <a:pt x="261899" y="142875"/>
                  </a:cubicBezTo>
                  <a:close/>
                  <a:moveTo>
                    <a:pt x="450670" y="0"/>
                  </a:moveTo>
                  <a:cubicBezTo>
                    <a:pt x="496955" y="0"/>
                    <a:pt x="534628" y="37717"/>
                    <a:pt x="534628" y="84415"/>
                  </a:cubicBezTo>
                  <a:lnTo>
                    <a:pt x="534628" y="112434"/>
                  </a:lnTo>
                  <a:cubicBezTo>
                    <a:pt x="534628" y="158773"/>
                    <a:pt x="496955" y="196491"/>
                    <a:pt x="450670" y="196491"/>
                  </a:cubicBezTo>
                  <a:cubicBezTo>
                    <a:pt x="404386" y="196491"/>
                    <a:pt x="366712" y="158773"/>
                    <a:pt x="366712" y="112434"/>
                  </a:cubicBezTo>
                  <a:lnTo>
                    <a:pt x="366712" y="84415"/>
                  </a:lnTo>
                  <a:cubicBezTo>
                    <a:pt x="366712" y="37717"/>
                    <a:pt x="404386" y="0"/>
                    <a:pt x="45067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BBE2FB4F-6681-8D3E-B26C-22119A33F0CD}"/>
                </a:ext>
              </a:extLst>
            </p:cNvPr>
            <p:cNvSpPr txBox="1"/>
            <p:nvPr/>
          </p:nvSpPr>
          <p:spPr>
            <a:xfrm>
              <a:off x="1333366" y="4175711"/>
              <a:ext cx="175080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ANALIZA 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STRATEGICZNA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3DBAF16-AA3A-A617-A0DF-B2B6892FFA20}"/>
                </a:ext>
              </a:extLst>
            </p:cNvPr>
            <p:cNvSpPr txBox="1"/>
            <p:nvPr/>
          </p:nvSpPr>
          <p:spPr>
            <a:xfrm>
              <a:off x="4143828" y="4175711"/>
              <a:ext cx="131318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WARTOŚĆI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A721CA3D-D911-5994-B40F-FEED767786B5}"/>
                </a:ext>
              </a:extLst>
            </p:cNvPr>
            <p:cNvSpPr txBox="1"/>
            <p:nvPr/>
          </p:nvSpPr>
          <p:spPr>
            <a:xfrm>
              <a:off x="6536910" y="4175711"/>
              <a:ext cx="1710725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CELE 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STRATEGICZNE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C0E63BF2-F0F5-68FA-3FF3-8B81FA1F3E96}"/>
                </a:ext>
              </a:extLst>
            </p:cNvPr>
            <p:cNvSpPr txBox="1"/>
            <p:nvPr/>
          </p:nvSpPr>
          <p:spPr>
            <a:xfrm>
              <a:off x="2680270" y="5060294"/>
              <a:ext cx="16466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MISJA I WIZJA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68207F5D-8028-AB70-7498-24D2A4F377EA}"/>
                </a:ext>
              </a:extLst>
            </p:cNvPr>
            <p:cNvSpPr txBox="1"/>
            <p:nvPr/>
          </p:nvSpPr>
          <p:spPr>
            <a:xfrm>
              <a:off x="5328528" y="5060294"/>
              <a:ext cx="1529586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OBSZARY 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STRAGICZNE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(FILARY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PRIORYTETY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AD715ECF-44F4-8E1A-3C08-D01AC33572AC}"/>
                </a:ext>
              </a:extLst>
            </p:cNvPr>
            <p:cNvSpPr txBox="1"/>
            <p:nvPr/>
          </p:nvSpPr>
          <p:spPr>
            <a:xfrm>
              <a:off x="7579914" y="5060294"/>
              <a:ext cx="222208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CELE 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OPERACYJNE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(+WSKAŹNIKI - KPI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0854906B-EC51-8217-2C4C-AB78664A407C}"/>
                </a:ext>
              </a:extLst>
            </p:cNvPr>
            <p:cNvSpPr txBox="1"/>
            <p:nvPr/>
          </p:nvSpPr>
          <p:spPr>
            <a:xfrm>
              <a:off x="8863383" y="4175711"/>
              <a:ext cx="2239716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HARMONOGRAM</a:t>
              </a:r>
            </a:p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C2835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(KAMIENIE MILOWE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C283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B5FB710A-6478-02BF-A439-ACC969C25089}"/>
              </a:ext>
            </a:extLst>
          </p:cNvPr>
          <p:cNvSpPr txBox="1"/>
          <p:nvPr/>
        </p:nvSpPr>
        <p:spPr>
          <a:xfrm>
            <a:off x="359151" y="4543502"/>
            <a:ext cx="1418184" cy="260654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naliza </a:t>
            </a:r>
            <a:r>
              <a:rPr kumimoji="0" lang="pl-PL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krootoczenia</a:t>
            </a: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PEST)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naliza mikrootoczenia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5 sił portera)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naliza organizacji/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yscypliny </a:t>
            </a: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SWOT)</a:t>
            </a:r>
          </a:p>
          <a:p>
            <a:pPr marL="0" marR="0" lvl="0" indent="0" algn="ctr" defTabSz="914217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3942">
                  <a:lumMod val="50000"/>
                </a:srgbClr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7CBAEFE5-3C75-184F-6419-DF496C9D3F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4890" y="2182203"/>
            <a:ext cx="1859598" cy="1859598"/>
          </a:xfrm>
          <a:prstGeom prst="rect">
            <a:avLst/>
          </a:prstGeom>
        </p:spPr>
      </p:pic>
      <p:pic>
        <p:nvPicPr>
          <p:cNvPr id="4" name="Obraz 3">
            <a:extLst>
              <a:ext uri="{FF2B5EF4-FFF2-40B4-BE49-F238E27FC236}">
                <a16:creationId xmlns:a16="http://schemas.microsoft.com/office/drawing/2014/main" id="{87D2D66B-3BA4-F349-174A-FB1688A649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99187" y="4865988"/>
            <a:ext cx="174852" cy="174852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35A15E86-D411-2BD5-27FE-349407020B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05959" y="2843993"/>
            <a:ext cx="725487" cy="774259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EF91BCE9-5712-3A0C-883A-43C37F61085E}"/>
              </a:ext>
            </a:extLst>
          </p:cNvPr>
          <p:cNvSpPr txBox="1"/>
          <p:nvPr/>
        </p:nvSpPr>
        <p:spPr>
          <a:xfrm>
            <a:off x="10050999" y="5194727"/>
            <a:ext cx="1646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rgbClr val="303942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UNIKACJA</a:t>
            </a: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67F543A3-2331-0685-7A57-0DD8F879FEEF}"/>
              </a:ext>
            </a:extLst>
          </p:cNvPr>
          <p:cNvSpPr txBox="1"/>
          <p:nvPr/>
        </p:nvSpPr>
        <p:spPr>
          <a:xfrm>
            <a:off x="9448800" y="6424341"/>
            <a:ext cx="3175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>
                <a:solidFill>
                  <a:schemeClr val="tx2"/>
                </a:solidFill>
              </a:rPr>
              <a:t>Źródło: opracowanie własne</a:t>
            </a:r>
          </a:p>
        </p:txBody>
      </p:sp>
    </p:spTree>
    <p:extLst>
      <p:ext uri="{BB962C8B-B14F-4D97-AF65-F5344CB8AC3E}">
        <p14:creationId xmlns:p14="http://schemas.microsoft.com/office/powerpoint/2010/main" val="9034475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9A71B42-BFCC-0447-335C-E96F64A098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E374D6C7-09FF-52C8-56D6-0E811CA4B4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9A49668-03E0-18FB-5A07-5EFC966074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1551CC15-07C0-8484-63A2-A712A48D67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3407" y="992094"/>
            <a:ext cx="4489257" cy="2795160"/>
          </a:xfrm>
        </p:spPr>
        <p:txBody>
          <a:bodyPr>
            <a:normAutofit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HARMONOGRAM</a:t>
            </a:r>
            <a:b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(KAMIENIE MILOWE)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5BB5C11F-DB1B-8DD0-C9F7-F80ECABD9BB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6287" y="4121253"/>
            <a:ext cx="3125337" cy="1136843"/>
          </a:xfrm>
        </p:spPr>
        <p:txBody>
          <a:bodyPr>
            <a:normAutofit/>
          </a:bodyPr>
          <a:lstStyle/>
          <a:p>
            <a:endParaRPr lang="pl-PL" sz="180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CA457EE4-BFE8-AED9-B6B6-EF8B1A8AA2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1870" y="0"/>
            <a:ext cx="519034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9024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4772CA-7B92-3D3E-B0A1-2A6BAA4542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E9AC9AA1-55A2-6143-C2C5-9FCFAF4A89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91B54E3-401C-2194-0595-78F5071481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1EE6B8DA-5BF4-D78F-5665-7103BC4CB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3407" y="992094"/>
            <a:ext cx="4489257" cy="2795160"/>
          </a:xfrm>
        </p:spPr>
        <p:txBody>
          <a:bodyPr>
            <a:normAutofit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KOMUNIKACJA</a:t>
            </a:r>
            <a:b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 I PROMOCJA OSIĄGNIĘĆ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271CF32C-9F94-F5AE-15B0-D316574D21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6287" y="4121253"/>
            <a:ext cx="3125337" cy="1136843"/>
          </a:xfrm>
        </p:spPr>
        <p:txBody>
          <a:bodyPr>
            <a:normAutofit/>
          </a:bodyPr>
          <a:lstStyle/>
          <a:p>
            <a:endParaRPr lang="pl-PL" sz="1800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7A36884F-6077-D57F-8D05-BF66D00854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333733"/>
            <a:ext cx="5143993" cy="3423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6497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23CB22A-0E13-8D32-140B-E44F659FE4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1B7577F6-B476-2B4F-7556-EB5E5DD667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2E46EF4-5FB3-AF96-42EE-2D74748BC0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9E081ED8-E978-68F3-9DCE-333CAE8E05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3408" y="992094"/>
            <a:ext cx="4080694" cy="2795160"/>
          </a:xfrm>
        </p:spPr>
        <p:txBody>
          <a:bodyPr>
            <a:normAutofit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Plan działania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4643B434-E2AD-0B76-E07F-221C88D012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6287" y="4121253"/>
            <a:ext cx="3125337" cy="1136843"/>
          </a:xfrm>
        </p:spPr>
        <p:txBody>
          <a:bodyPr>
            <a:normAutofit/>
          </a:bodyPr>
          <a:lstStyle/>
          <a:p>
            <a:endParaRPr lang="pl-PL" sz="1800"/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FFA303B0-ABE2-CA35-7B63-5B036D4118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4651" y="0"/>
            <a:ext cx="516478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81642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BE3CA33-B158-17AF-04AA-793E4ADE0B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C5524424-1C63-177E-91AF-5FEE278FB8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AF6083E5-AF59-3B36-2266-38459C6DE1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894C27CC-8807-6F7D-040F-371FA62BA9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9533" y="261495"/>
            <a:ext cx="4080694" cy="785906"/>
          </a:xfrm>
        </p:spPr>
        <p:txBody>
          <a:bodyPr>
            <a:normAutofit fontScale="90000"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PLAN DZIAŁANIA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F381C26C-5697-98E8-782E-A6039E4BAA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6287" y="4121253"/>
            <a:ext cx="3125337" cy="1136843"/>
          </a:xfrm>
        </p:spPr>
        <p:txBody>
          <a:bodyPr>
            <a:normAutofit/>
          </a:bodyPr>
          <a:lstStyle/>
          <a:p>
            <a:endParaRPr lang="pl-PL" sz="1800"/>
          </a:p>
        </p:txBody>
      </p:sp>
      <p:pic>
        <p:nvPicPr>
          <p:cNvPr id="7" name="Obraz 6" descr="Obraz zawierający tekst, zrzut ekranu, Czcionka, diagram&#10;&#10;Zawartość wygenerowana przez AI może być niepoprawna.">
            <a:extLst>
              <a:ext uri="{FF2B5EF4-FFF2-40B4-BE49-F238E27FC236}">
                <a16:creationId xmlns:a16="http://schemas.microsoft.com/office/drawing/2014/main" id="{8C2F1804-43A9-1B30-902F-287B9A30A4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6933" y="1244599"/>
            <a:ext cx="10275854" cy="5370181"/>
          </a:xfrm>
          <a:prstGeom prst="rect">
            <a:avLst/>
          </a:prstGeom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id="{7E17BEB5-172F-9755-6583-9194232C702E}"/>
              </a:ext>
            </a:extLst>
          </p:cNvPr>
          <p:cNvSpPr txBox="1"/>
          <p:nvPr/>
        </p:nvSpPr>
        <p:spPr>
          <a:xfrm>
            <a:off x="9237478" y="6476280"/>
            <a:ext cx="263991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 dirty="0"/>
              <a:t>Źródło: dokument wewnętrzny PZLA</a:t>
            </a:r>
          </a:p>
        </p:txBody>
      </p:sp>
    </p:spTree>
    <p:extLst>
      <p:ext uri="{BB962C8B-B14F-4D97-AF65-F5344CB8AC3E}">
        <p14:creationId xmlns:p14="http://schemas.microsoft.com/office/powerpoint/2010/main" val="22534677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>
            <a:extLst>
              <a:ext uri="{FF2B5EF4-FFF2-40B4-BE49-F238E27FC236}">
                <a16:creationId xmlns:a16="http://schemas.microsoft.com/office/drawing/2014/main" id="{E9B5D6E6-2335-0FBD-3B7F-08328BD6C9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6987" y="3955089"/>
            <a:ext cx="1452199" cy="973365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94254010-E171-E547-96F6-02B0A241758D}"/>
              </a:ext>
            </a:extLst>
          </p:cNvPr>
          <p:cNvSpPr txBox="1"/>
          <p:nvPr/>
        </p:nvSpPr>
        <p:spPr>
          <a:xfrm>
            <a:off x="2212933" y="26591"/>
            <a:ext cx="729879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217"/>
            <a:r>
              <a:rPr lang="pl-PL" sz="3000" b="1" dirty="0">
                <a:solidFill>
                  <a:srgbClr val="1C2835"/>
                </a:solidFill>
                <a:latin typeface="Poppins" pitchFamily="2" charset="77"/>
                <a:cs typeface="Poppins" pitchFamily="2" charset="77"/>
              </a:rPr>
              <a:t>MASTER PLAN ROZWOJU </a:t>
            </a:r>
          </a:p>
          <a:p>
            <a:pPr algn="ctr" defTabSz="914217"/>
            <a:r>
              <a:rPr lang="pl-PL" sz="3000" b="1" dirty="0">
                <a:solidFill>
                  <a:srgbClr val="1C2835"/>
                </a:solidFill>
                <a:latin typeface="Poppins" pitchFamily="2" charset="77"/>
                <a:cs typeface="Poppins" pitchFamily="2" charset="77"/>
              </a:rPr>
              <a:t>POLSKICH ZWIĄZKÓW SPORTOWYCH</a:t>
            </a:r>
            <a:endParaRPr lang="en-US" sz="3000" b="1" dirty="0">
              <a:solidFill>
                <a:srgbClr val="1C2835"/>
              </a:solidFill>
              <a:latin typeface="Poppins" pitchFamily="2" charset="77"/>
              <a:cs typeface="Poppins" pitchFamily="2" charset="77"/>
            </a:endParaRPr>
          </a:p>
        </p:txBody>
      </p:sp>
      <p:grpSp>
        <p:nvGrpSpPr>
          <p:cNvPr id="3" name="Grupa 2">
            <a:extLst>
              <a:ext uri="{FF2B5EF4-FFF2-40B4-BE49-F238E27FC236}">
                <a16:creationId xmlns:a16="http://schemas.microsoft.com/office/drawing/2014/main" id="{601433DA-6817-AFA9-B91C-438991511778}"/>
              </a:ext>
            </a:extLst>
          </p:cNvPr>
          <p:cNvGrpSpPr/>
          <p:nvPr/>
        </p:nvGrpSpPr>
        <p:grpSpPr>
          <a:xfrm>
            <a:off x="289162" y="1447529"/>
            <a:ext cx="9987086" cy="4645468"/>
            <a:chOff x="1116013" y="1492044"/>
            <a:chExt cx="9987086" cy="4645468"/>
          </a:xfrm>
        </p:grpSpPr>
        <p:sp>
          <p:nvSpPr>
            <p:cNvPr id="50" name="Shape 9155">
              <a:extLst>
                <a:ext uri="{FF2B5EF4-FFF2-40B4-BE49-F238E27FC236}">
                  <a16:creationId xmlns:a16="http://schemas.microsoft.com/office/drawing/2014/main" id="{C4CD8DC9-9653-B742-97C0-61A63933F6C9}"/>
                </a:ext>
              </a:extLst>
            </p:cNvPr>
            <p:cNvSpPr/>
            <p:nvPr/>
          </p:nvSpPr>
          <p:spPr>
            <a:xfrm>
              <a:off x="7575670" y="2197032"/>
              <a:ext cx="1859597" cy="1859599"/>
            </a:xfrm>
            <a:prstGeom prst="ellipse">
              <a:avLst/>
            </a:prstGeom>
            <a:solidFill>
              <a:schemeClr val="accent6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914217"/>
              <a:endParaRPr sz="2532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49" name="Shape 9155">
              <a:extLst>
                <a:ext uri="{FF2B5EF4-FFF2-40B4-BE49-F238E27FC236}">
                  <a16:creationId xmlns:a16="http://schemas.microsoft.com/office/drawing/2014/main" id="{8A828F3B-2E01-D14A-82BB-D631E74CF3A6}"/>
                </a:ext>
              </a:extLst>
            </p:cNvPr>
            <p:cNvSpPr/>
            <p:nvPr/>
          </p:nvSpPr>
          <p:spPr>
            <a:xfrm>
              <a:off x="2633515" y="2197032"/>
              <a:ext cx="1859597" cy="1859599"/>
            </a:xfrm>
            <a:prstGeom prst="ellipse">
              <a:avLst/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914217"/>
              <a:endParaRPr sz="2532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44" name="Shape 9155">
              <a:extLst>
                <a:ext uri="{FF2B5EF4-FFF2-40B4-BE49-F238E27FC236}">
                  <a16:creationId xmlns:a16="http://schemas.microsoft.com/office/drawing/2014/main" id="{11DC38E9-5B18-CB48-BB7E-3DF19FAE4312}"/>
                </a:ext>
              </a:extLst>
            </p:cNvPr>
            <p:cNvSpPr/>
            <p:nvPr/>
          </p:nvSpPr>
          <p:spPr>
            <a:xfrm>
              <a:off x="6464308" y="1492044"/>
              <a:ext cx="1859597" cy="1859599"/>
            </a:xfrm>
            <a:prstGeom prst="ellipse">
              <a:avLst/>
            </a:pr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914217"/>
              <a:endParaRPr sz="2532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42" name="Shape 9159">
              <a:extLst>
                <a:ext uri="{FF2B5EF4-FFF2-40B4-BE49-F238E27FC236}">
                  <a16:creationId xmlns:a16="http://schemas.microsoft.com/office/drawing/2014/main" id="{A6A634F1-8F99-8C43-ACD7-E038048A116B}"/>
                </a:ext>
              </a:extLst>
            </p:cNvPr>
            <p:cNvSpPr/>
            <p:nvPr/>
          </p:nvSpPr>
          <p:spPr>
            <a:xfrm>
              <a:off x="3892929" y="1492044"/>
              <a:ext cx="1859597" cy="1859598"/>
            </a:xfrm>
            <a:prstGeom prst="ellipse">
              <a:avLst/>
            </a:pr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914217"/>
              <a:endParaRPr sz="2532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38" name="Shape 9165">
              <a:extLst>
                <a:ext uri="{FF2B5EF4-FFF2-40B4-BE49-F238E27FC236}">
                  <a16:creationId xmlns:a16="http://schemas.microsoft.com/office/drawing/2014/main" id="{4B3AED8B-99DE-1E45-BA07-D595F0BC29B9}"/>
                </a:ext>
              </a:extLst>
            </p:cNvPr>
            <p:cNvSpPr/>
            <p:nvPr/>
          </p:nvSpPr>
          <p:spPr>
            <a:xfrm>
              <a:off x="8899605" y="1492044"/>
              <a:ext cx="2176383" cy="2176386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914217"/>
              <a:endParaRPr sz="2532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36" name="Shape 9168">
              <a:extLst>
                <a:ext uri="{FF2B5EF4-FFF2-40B4-BE49-F238E27FC236}">
                  <a16:creationId xmlns:a16="http://schemas.microsoft.com/office/drawing/2014/main" id="{6A12290F-1C35-8B46-886E-E5ADB5447606}"/>
                </a:ext>
              </a:extLst>
            </p:cNvPr>
            <p:cNvSpPr/>
            <p:nvPr/>
          </p:nvSpPr>
          <p:spPr>
            <a:xfrm>
              <a:off x="1116013" y="1492044"/>
              <a:ext cx="2181425" cy="2181428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914217"/>
              <a:endParaRPr sz="2532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15" name="Shape 9180">
              <a:extLst>
                <a:ext uri="{FF2B5EF4-FFF2-40B4-BE49-F238E27FC236}">
                  <a16:creationId xmlns:a16="http://schemas.microsoft.com/office/drawing/2014/main" id="{05C8ACEB-AE71-1542-9806-BDBC5F977535}"/>
                </a:ext>
              </a:extLst>
            </p:cNvPr>
            <p:cNvSpPr/>
            <p:nvPr/>
          </p:nvSpPr>
          <p:spPr>
            <a:xfrm>
              <a:off x="2116042" y="3846520"/>
              <a:ext cx="181366" cy="181367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217"/>
              <a:endParaRPr sz="2532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16" name="Shape 9181">
              <a:extLst>
                <a:ext uri="{FF2B5EF4-FFF2-40B4-BE49-F238E27FC236}">
                  <a16:creationId xmlns:a16="http://schemas.microsoft.com/office/drawing/2014/main" id="{A04F9FA3-F475-5943-85C3-8CAFC23F8948}"/>
                </a:ext>
              </a:extLst>
            </p:cNvPr>
            <p:cNvSpPr/>
            <p:nvPr/>
          </p:nvSpPr>
          <p:spPr>
            <a:xfrm>
              <a:off x="4709733" y="3846520"/>
              <a:ext cx="181367" cy="181367"/>
            </a:xfrm>
            <a:prstGeom prst="ellipse">
              <a:avLst/>
            </a:pr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217"/>
              <a:endParaRPr sz="2532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17" name="Shape 9182">
              <a:extLst>
                <a:ext uri="{FF2B5EF4-FFF2-40B4-BE49-F238E27FC236}">
                  <a16:creationId xmlns:a16="http://schemas.microsoft.com/office/drawing/2014/main" id="{C2259212-2B5A-B244-803D-D40879FED653}"/>
                </a:ext>
              </a:extLst>
            </p:cNvPr>
            <p:cNvSpPr/>
            <p:nvPr/>
          </p:nvSpPr>
          <p:spPr>
            <a:xfrm>
              <a:off x="9897116" y="3846520"/>
              <a:ext cx="181367" cy="18136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217"/>
              <a:endParaRPr sz="2532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18" name="Shape 9183">
              <a:extLst>
                <a:ext uri="{FF2B5EF4-FFF2-40B4-BE49-F238E27FC236}">
                  <a16:creationId xmlns:a16="http://schemas.microsoft.com/office/drawing/2014/main" id="{68EB25EA-26EA-4244-A4E0-FA8BAED1D44D}"/>
                </a:ext>
              </a:extLst>
            </p:cNvPr>
            <p:cNvSpPr/>
            <p:nvPr/>
          </p:nvSpPr>
          <p:spPr>
            <a:xfrm>
              <a:off x="7303425" y="3846520"/>
              <a:ext cx="181367" cy="181367"/>
            </a:xfrm>
            <a:prstGeom prst="ellipse">
              <a:avLst/>
            </a:pr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217"/>
              <a:endParaRPr sz="2532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19" name="Shape 9184">
              <a:extLst>
                <a:ext uri="{FF2B5EF4-FFF2-40B4-BE49-F238E27FC236}">
                  <a16:creationId xmlns:a16="http://schemas.microsoft.com/office/drawing/2014/main" id="{690E076E-80FA-2D45-9423-CC58406D83A3}"/>
                </a:ext>
              </a:extLst>
            </p:cNvPr>
            <p:cNvSpPr/>
            <p:nvPr/>
          </p:nvSpPr>
          <p:spPr>
            <a:xfrm>
              <a:off x="3412887" y="4704075"/>
              <a:ext cx="181367" cy="181367"/>
            </a:xfrm>
            <a:prstGeom prst="ellipse">
              <a:avLst/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217"/>
              <a:endParaRPr sz="2532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20" name="Shape 9185">
              <a:extLst>
                <a:ext uri="{FF2B5EF4-FFF2-40B4-BE49-F238E27FC236}">
                  <a16:creationId xmlns:a16="http://schemas.microsoft.com/office/drawing/2014/main" id="{9D5C10C1-2136-004E-90C9-788FB73016C7}"/>
                </a:ext>
              </a:extLst>
            </p:cNvPr>
            <p:cNvSpPr/>
            <p:nvPr/>
          </p:nvSpPr>
          <p:spPr>
            <a:xfrm>
              <a:off x="6006579" y="4704075"/>
              <a:ext cx="181367" cy="181367"/>
            </a:xfrm>
            <a:prstGeom prst="ellipse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217"/>
              <a:endParaRPr sz="2532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21" name="Shape 9186">
              <a:extLst>
                <a:ext uri="{FF2B5EF4-FFF2-40B4-BE49-F238E27FC236}">
                  <a16:creationId xmlns:a16="http://schemas.microsoft.com/office/drawing/2014/main" id="{CBB54949-1ACD-1E4C-9D1C-12CA007DF67A}"/>
                </a:ext>
              </a:extLst>
            </p:cNvPr>
            <p:cNvSpPr/>
            <p:nvPr/>
          </p:nvSpPr>
          <p:spPr>
            <a:xfrm>
              <a:off x="8600270" y="4704075"/>
              <a:ext cx="181367" cy="181367"/>
            </a:xfrm>
            <a:prstGeom prst="ellipse">
              <a:avLst/>
            </a:prstGeom>
            <a:solidFill>
              <a:schemeClr val="accent6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217"/>
              <a:endParaRPr sz="2532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9" name="Shape 9188">
              <a:extLst>
                <a:ext uri="{FF2B5EF4-FFF2-40B4-BE49-F238E27FC236}">
                  <a16:creationId xmlns:a16="http://schemas.microsoft.com/office/drawing/2014/main" id="{1A66FA81-4D89-A34C-90CB-2F2B7C066680}"/>
                </a:ext>
              </a:extLst>
            </p:cNvPr>
            <p:cNvSpPr/>
            <p:nvPr/>
          </p:nvSpPr>
          <p:spPr>
            <a:xfrm>
              <a:off x="2301481" y="3999087"/>
              <a:ext cx="1111406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914217"/>
              <a:endParaRPr sz="2532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10" name="Shape 9189">
              <a:extLst>
                <a:ext uri="{FF2B5EF4-FFF2-40B4-BE49-F238E27FC236}">
                  <a16:creationId xmlns:a16="http://schemas.microsoft.com/office/drawing/2014/main" id="{C15D6289-87BF-FE43-899D-990C529B9DA7}"/>
                </a:ext>
              </a:extLst>
            </p:cNvPr>
            <p:cNvSpPr/>
            <p:nvPr/>
          </p:nvSpPr>
          <p:spPr>
            <a:xfrm flipV="1">
              <a:off x="3598326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914217"/>
              <a:endParaRPr sz="2532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11" name="Shape 9190">
              <a:extLst>
                <a:ext uri="{FF2B5EF4-FFF2-40B4-BE49-F238E27FC236}">
                  <a16:creationId xmlns:a16="http://schemas.microsoft.com/office/drawing/2014/main" id="{9E7CA686-63F7-3A4E-A1C7-955288C70C3E}"/>
                </a:ext>
              </a:extLst>
            </p:cNvPr>
            <p:cNvSpPr/>
            <p:nvPr/>
          </p:nvSpPr>
          <p:spPr>
            <a:xfrm>
              <a:off x="4895172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914217"/>
              <a:endParaRPr sz="2532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12" name="Shape 9191">
              <a:extLst>
                <a:ext uri="{FF2B5EF4-FFF2-40B4-BE49-F238E27FC236}">
                  <a16:creationId xmlns:a16="http://schemas.microsoft.com/office/drawing/2014/main" id="{F77ACBD5-4267-214F-9966-586304BF7B64}"/>
                </a:ext>
              </a:extLst>
            </p:cNvPr>
            <p:cNvSpPr/>
            <p:nvPr/>
          </p:nvSpPr>
          <p:spPr>
            <a:xfrm flipV="1">
              <a:off x="6192018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914217"/>
              <a:endParaRPr sz="2532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13" name="Shape 9192">
              <a:extLst>
                <a:ext uri="{FF2B5EF4-FFF2-40B4-BE49-F238E27FC236}">
                  <a16:creationId xmlns:a16="http://schemas.microsoft.com/office/drawing/2014/main" id="{195E67E2-70A2-1845-B284-097F3C8023FF}"/>
                </a:ext>
              </a:extLst>
            </p:cNvPr>
            <p:cNvSpPr/>
            <p:nvPr/>
          </p:nvSpPr>
          <p:spPr>
            <a:xfrm>
              <a:off x="7484989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914217"/>
              <a:endParaRPr sz="2532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14" name="Shape 9193">
              <a:extLst>
                <a:ext uri="{FF2B5EF4-FFF2-40B4-BE49-F238E27FC236}">
                  <a16:creationId xmlns:a16="http://schemas.microsoft.com/office/drawing/2014/main" id="{7431E62E-AABF-7543-9AFA-A5C88EAF227D}"/>
                </a:ext>
              </a:extLst>
            </p:cNvPr>
            <p:cNvSpPr/>
            <p:nvPr/>
          </p:nvSpPr>
          <p:spPr>
            <a:xfrm flipV="1">
              <a:off x="8781834" y="3999087"/>
              <a:ext cx="1111407" cy="738953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914217"/>
              <a:endParaRPr sz="2532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51" name="Freeform 82">
              <a:extLst>
                <a:ext uri="{FF2B5EF4-FFF2-40B4-BE49-F238E27FC236}">
                  <a16:creationId xmlns:a16="http://schemas.microsoft.com/office/drawing/2014/main" id="{D31AD484-7C0F-CF45-B1C9-9C88FDA650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1394" y="2191277"/>
              <a:ext cx="830660" cy="777920"/>
            </a:xfrm>
            <a:custGeom>
              <a:avLst/>
              <a:gdLst>
                <a:gd name="T0" fmla="*/ 28575 w 899753"/>
                <a:gd name="T1" fmla="*/ 444500 h 842603"/>
                <a:gd name="T2" fmla="*/ 65686 w 899753"/>
                <a:gd name="T3" fmla="*/ 449899 h 842603"/>
                <a:gd name="T4" fmla="*/ 366179 w 899753"/>
                <a:gd name="T5" fmla="*/ 475816 h 842603"/>
                <a:gd name="T6" fmla="*/ 366179 w 899753"/>
                <a:gd name="T7" fmla="*/ 533047 h 842603"/>
                <a:gd name="T8" fmla="*/ 535161 w 899753"/>
                <a:gd name="T9" fmla="*/ 533047 h 842603"/>
                <a:gd name="T10" fmla="*/ 535161 w 899753"/>
                <a:gd name="T11" fmla="*/ 475816 h 842603"/>
                <a:gd name="T12" fmla="*/ 835293 w 899753"/>
                <a:gd name="T13" fmla="*/ 449899 h 842603"/>
                <a:gd name="T14" fmla="*/ 872765 w 899753"/>
                <a:gd name="T15" fmla="*/ 444500 h 842603"/>
                <a:gd name="T16" fmla="*/ 872765 w 899753"/>
                <a:gd name="T17" fmla="*/ 769894 h 842603"/>
                <a:gd name="T18" fmla="*/ 799984 w 899753"/>
                <a:gd name="T19" fmla="*/ 842603 h 842603"/>
                <a:gd name="T20" fmla="*/ 101356 w 899753"/>
                <a:gd name="T21" fmla="*/ 842603 h 842603"/>
                <a:gd name="T22" fmla="*/ 28575 w 899753"/>
                <a:gd name="T23" fmla="*/ 769894 h 842603"/>
                <a:gd name="T24" fmla="*/ 348884 w 899753"/>
                <a:gd name="T25" fmla="*/ 56606 h 842603"/>
                <a:gd name="T26" fmla="*/ 337362 w 899753"/>
                <a:gd name="T27" fmla="*/ 68144 h 842603"/>
                <a:gd name="T28" fmla="*/ 337362 w 899753"/>
                <a:gd name="T29" fmla="*/ 112852 h 842603"/>
                <a:gd name="T30" fmla="*/ 562391 w 899753"/>
                <a:gd name="T31" fmla="*/ 112852 h 842603"/>
                <a:gd name="T32" fmla="*/ 562391 w 899753"/>
                <a:gd name="T33" fmla="*/ 68144 h 842603"/>
                <a:gd name="T34" fmla="*/ 550869 w 899753"/>
                <a:gd name="T35" fmla="*/ 56606 h 842603"/>
                <a:gd name="T36" fmla="*/ 325841 w 899753"/>
                <a:gd name="T37" fmla="*/ 0 h 842603"/>
                <a:gd name="T38" fmla="*/ 573912 w 899753"/>
                <a:gd name="T39" fmla="*/ 0 h 842603"/>
                <a:gd name="T40" fmla="*/ 618558 w 899753"/>
                <a:gd name="T41" fmla="*/ 44708 h 842603"/>
                <a:gd name="T42" fmla="*/ 618558 w 899753"/>
                <a:gd name="T43" fmla="*/ 112852 h 842603"/>
                <a:gd name="T44" fmla="*/ 855108 w 899753"/>
                <a:gd name="T45" fmla="*/ 112852 h 842603"/>
                <a:gd name="T46" fmla="*/ 899753 w 899753"/>
                <a:gd name="T47" fmla="*/ 157561 h 842603"/>
                <a:gd name="T48" fmla="*/ 899753 w 899753"/>
                <a:gd name="T49" fmla="*/ 390837 h 842603"/>
                <a:gd name="T50" fmla="*/ 816943 w 899753"/>
                <a:gd name="T51" fmla="*/ 402014 h 842603"/>
                <a:gd name="T52" fmla="*/ 534307 w 899753"/>
                <a:gd name="T53" fmla="*/ 425089 h 842603"/>
                <a:gd name="T54" fmla="*/ 534307 w 899753"/>
                <a:gd name="T55" fmla="*/ 366320 h 842603"/>
                <a:gd name="T56" fmla="*/ 365446 w 899753"/>
                <a:gd name="T57" fmla="*/ 366320 h 842603"/>
                <a:gd name="T58" fmla="*/ 365446 w 899753"/>
                <a:gd name="T59" fmla="*/ 425089 h 842603"/>
                <a:gd name="T60" fmla="*/ 83171 w 899753"/>
                <a:gd name="T61" fmla="*/ 402014 h 842603"/>
                <a:gd name="T62" fmla="*/ 0 w 899753"/>
                <a:gd name="T63" fmla="*/ 390837 h 842603"/>
                <a:gd name="T64" fmla="*/ 0 w 899753"/>
                <a:gd name="T65" fmla="*/ 157561 h 842603"/>
                <a:gd name="T66" fmla="*/ 44646 w 899753"/>
                <a:gd name="T67" fmla="*/ 112852 h 842603"/>
                <a:gd name="T68" fmla="*/ 281195 w 899753"/>
                <a:gd name="T69" fmla="*/ 112852 h 842603"/>
                <a:gd name="T70" fmla="*/ 281195 w 899753"/>
                <a:gd name="T71" fmla="*/ 44708 h 84260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899753" h="842603">
                  <a:moveTo>
                    <a:pt x="28575" y="444500"/>
                  </a:moveTo>
                  <a:lnTo>
                    <a:pt x="65686" y="449899"/>
                  </a:lnTo>
                  <a:cubicBezTo>
                    <a:pt x="165490" y="463937"/>
                    <a:pt x="265654" y="472576"/>
                    <a:pt x="366179" y="475816"/>
                  </a:cubicBezTo>
                  <a:lnTo>
                    <a:pt x="366179" y="533047"/>
                  </a:lnTo>
                  <a:lnTo>
                    <a:pt x="535161" y="533047"/>
                  </a:lnTo>
                  <a:lnTo>
                    <a:pt x="535161" y="475816"/>
                  </a:lnTo>
                  <a:cubicBezTo>
                    <a:pt x="635325" y="472576"/>
                    <a:pt x="735850" y="463937"/>
                    <a:pt x="835293" y="449899"/>
                  </a:cubicBezTo>
                  <a:lnTo>
                    <a:pt x="872765" y="444500"/>
                  </a:lnTo>
                  <a:lnTo>
                    <a:pt x="872765" y="769894"/>
                  </a:lnTo>
                  <a:lnTo>
                    <a:pt x="799984" y="842603"/>
                  </a:lnTo>
                  <a:lnTo>
                    <a:pt x="101356" y="842603"/>
                  </a:lnTo>
                  <a:lnTo>
                    <a:pt x="28575" y="769894"/>
                  </a:lnTo>
                  <a:lnTo>
                    <a:pt x="28575" y="444500"/>
                  </a:lnTo>
                  <a:close/>
                  <a:moveTo>
                    <a:pt x="348884" y="56606"/>
                  </a:moveTo>
                  <a:lnTo>
                    <a:pt x="337362" y="68144"/>
                  </a:lnTo>
                  <a:lnTo>
                    <a:pt x="337362" y="112852"/>
                  </a:lnTo>
                  <a:lnTo>
                    <a:pt x="562391" y="112852"/>
                  </a:lnTo>
                  <a:lnTo>
                    <a:pt x="562391" y="68144"/>
                  </a:lnTo>
                  <a:lnTo>
                    <a:pt x="550869" y="56606"/>
                  </a:lnTo>
                  <a:lnTo>
                    <a:pt x="348884" y="56606"/>
                  </a:lnTo>
                  <a:close/>
                  <a:moveTo>
                    <a:pt x="325841" y="0"/>
                  </a:moveTo>
                  <a:lnTo>
                    <a:pt x="573912" y="0"/>
                  </a:lnTo>
                  <a:lnTo>
                    <a:pt x="618558" y="44708"/>
                  </a:lnTo>
                  <a:lnTo>
                    <a:pt x="618558" y="112852"/>
                  </a:lnTo>
                  <a:lnTo>
                    <a:pt x="855108" y="112852"/>
                  </a:lnTo>
                  <a:lnTo>
                    <a:pt x="899753" y="157561"/>
                  </a:lnTo>
                  <a:lnTo>
                    <a:pt x="899753" y="390837"/>
                  </a:lnTo>
                  <a:lnTo>
                    <a:pt x="816943" y="402014"/>
                  </a:lnTo>
                  <a:cubicBezTo>
                    <a:pt x="722971" y="414633"/>
                    <a:pt x="628639" y="422205"/>
                    <a:pt x="534307" y="425089"/>
                  </a:cubicBezTo>
                  <a:lnTo>
                    <a:pt x="534307" y="366320"/>
                  </a:lnTo>
                  <a:lnTo>
                    <a:pt x="365446" y="366320"/>
                  </a:lnTo>
                  <a:lnTo>
                    <a:pt x="365446" y="425089"/>
                  </a:lnTo>
                  <a:cubicBezTo>
                    <a:pt x="271114" y="422205"/>
                    <a:pt x="176782" y="414633"/>
                    <a:pt x="83171" y="402014"/>
                  </a:cubicBezTo>
                  <a:lnTo>
                    <a:pt x="0" y="390837"/>
                  </a:lnTo>
                  <a:lnTo>
                    <a:pt x="0" y="157561"/>
                  </a:lnTo>
                  <a:lnTo>
                    <a:pt x="44646" y="112852"/>
                  </a:lnTo>
                  <a:lnTo>
                    <a:pt x="281195" y="112852"/>
                  </a:lnTo>
                  <a:lnTo>
                    <a:pt x="281195" y="44708"/>
                  </a:lnTo>
                  <a:lnTo>
                    <a:pt x="32584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defTabSz="914217"/>
              <a:endParaRPr lang="en-US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52" name="Freeform 80">
              <a:extLst>
                <a:ext uri="{FF2B5EF4-FFF2-40B4-BE49-F238E27FC236}">
                  <a16:creationId xmlns:a16="http://schemas.microsoft.com/office/drawing/2014/main" id="{9A098C9D-D1FA-D642-A742-DA1C39D8F6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7224" y="2732671"/>
              <a:ext cx="492179" cy="788319"/>
            </a:xfrm>
            <a:custGeom>
              <a:avLst/>
              <a:gdLst>
                <a:gd name="T0" fmla="*/ 252413 w 561616"/>
                <a:gd name="T1" fmla="*/ 533400 h 899752"/>
                <a:gd name="T2" fmla="*/ 309199 w 561616"/>
                <a:gd name="T3" fmla="*/ 533400 h 899752"/>
                <a:gd name="T4" fmla="*/ 309199 w 561616"/>
                <a:gd name="T5" fmla="*/ 590188 h 899752"/>
                <a:gd name="T6" fmla="*/ 252413 w 561616"/>
                <a:gd name="T7" fmla="*/ 590188 h 899752"/>
                <a:gd name="T8" fmla="*/ 252763 w 561616"/>
                <a:gd name="T9" fmla="*/ 478263 h 899752"/>
                <a:gd name="T10" fmla="*/ 252763 w 561616"/>
                <a:gd name="T11" fmla="*/ 490131 h 899752"/>
                <a:gd name="T12" fmla="*/ 153527 w 561616"/>
                <a:gd name="T13" fmla="*/ 589389 h 899752"/>
                <a:gd name="T14" fmla="*/ 112179 w 561616"/>
                <a:gd name="T15" fmla="*/ 688648 h 899752"/>
                <a:gd name="T16" fmla="*/ 112179 w 561616"/>
                <a:gd name="T17" fmla="*/ 703033 h 899752"/>
                <a:gd name="T18" fmla="*/ 252763 w 561616"/>
                <a:gd name="T19" fmla="*/ 646931 h 899752"/>
                <a:gd name="T20" fmla="*/ 308853 w 561616"/>
                <a:gd name="T21" fmla="*/ 646931 h 899752"/>
                <a:gd name="T22" fmla="*/ 449436 w 561616"/>
                <a:gd name="T23" fmla="*/ 703033 h 899752"/>
                <a:gd name="T24" fmla="*/ 449436 w 561616"/>
                <a:gd name="T25" fmla="*/ 688648 h 899752"/>
                <a:gd name="T26" fmla="*/ 408088 w 561616"/>
                <a:gd name="T27" fmla="*/ 589389 h 899752"/>
                <a:gd name="T28" fmla="*/ 308853 w 561616"/>
                <a:gd name="T29" fmla="*/ 490131 h 899752"/>
                <a:gd name="T30" fmla="*/ 308853 w 561616"/>
                <a:gd name="T31" fmla="*/ 478263 h 899752"/>
                <a:gd name="T32" fmla="*/ 56089 w 561616"/>
                <a:gd name="T33" fmla="*/ 141287 h 899752"/>
                <a:gd name="T34" fmla="*/ 112179 w 561616"/>
                <a:gd name="T35" fmla="*/ 141287 h 899752"/>
                <a:gd name="T36" fmla="*/ 112179 w 561616"/>
                <a:gd name="T37" fmla="*/ 212135 h 899752"/>
                <a:gd name="T38" fmla="*/ 152089 w 561616"/>
                <a:gd name="T39" fmla="*/ 309955 h 899752"/>
                <a:gd name="T40" fmla="*/ 409526 w 561616"/>
                <a:gd name="T41" fmla="*/ 309955 h 899752"/>
                <a:gd name="T42" fmla="*/ 449436 w 561616"/>
                <a:gd name="T43" fmla="*/ 212135 h 899752"/>
                <a:gd name="T44" fmla="*/ 449436 w 561616"/>
                <a:gd name="T45" fmla="*/ 141287 h 899752"/>
                <a:gd name="T46" fmla="*/ 505526 w 561616"/>
                <a:gd name="T47" fmla="*/ 141287 h 899752"/>
                <a:gd name="T48" fmla="*/ 505526 w 561616"/>
                <a:gd name="T49" fmla="*/ 212135 h 899752"/>
                <a:gd name="T50" fmla="*/ 447998 w 561616"/>
                <a:gd name="T51" fmla="*/ 350953 h 899752"/>
                <a:gd name="T52" fmla="*/ 364942 w 561616"/>
                <a:gd name="T53" fmla="*/ 434028 h 899752"/>
                <a:gd name="T54" fmla="*/ 364942 w 561616"/>
                <a:gd name="T55" fmla="*/ 466755 h 899752"/>
                <a:gd name="T56" fmla="*/ 447998 w 561616"/>
                <a:gd name="T57" fmla="*/ 549830 h 899752"/>
                <a:gd name="T58" fmla="*/ 505526 w 561616"/>
                <a:gd name="T59" fmla="*/ 688648 h 899752"/>
                <a:gd name="T60" fmla="*/ 505526 w 561616"/>
                <a:gd name="T61" fmla="*/ 787547 h 899752"/>
                <a:gd name="T62" fmla="*/ 561616 w 561616"/>
                <a:gd name="T63" fmla="*/ 787547 h 899752"/>
                <a:gd name="T64" fmla="*/ 561616 w 561616"/>
                <a:gd name="T65" fmla="*/ 899752 h 899752"/>
                <a:gd name="T66" fmla="*/ 0 w 561616"/>
                <a:gd name="T67" fmla="*/ 899752 h 899752"/>
                <a:gd name="T68" fmla="*/ 0 w 561616"/>
                <a:gd name="T69" fmla="*/ 787547 h 899752"/>
                <a:gd name="T70" fmla="*/ 56089 w 561616"/>
                <a:gd name="T71" fmla="*/ 787547 h 899752"/>
                <a:gd name="T72" fmla="*/ 56089 w 561616"/>
                <a:gd name="T73" fmla="*/ 688648 h 899752"/>
                <a:gd name="T74" fmla="*/ 113977 w 561616"/>
                <a:gd name="T75" fmla="*/ 549830 h 899752"/>
                <a:gd name="T76" fmla="*/ 196673 w 561616"/>
                <a:gd name="T77" fmla="*/ 466755 h 899752"/>
                <a:gd name="T78" fmla="*/ 196673 w 561616"/>
                <a:gd name="T79" fmla="*/ 434028 h 899752"/>
                <a:gd name="T80" fmla="*/ 113977 w 561616"/>
                <a:gd name="T81" fmla="*/ 350953 h 899752"/>
                <a:gd name="T82" fmla="*/ 56089 w 561616"/>
                <a:gd name="T83" fmla="*/ 212135 h 899752"/>
                <a:gd name="T84" fmla="*/ 0 w 561616"/>
                <a:gd name="T85" fmla="*/ 0 h 899752"/>
                <a:gd name="T86" fmla="*/ 561616 w 561616"/>
                <a:gd name="T87" fmla="*/ 0 h 899752"/>
                <a:gd name="T88" fmla="*/ 561616 w 561616"/>
                <a:gd name="T89" fmla="*/ 112352 h 899752"/>
                <a:gd name="T90" fmla="*/ 0 w 561616"/>
                <a:gd name="T91" fmla="*/ 112352 h 89975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561616" h="899752">
                  <a:moveTo>
                    <a:pt x="252413" y="533400"/>
                  </a:moveTo>
                  <a:lnTo>
                    <a:pt x="309199" y="533400"/>
                  </a:lnTo>
                  <a:lnTo>
                    <a:pt x="309199" y="590188"/>
                  </a:lnTo>
                  <a:lnTo>
                    <a:pt x="252413" y="590188"/>
                  </a:lnTo>
                  <a:lnTo>
                    <a:pt x="252413" y="533400"/>
                  </a:lnTo>
                  <a:close/>
                  <a:moveTo>
                    <a:pt x="252763" y="478263"/>
                  </a:moveTo>
                  <a:lnTo>
                    <a:pt x="252763" y="490131"/>
                  </a:lnTo>
                  <a:lnTo>
                    <a:pt x="153527" y="589389"/>
                  </a:lnTo>
                  <a:cubicBezTo>
                    <a:pt x="126921" y="616002"/>
                    <a:pt x="112179" y="651246"/>
                    <a:pt x="112179" y="688648"/>
                  </a:cubicBezTo>
                  <a:lnTo>
                    <a:pt x="112179" y="703033"/>
                  </a:lnTo>
                  <a:lnTo>
                    <a:pt x="252763" y="646931"/>
                  </a:lnTo>
                  <a:lnTo>
                    <a:pt x="308853" y="646931"/>
                  </a:lnTo>
                  <a:lnTo>
                    <a:pt x="449436" y="703033"/>
                  </a:lnTo>
                  <a:lnTo>
                    <a:pt x="449436" y="688648"/>
                  </a:lnTo>
                  <a:cubicBezTo>
                    <a:pt x="449436" y="651246"/>
                    <a:pt x="434695" y="616002"/>
                    <a:pt x="408088" y="589389"/>
                  </a:cubicBezTo>
                  <a:lnTo>
                    <a:pt x="308853" y="490131"/>
                  </a:lnTo>
                  <a:lnTo>
                    <a:pt x="308853" y="478263"/>
                  </a:lnTo>
                  <a:lnTo>
                    <a:pt x="252763" y="478263"/>
                  </a:lnTo>
                  <a:close/>
                  <a:moveTo>
                    <a:pt x="56089" y="141287"/>
                  </a:moveTo>
                  <a:lnTo>
                    <a:pt x="112179" y="141287"/>
                  </a:lnTo>
                  <a:lnTo>
                    <a:pt x="112179" y="212135"/>
                  </a:lnTo>
                  <a:cubicBezTo>
                    <a:pt x="112179" y="248817"/>
                    <a:pt x="126561" y="283701"/>
                    <a:pt x="152089" y="309955"/>
                  </a:cubicBezTo>
                  <a:lnTo>
                    <a:pt x="409526" y="309955"/>
                  </a:lnTo>
                  <a:cubicBezTo>
                    <a:pt x="435054" y="283701"/>
                    <a:pt x="449436" y="248817"/>
                    <a:pt x="449436" y="212135"/>
                  </a:cubicBezTo>
                  <a:lnTo>
                    <a:pt x="449436" y="141287"/>
                  </a:lnTo>
                  <a:lnTo>
                    <a:pt x="505526" y="141287"/>
                  </a:lnTo>
                  <a:lnTo>
                    <a:pt x="505526" y="212135"/>
                  </a:lnTo>
                  <a:cubicBezTo>
                    <a:pt x="505526" y="264641"/>
                    <a:pt x="485032" y="313911"/>
                    <a:pt x="447998" y="350953"/>
                  </a:cubicBezTo>
                  <a:lnTo>
                    <a:pt x="364942" y="434028"/>
                  </a:lnTo>
                  <a:lnTo>
                    <a:pt x="364942" y="466755"/>
                  </a:lnTo>
                  <a:lnTo>
                    <a:pt x="447998" y="549830"/>
                  </a:lnTo>
                  <a:cubicBezTo>
                    <a:pt x="485032" y="586872"/>
                    <a:pt x="505526" y="636142"/>
                    <a:pt x="505526" y="688648"/>
                  </a:cubicBezTo>
                  <a:lnTo>
                    <a:pt x="505526" y="787547"/>
                  </a:lnTo>
                  <a:lnTo>
                    <a:pt x="561616" y="787547"/>
                  </a:lnTo>
                  <a:lnTo>
                    <a:pt x="561616" y="899752"/>
                  </a:lnTo>
                  <a:lnTo>
                    <a:pt x="0" y="899752"/>
                  </a:lnTo>
                  <a:lnTo>
                    <a:pt x="0" y="787547"/>
                  </a:lnTo>
                  <a:lnTo>
                    <a:pt x="56089" y="787547"/>
                  </a:lnTo>
                  <a:lnTo>
                    <a:pt x="56089" y="688648"/>
                  </a:lnTo>
                  <a:cubicBezTo>
                    <a:pt x="56089" y="636142"/>
                    <a:pt x="76584" y="586872"/>
                    <a:pt x="113977" y="549830"/>
                  </a:cubicBezTo>
                  <a:lnTo>
                    <a:pt x="196673" y="466755"/>
                  </a:lnTo>
                  <a:lnTo>
                    <a:pt x="196673" y="434028"/>
                  </a:lnTo>
                  <a:lnTo>
                    <a:pt x="113977" y="350953"/>
                  </a:lnTo>
                  <a:cubicBezTo>
                    <a:pt x="76584" y="313911"/>
                    <a:pt x="56089" y="264641"/>
                    <a:pt x="56089" y="212135"/>
                  </a:cubicBezTo>
                  <a:lnTo>
                    <a:pt x="56089" y="141287"/>
                  </a:lnTo>
                  <a:close/>
                  <a:moveTo>
                    <a:pt x="0" y="0"/>
                  </a:moveTo>
                  <a:lnTo>
                    <a:pt x="561616" y="0"/>
                  </a:lnTo>
                  <a:lnTo>
                    <a:pt x="561616" y="112352"/>
                  </a:lnTo>
                  <a:lnTo>
                    <a:pt x="0" y="1123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defTabSz="914217"/>
              <a:endParaRPr lang="en-US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53" name="Freeform 41">
              <a:extLst>
                <a:ext uri="{FF2B5EF4-FFF2-40B4-BE49-F238E27FC236}">
                  <a16:creationId xmlns:a16="http://schemas.microsoft.com/office/drawing/2014/main" id="{FFE0D3B4-321E-C64B-A511-76898C4E93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98105" y="2164907"/>
              <a:ext cx="779383" cy="830660"/>
            </a:xfrm>
            <a:custGeom>
              <a:avLst/>
              <a:gdLst>
                <a:gd name="T0" fmla="*/ 450379 w 2344"/>
                <a:gd name="T1" fmla="*/ 478140 h 2500"/>
                <a:gd name="T2" fmla="*/ 731775 w 2344"/>
                <a:gd name="T3" fmla="*/ 421973 h 2500"/>
                <a:gd name="T4" fmla="*/ 731775 w 2344"/>
                <a:gd name="T5" fmla="*/ 703168 h 2500"/>
                <a:gd name="T6" fmla="*/ 450379 w 2344"/>
                <a:gd name="T7" fmla="*/ 646641 h 2500"/>
                <a:gd name="T8" fmla="*/ 731775 w 2344"/>
                <a:gd name="T9" fmla="*/ 703168 h 2500"/>
                <a:gd name="T10" fmla="*/ 366068 w 2344"/>
                <a:gd name="T11" fmla="*/ 365446 h 2500"/>
                <a:gd name="T12" fmla="*/ 337964 w 2344"/>
                <a:gd name="T13" fmla="*/ 337362 h 2500"/>
                <a:gd name="T14" fmla="*/ 366068 w 2344"/>
                <a:gd name="T15" fmla="*/ 309279 h 2500"/>
                <a:gd name="T16" fmla="*/ 394171 w 2344"/>
                <a:gd name="T17" fmla="*/ 337362 h 2500"/>
                <a:gd name="T18" fmla="*/ 366068 w 2344"/>
                <a:gd name="T19" fmla="*/ 478140 h 2500"/>
                <a:gd name="T20" fmla="*/ 337964 w 2344"/>
                <a:gd name="T21" fmla="*/ 449696 h 2500"/>
                <a:gd name="T22" fmla="*/ 366068 w 2344"/>
                <a:gd name="T23" fmla="*/ 421973 h 2500"/>
                <a:gd name="T24" fmla="*/ 394171 w 2344"/>
                <a:gd name="T25" fmla="*/ 449696 h 2500"/>
                <a:gd name="T26" fmla="*/ 366068 w 2344"/>
                <a:gd name="T27" fmla="*/ 478140 h 2500"/>
                <a:gd name="T28" fmla="*/ 366068 w 2344"/>
                <a:gd name="T29" fmla="*/ 590474 h 2500"/>
                <a:gd name="T30" fmla="*/ 337964 w 2344"/>
                <a:gd name="T31" fmla="*/ 562391 h 2500"/>
                <a:gd name="T32" fmla="*/ 366068 w 2344"/>
                <a:gd name="T33" fmla="*/ 534307 h 2500"/>
                <a:gd name="T34" fmla="*/ 394171 w 2344"/>
                <a:gd name="T35" fmla="*/ 562391 h 2500"/>
                <a:gd name="T36" fmla="*/ 366068 w 2344"/>
                <a:gd name="T37" fmla="*/ 703168 h 2500"/>
                <a:gd name="T38" fmla="*/ 337964 w 2344"/>
                <a:gd name="T39" fmla="*/ 674725 h 2500"/>
                <a:gd name="T40" fmla="*/ 366068 w 2344"/>
                <a:gd name="T41" fmla="*/ 646641 h 2500"/>
                <a:gd name="T42" fmla="*/ 394171 w 2344"/>
                <a:gd name="T43" fmla="*/ 674725 h 2500"/>
                <a:gd name="T44" fmla="*/ 366068 w 2344"/>
                <a:gd name="T45" fmla="*/ 703168 h 2500"/>
                <a:gd name="T46" fmla="*/ 619000 w 2344"/>
                <a:gd name="T47" fmla="*/ 534307 h 2500"/>
                <a:gd name="T48" fmla="*/ 450379 w 2344"/>
                <a:gd name="T49" fmla="*/ 590474 h 2500"/>
                <a:gd name="T50" fmla="*/ 450379 w 2344"/>
                <a:gd name="T51" fmla="*/ 309279 h 2500"/>
                <a:gd name="T52" fmla="*/ 703311 w 2344"/>
                <a:gd name="T53" fmla="*/ 365446 h 2500"/>
                <a:gd name="T54" fmla="*/ 450379 w 2344"/>
                <a:gd name="T55" fmla="*/ 309279 h 2500"/>
                <a:gd name="T56" fmla="*/ 647104 w 2344"/>
                <a:gd name="T57" fmla="*/ 140418 h 2500"/>
                <a:gd name="T58" fmla="*/ 450379 w 2344"/>
                <a:gd name="T59" fmla="*/ 196585 h 2500"/>
                <a:gd name="T60" fmla="*/ 225189 w 2344"/>
                <a:gd name="T61" fmla="*/ 815502 h 2500"/>
                <a:gd name="T62" fmla="*/ 197086 w 2344"/>
                <a:gd name="T63" fmla="*/ 843586 h 2500"/>
                <a:gd name="T64" fmla="*/ 168982 w 2344"/>
                <a:gd name="T65" fmla="*/ 815502 h 2500"/>
                <a:gd name="T66" fmla="*/ 168982 w 2344"/>
                <a:gd name="T67" fmla="*/ 309279 h 2500"/>
                <a:gd name="T68" fmla="*/ 225189 w 2344"/>
                <a:gd name="T69" fmla="*/ 281195 h 2500"/>
                <a:gd name="T70" fmla="*/ 112775 w 2344"/>
                <a:gd name="T71" fmla="*/ 590474 h 2500"/>
                <a:gd name="T72" fmla="*/ 56568 w 2344"/>
                <a:gd name="T73" fmla="*/ 309279 h 2500"/>
                <a:gd name="T74" fmla="*/ 84311 w 2344"/>
                <a:gd name="T75" fmla="*/ 281195 h 2500"/>
                <a:gd name="T76" fmla="*/ 112775 w 2344"/>
                <a:gd name="T77" fmla="*/ 309279 h 2500"/>
                <a:gd name="T78" fmla="*/ 225189 w 2344"/>
                <a:gd name="T79" fmla="*/ 0 h 2500"/>
                <a:gd name="T80" fmla="*/ 84311 w 2344"/>
                <a:gd name="T81" fmla="*/ 225028 h 2500"/>
                <a:gd name="T82" fmla="*/ 0 w 2344"/>
                <a:gd name="T83" fmla="*/ 309279 h 2500"/>
                <a:gd name="T84" fmla="*/ 112775 w 2344"/>
                <a:gd name="T85" fmla="*/ 646641 h 2500"/>
                <a:gd name="T86" fmla="*/ 112775 w 2344"/>
                <a:gd name="T87" fmla="*/ 815502 h 2500"/>
                <a:gd name="T88" fmla="*/ 759879 w 2344"/>
                <a:gd name="T89" fmla="*/ 899753 h 2500"/>
                <a:gd name="T90" fmla="*/ 844190 w 2344"/>
                <a:gd name="T91" fmla="*/ 815502 h 2500"/>
                <a:gd name="T92" fmla="*/ 225189 w 2344"/>
                <a:gd name="T93" fmla="*/ 0 h 250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344" h="2500">
                  <a:moveTo>
                    <a:pt x="2031" y="1328"/>
                  </a:moveTo>
                  <a:lnTo>
                    <a:pt x="1250" y="1328"/>
                  </a:lnTo>
                  <a:lnTo>
                    <a:pt x="1250" y="1172"/>
                  </a:lnTo>
                  <a:lnTo>
                    <a:pt x="2031" y="1172"/>
                  </a:lnTo>
                  <a:lnTo>
                    <a:pt x="2031" y="1328"/>
                  </a:lnTo>
                  <a:close/>
                  <a:moveTo>
                    <a:pt x="2031" y="1953"/>
                  </a:moveTo>
                  <a:lnTo>
                    <a:pt x="1250" y="1953"/>
                  </a:lnTo>
                  <a:lnTo>
                    <a:pt x="1250" y="1796"/>
                  </a:lnTo>
                  <a:lnTo>
                    <a:pt x="2031" y="1796"/>
                  </a:lnTo>
                  <a:lnTo>
                    <a:pt x="2031" y="1953"/>
                  </a:lnTo>
                  <a:close/>
                  <a:moveTo>
                    <a:pt x="1016" y="1015"/>
                  </a:moveTo>
                  <a:lnTo>
                    <a:pt x="1016" y="1015"/>
                  </a:lnTo>
                  <a:cubicBezTo>
                    <a:pt x="972" y="1015"/>
                    <a:pt x="938" y="980"/>
                    <a:pt x="938" y="937"/>
                  </a:cubicBezTo>
                  <a:cubicBezTo>
                    <a:pt x="938" y="893"/>
                    <a:pt x="972" y="859"/>
                    <a:pt x="1016" y="859"/>
                  </a:cubicBezTo>
                  <a:cubicBezTo>
                    <a:pt x="1059" y="859"/>
                    <a:pt x="1094" y="893"/>
                    <a:pt x="1094" y="937"/>
                  </a:cubicBezTo>
                  <a:cubicBezTo>
                    <a:pt x="1094" y="980"/>
                    <a:pt x="1059" y="1015"/>
                    <a:pt x="1016" y="1015"/>
                  </a:cubicBezTo>
                  <a:close/>
                  <a:moveTo>
                    <a:pt x="1016" y="1328"/>
                  </a:moveTo>
                  <a:lnTo>
                    <a:pt x="1016" y="1328"/>
                  </a:lnTo>
                  <a:cubicBezTo>
                    <a:pt x="972" y="1328"/>
                    <a:pt x="938" y="1293"/>
                    <a:pt x="938" y="1249"/>
                  </a:cubicBezTo>
                  <a:cubicBezTo>
                    <a:pt x="938" y="1206"/>
                    <a:pt x="972" y="1172"/>
                    <a:pt x="1016" y="1172"/>
                  </a:cubicBezTo>
                  <a:cubicBezTo>
                    <a:pt x="1059" y="1172"/>
                    <a:pt x="1094" y="1206"/>
                    <a:pt x="1094" y="1249"/>
                  </a:cubicBezTo>
                  <a:cubicBezTo>
                    <a:pt x="1094" y="1293"/>
                    <a:pt x="1059" y="1328"/>
                    <a:pt x="1016" y="1328"/>
                  </a:cubicBezTo>
                  <a:close/>
                  <a:moveTo>
                    <a:pt x="1016" y="1640"/>
                  </a:moveTo>
                  <a:lnTo>
                    <a:pt x="1016" y="1640"/>
                  </a:lnTo>
                  <a:cubicBezTo>
                    <a:pt x="972" y="1640"/>
                    <a:pt x="938" y="1605"/>
                    <a:pt x="938" y="1562"/>
                  </a:cubicBezTo>
                  <a:cubicBezTo>
                    <a:pt x="938" y="1519"/>
                    <a:pt x="972" y="1484"/>
                    <a:pt x="1016" y="1484"/>
                  </a:cubicBezTo>
                  <a:cubicBezTo>
                    <a:pt x="1059" y="1484"/>
                    <a:pt x="1094" y="1519"/>
                    <a:pt x="1094" y="1562"/>
                  </a:cubicBezTo>
                  <a:cubicBezTo>
                    <a:pt x="1094" y="1605"/>
                    <a:pt x="1059" y="1640"/>
                    <a:pt x="1016" y="1640"/>
                  </a:cubicBezTo>
                  <a:close/>
                  <a:moveTo>
                    <a:pt x="1016" y="1953"/>
                  </a:moveTo>
                  <a:lnTo>
                    <a:pt x="1016" y="1953"/>
                  </a:lnTo>
                  <a:cubicBezTo>
                    <a:pt x="972" y="1953"/>
                    <a:pt x="938" y="1917"/>
                    <a:pt x="938" y="1874"/>
                  </a:cubicBezTo>
                  <a:cubicBezTo>
                    <a:pt x="938" y="1831"/>
                    <a:pt x="972" y="1796"/>
                    <a:pt x="1016" y="1796"/>
                  </a:cubicBezTo>
                  <a:cubicBezTo>
                    <a:pt x="1059" y="1796"/>
                    <a:pt x="1094" y="1831"/>
                    <a:pt x="1094" y="1874"/>
                  </a:cubicBezTo>
                  <a:cubicBezTo>
                    <a:pt x="1094" y="1917"/>
                    <a:pt x="1059" y="1953"/>
                    <a:pt x="1016" y="1953"/>
                  </a:cubicBezTo>
                  <a:close/>
                  <a:moveTo>
                    <a:pt x="1250" y="1484"/>
                  </a:moveTo>
                  <a:lnTo>
                    <a:pt x="1718" y="1484"/>
                  </a:lnTo>
                  <a:lnTo>
                    <a:pt x="1718" y="1640"/>
                  </a:lnTo>
                  <a:lnTo>
                    <a:pt x="1250" y="1640"/>
                  </a:lnTo>
                  <a:lnTo>
                    <a:pt x="1250" y="1484"/>
                  </a:lnTo>
                  <a:close/>
                  <a:moveTo>
                    <a:pt x="1250" y="859"/>
                  </a:moveTo>
                  <a:lnTo>
                    <a:pt x="1952" y="859"/>
                  </a:lnTo>
                  <a:lnTo>
                    <a:pt x="1952" y="1015"/>
                  </a:lnTo>
                  <a:lnTo>
                    <a:pt x="1250" y="1015"/>
                  </a:lnTo>
                  <a:lnTo>
                    <a:pt x="1250" y="859"/>
                  </a:lnTo>
                  <a:close/>
                  <a:moveTo>
                    <a:pt x="1250" y="390"/>
                  </a:moveTo>
                  <a:lnTo>
                    <a:pt x="1796" y="390"/>
                  </a:lnTo>
                  <a:lnTo>
                    <a:pt x="1796" y="546"/>
                  </a:lnTo>
                  <a:lnTo>
                    <a:pt x="1250" y="546"/>
                  </a:lnTo>
                  <a:lnTo>
                    <a:pt x="1250" y="390"/>
                  </a:lnTo>
                  <a:close/>
                  <a:moveTo>
                    <a:pt x="625" y="2265"/>
                  </a:moveTo>
                  <a:lnTo>
                    <a:pt x="625" y="2265"/>
                  </a:lnTo>
                  <a:cubicBezTo>
                    <a:pt x="625" y="2308"/>
                    <a:pt x="590" y="2343"/>
                    <a:pt x="547" y="2343"/>
                  </a:cubicBezTo>
                  <a:cubicBezTo>
                    <a:pt x="504" y="2343"/>
                    <a:pt x="469" y="2308"/>
                    <a:pt x="469" y="2265"/>
                  </a:cubicBezTo>
                  <a:lnTo>
                    <a:pt x="469" y="859"/>
                  </a:lnTo>
                  <a:cubicBezTo>
                    <a:pt x="469" y="831"/>
                    <a:pt x="463" y="806"/>
                    <a:pt x="454" y="781"/>
                  </a:cubicBezTo>
                  <a:lnTo>
                    <a:pt x="625" y="781"/>
                  </a:lnTo>
                  <a:lnTo>
                    <a:pt x="625" y="2265"/>
                  </a:lnTo>
                  <a:close/>
                  <a:moveTo>
                    <a:pt x="313" y="1640"/>
                  </a:moveTo>
                  <a:lnTo>
                    <a:pt x="157" y="1640"/>
                  </a:lnTo>
                  <a:lnTo>
                    <a:pt x="157" y="859"/>
                  </a:lnTo>
                  <a:cubicBezTo>
                    <a:pt x="157" y="816"/>
                    <a:pt x="191" y="781"/>
                    <a:pt x="234" y="781"/>
                  </a:cubicBezTo>
                  <a:cubicBezTo>
                    <a:pt x="277" y="781"/>
                    <a:pt x="313" y="816"/>
                    <a:pt x="313" y="859"/>
                  </a:cubicBezTo>
                  <a:lnTo>
                    <a:pt x="313" y="1640"/>
                  </a:lnTo>
                  <a:close/>
                  <a:moveTo>
                    <a:pt x="625" y="0"/>
                  </a:moveTo>
                  <a:lnTo>
                    <a:pt x="625" y="625"/>
                  </a:lnTo>
                  <a:lnTo>
                    <a:pt x="234" y="625"/>
                  </a:lnTo>
                  <a:cubicBezTo>
                    <a:pt x="105" y="625"/>
                    <a:pt x="0" y="730"/>
                    <a:pt x="0" y="859"/>
                  </a:cubicBezTo>
                  <a:lnTo>
                    <a:pt x="0" y="1796"/>
                  </a:lnTo>
                  <a:lnTo>
                    <a:pt x="313" y="1796"/>
                  </a:lnTo>
                  <a:lnTo>
                    <a:pt x="313" y="2265"/>
                  </a:lnTo>
                  <a:cubicBezTo>
                    <a:pt x="313" y="2394"/>
                    <a:pt x="418" y="2499"/>
                    <a:pt x="547" y="2499"/>
                  </a:cubicBezTo>
                  <a:lnTo>
                    <a:pt x="2109" y="2499"/>
                  </a:lnTo>
                  <a:cubicBezTo>
                    <a:pt x="2238" y="2499"/>
                    <a:pt x="2343" y="2394"/>
                    <a:pt x="2343" y="2265"/>
                  </a:cubicBezTo>
                  <a:lnTo>
                    <a:pt x="2343" y="0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914217"/>
              <a:endParaRPr lang="en-US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54" name="Freeform 89">
              <a:extLst>
                <a:ext uri="{FF2B5EF4-FFF2-40B4-BE49-F238E27FC236}">
                  <a16:creationId xmlns:a16="http://schemas.microsoft.com/office/drawing/2014/main" id="{91A5C80F-7552-2A47-9827-D5443E5005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0730" y="2189715"/>
              <a:ext cx="620464" cy="464256"/>
            </a:xfrm>
            <a:custGeom>
              <a:avLst/>
              <a:gdLst>
                <a:gd name="T0" fmla="*/ 573956 w 901340"/>
                <a:gd name="T1" fmla="*/ 561975 h 674329"/>
                <a:gd name="T2" fmla="*/ 901340 w 901340"/>
                <a:gd name="T3" fmla="*/ 561975 h 674329"/>
                <a:gd name="T4" fmla="*/ 901340 w 901340"/>
                <a:gd name="T5" fmla="*/ 674329 h 674329"/>
                <a:gd name="T6" fmla="*/ 468313 w 901340"/>
                <a:gd name="T7" fmla="*/ 674329 h 674329"/>
                <a:gd name="T8" fmla="*/ 573956 w 901340"/>
                <a:gd name="T9" fmla="*/ 561975 h 674329"/>
                <a:gd name="T10" fmla="*/ 616811 w 901340"/>
                <a:gd name="T11" fmla="*/ 420688 h 674329"/>
                <a:gd name="T12" fmla="*/ 842604 w 901340"/>
                <a:gd name="T13" fmla="*/ 420688 h 674329"/>
                <a:gd name="T14" fmla="*/ 842604 w 901340"/>
                <a:gd name="T15" fmla="*/ 533040 h 674329"/>
                <a:gd name="T16" fmla="*/ 587375 w 901340"/>
                <a:gd name="T17" fmla="*/ 533040 h 674329"/>
                <a:gd name="T18" fmla="*/ 616811 w 901340"/>
                <a:gd name="T19" fmla="*/ 420688 h 674329"/>
                <a:gd name="T20" fmla="*/ 600075 w 901340"/>
                <a:gd name="T21" fmla="*/ 280988 h 674329"/>
                <a:gd name="T22" fmla="*/ 901339 w 901340"/>
                <a:gd name="T23" fmla="*/ 280988 h 674329"/>
                <a:gd name="T24" fmla="*/ 901339 w 901340"/>
                <a:gd name="T25" fmla="*/ 393341 h 674329"/>
                <a:gd name="T26" fmla="*/ 619919 w 901340"/>
                <a:gd name="T27" fmla="*/ 393341 h 674329"/>
                <a:gd name="T28" fmla="*/ 600075 w 901340"/>
                <a:gd name="T29" fmla="*/ 280988 h 674329"/>
                <a:gd name="T30" fmla="*/ 196799 w 901340"/>
                <a:gd name="T31" fmla="*/ 280982 h 674329"/>
                <a:gd name="T32" fmla="*/ 196799 w 901340"/>
                <a:gd name="T33" fmla="*/ 337072 h 674329"/>
                <a:gd name="T34" fmla="*/ 252925 w 901340"/>
                <a:gd name="T35" fmla="*/ 337072 h 674329"/>
                <a:gd name="T36" fmla="*/ 252925 w 901340"/>
                <a:gd name="T37" fmla="*/ 449611 h 674329"/>
                <a:gd name="T38" fmla="*/ 196799 w 901340"/>
                <a:gd name="T39" fmla="*/ 449611 h 674329"/>
                <a:gd name="T40" fmla="*/ 196799 w 901340"/>
                <a:gd name="T41" fmla="*/ 505700 h 674329"/>
                <a:gd name="T42" fmla="*/ 365176 w 901340"/>
                <a:gd name="T43" fmla="*/ 505700 h 674329"/>
                <a:gd name="T44" fmla="*/ 365176 w 901340"/>
                <a:gd name="T45" fmla="*/ 449611 h 674329"/>
                <a:gd name="T46" fmla="*/ 309051 w 901340"/>
                <a:gd name="T47" fmla="*/ 449611 h 674329"/>
                <a:gd name="T48" fmla="*/ 309051 w 901340"/>
                <a:gd name="T49" fmla="*/ 280982 h 674329"/>
                <a:gd name="T50" fmla="*/ 503238 w 901340"/>
                <a:gd name="T51" fmla="*/ 139700 h 674329"/>
                <a:gd name="T52" fmla="*/ 787040 w 901340"/>
                <a:gd name="T53" fmla="*/ 139700 h 674329"/>
                <a:gd name="T54" fmla="*/ 787040 w 901340"/>
                <a:gd name="T55" fmla="*/ 252053 h 674329"/>
                <a:gd name="T56" fmla="*/ 587154 w 901340"/>
                <a:gd name="T57" fmla="*/ 252053 h 674329"/>
                <a:gd name="T58" fmla="*/ 503238 w 901340"/>
                <a:gd name="T59" fmla="*/ 139700 h 674329"/>
                <a:gd name="T60" fmla="*/ 280988 w 901340"/>
                <a:gd name="T61" fmla="*/ 112713 h 674329"/>
                <a:gd name="T62" fmla="*/ 561615 w 901340"/>
                <a:gd name="T63" fmla="*/ 393521 h 674329"/>
                <a:gd name="T64" fmla="*/ 280988 w 901340"/>
                <a:gd name="T65" fmla="*/ 674329 h 674329"/>
                <a:gd name="T66" fmla="*/ 0 w 901340"/>
                <a:gd name="T67" fmla="*/ 393521 h 674329"/>
                <a:gd name="T68" fmla="*/ 280988 w 901340"/>
                <a:gd name="T69" fmla="*/ 112713 h 674329"/>
                <a:gd name="T70" fmla="*/ 282575 w 901340"/>
                <a:gd name="T71" fmla="*/ 0 h 674329"/>
                <a:gd name="T72" fmla="*/ 844190 w 901340"/>
                <a:gd name="T73" fmla="*/ 0 h 674329"/>
                <a:gd name="T74" fmla="*/ 844190 w 901340"/>
                <a:gd name="T75" fmla="*/ 112353 h 674329"/>
                <a:gd name="T76" fmla="*/ 468221 w 901340"/>
                <a:gd name="T77" fmla="*/ 112353 h 674329"/>
                <a:gd name="T78" fmla="*/ 282575 w 901340"/>
                <a:gd name="T79" fmla="*/ 55816 h 67432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901340" h="674329">
                  <a:moveTo>
                    <a:pt x="573956" y="561975"/>
                  </a:moveTo>
                  <a:lnTo>
                    <a:pt x="901340" y="561975"/>
                  </a:lnTo>
                  <a:lnTo>
                    <a:pt x="901340" y="674329"/>
                  </a:lnTo>
                  <a:lnTo>
                    <a:pt x="468313" y="674329"/>
                  </a:lnTo>
                  <a:cubicBezTo>
                    <a:pt x="511940" y="645613"/>
                    <a:pt x="547996" y="607204"/>
                    <a:pt x="573956" y="561975"/>
                  </a:cubicBezTo>
                  <a:close/>
                  <a:moveTo>
                    <a:pt x="616811" y="420688"/>
                  </a:moveTo>
                  <a:lnTo>
                    <a:pt x="842604" y="420688"/>
                  </a:lnTo>
                  <a:lnTo>
                    <a:pt x="842604" y="533040"/>
                  </a:lnTo>
                  <a:lnTo>
                    <a:pt x="587375" y="533040"/>
                  </a:lnTo>
                  <a:cubicBezTo>
                    <a:pt x="603529" y="498470"/>
                    <a:pt x="613580" y="460660"/>
                    <a:pt x="616811" y="420688"/>
                  </a:cubicBezTo>
                  <a:close/>
                  <a:moveTo>
                    <a:pt x="600075" y="280988"/>
                  </a:moveTo>
                  <a:lnTo>
                    <a:pt x="901339" y="280988"/>
                  </a:lnTo>
                  <a:lnTo>
                    <a:pt x="901339" y="393341"/>
                  </a:lnTo>
                  <a:lnTo>
                    <a:pt x="619919" y="393341"/>
                  </a:lnTo>
                  <a:cubicBezTo>
                    <a:pt x="619919" y="353856"/>
                    <a:pt x="612703" y="316166"/>
                    <a:pt x="600075" y="280988"/>
                  </a:cubicBezTo>
                  <a:close/>
                  <a:moveTo>
                    <a:pt x="196799" y="280982"/>
                  </a:moveTo>
                  <a:lnTo>
                    <a:pt x="196799" y="337072"/>
                  </a:lnTo>
                  <a:lnTo>
                    <a:pt x="252925" y="337072"/>
                  </a:lnTo>
                  <a:lnTo>
                    <a:pt x="252925" y="449611"/>
                  </a:lnTo>
                  <a:lnTo>
                    <a:pt x="196799" y="449611"/>
                  </a:lnTo>
                  <a:lnTo>
                    <a:pt x="196799" y="505700"/>
                  </a:lnTo>
                  <a:lnTo>
                    <a:pt x="365176" y="505700"/>
                  </a:lnTo>
                  <a:lnTo>
                    <a:pt x="365176" y="449611"/>
                  </a:lnTo>
                  <a:lnTo>
                    <a:pt x="309051" y="449611"/>
                  </a:lnTo>
                  <a:lnTo>
                    <a:pt x="309051" y="280982"/>
                  </a:lnTo>
                  <a:lnTo>
                    <a:pt x="196799" y="280982"/>
                  </a:lnTo>
                  <a:close/>
                  <a:moveTo>
                    <a:pt x="503238" y="139700"/>
                  </a:moveTo>
                  <a:lnTo>
                    <a:pt x="787040" y="139700"/>
                  </a:lnTo>
                  <a:lnTo>
                    <a:pt x="787040" y="252053"/>
                  </a:lnTo>
                  <a:lnTo>
                    <a:pt x="587154" y="252053"/>
                  </a:lnTo>
                  <a:cubicBezTo>
                    <a:pt x="567346" y="208840"/>
                    <a:pt x="538894" y="170669"/>
                    <a:pt x="503238" y="139700"/>
                  </a:cubicBezTo>
                  <a:close/>
                  <a:moveTo>
                    <a:pt x="280988" y="112713"/>
                  </a:moveTo>
                  <a:cubicBezTo>
                    <a:pt x="436053" y="112713"/>
                    <a:pt x="561615" y="238555"/>
                    <a:pt x="561615" y="393521"/>
                  </a:cubicBezTo>
                  <a:cubicBezTo>
                    <a:pt x="561615" y="548487"/>
                    <a:pt x="436053" y="674329"/>
                    <a:pt x="280988" y="674329"/>
                  </a:cubicBezTo>
                  <a:cubicBezTo>
                    <a:pt x="125923" y="674329"/>
                    <a:pt x="0" y="548487"/>
                    <a:pt x="0" y="393521"/>
                  </a:cubicBezTo>
                  <a:cubicBezTo>
                    <a:pt x="0" y="238555"/>
                    <a:pt x="125923" y="112713"/>
                    <a:pt x="280988" y="112713"/>
                  </a:cubicBezTo>
                  <a:close/>
                  <a:moveTo>
                    <a:pt x="282575" y="0"/>
                  </a:moveTo>
                  <a:lnTo>
                    <a:pt x="844190" y="0"/>
                  </a:lnTo>
                  <a:lnTo>
                    <a:pt x="844190" y="112353"/>
                  </a:lnTo>
                  <a:lnTo>
                    <a:pt x="468221" y="112353"/>
                  </a:lnTo>
                  <a:cubicBezTo>
                    <a:pt x="415694" y="76702"/>
                    <a:pt x="351293" y="55816"/>
                    <a:pt x="282575" y="55816"/>
                  </a:cubicBezTo>
                  <a:lnTo>
                    <a:pt x="28257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defTabSz="914217"/>
              <a:endParaRPr lang="en-US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55" name="Freeform 85">
              <a:extLst>
                <a:ext uri="{FF2B5EF4-FFF2-40B4-BE49-F238E27FC236}">
                  <a16:creationId xmlns:a16="http://schemas.microsoft.com/office/drawing/2014/main" id="{E5DD9B6F-4AD1-144B-B4DD-824907192C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7018" y="2112157"/>
              <a:ext cx="619371" cy="619372"/>
            </a:xfrm>
            <a:custGeom>
              <a:avLst/>
              <a:gdLst>
                <a:gd name="T0" fmla="*/ 422275 w 899752"/>
                <a:gd name="T1" fmla="*/ 280988 h 899754"/>
                <a:gd name="T2" fmla="*/ 534627 w 899752"/>
                <a:gd name="T3" fmla="*/ 365919 h 899754"/>
                <a:gd name="T4" fmla="*/ 422275 w 899752"/>
                <a:gd name="T5" fmla="*/ 450489 h 899754"/>
                <a:gd name="T6" fmla="*/ 57150 w 899752"/>
                <a:gd name="T7" fmla="*/ 225425 h 899754"/>
                <a:gd name="T8" fmla="*/ 113290 w 899752"/>
                <a:gd name="T9" fmla="*/ 225425 h 899754"/>
                <a:gd name="T10" fmla="*/ 113290 w 899752"/>
                <a:gd name="T11" fmla="*/ 562409 h 899754"/>
                <a:gd name="T12" fmla="*/ 422420 w 899752"/>
                <a:gd name="T13" fmla="*/ 562409 h 899754"/>
                <a:gd name="T14" fmla="*/ 478560 w 899752"/>
                <a:gd name="T15" fmla="*/ 562409 h 899754"/>
                <a:gd name="T16" fmla="*/ 787690 w 899752"/>
                <a:gd name="T17" fmla="*/ 562409 h 899754"/>
                <a:gd name="T18" fmla="*/ 787690 w 899752"/>
                <a:gd name="T19" fmla="*/ 225425 h 899754"/>
                <a:gd name="T20" fmla="*/ 844190 w 899752"/>
                <a:gd name="T21" fmla="*/ 225425 h 899754"/>
                <a:gd name="T22" fmla="*/ 844190 w 899752"/>
                <a:gd name="T23" fmla="*/ 618873 h 899754"/>
                <a:gd name="T24" fmla="*/ 478560 w 899752"/>
                <a:gd name="T25" fmla="*/ 618873 h 899754"/>
                <a:gd name="T26" fmla="*/ 478560 w 899752"/>
                <a:gd name="T27" fmla="*/ 803729 h 899754"/>
                <a:gd name="T28" fmla="*/ 490436 w 899752"/>
                <a:gd name="T29" fmla="*/ 815597 h 899754"/>
                <a:gd name="T30" fmla="*/ 518146 w 899752"/>
                <a:gd name="T31" fmla="*/ 843649 h 899754"/>
                <a:gd name="T32" fmla="*/ 590840 w 899752"/>
                <a:gd name="T33" fmla="*/ 843649 h 899754"/>
                <a:gd name="T34" fmla="*/ 590840 w 899752"/>
                <a:gd name="T35" fmla="*/ 899754 h 899754"/>
                <a:gd name="T36" fmla="*/ 495114 w 899752"/>
                <a:gd name="T37" fmla="*/ 899754 h 899754"/>
                <a:gd name="T38" fmla="*/ 450490 w 899752"/>
                <a:gd name="T39" fmla="*/ 855158 h 899754"/>
                <a:gd name="T40" fmla="*/ 405866 w 899752"/>
                <a:gd name="T41" fmla="*/ 899754 h 899754"/>
                <a:gd name="T42" fmla="*/ 309780 w 899752"/>
                <a:gd name="T43" fmla="*/ 899754 h 899754"/>
                <a:gd name="T44" fmla="*/ 309780 w 899752"/>
                <a:gd name="T45" fmla="*/ 843649 h 899754"/>
                <a:gd name="T46" fmla="*/ 382475 w 899752"/>
                <a:gd name="T47" fmla="*/ 843649 h 899754"/>
                <a:gd name="T48" fmla="*/ 410904 w 899752"/>
                <a:gd name="T49" fmla="*/ 815597 h 899754"/>
                <a:gd name="T50" fmla="*/ 422420 w 899752"/>
                <a:gd name="T51" fmla="*/ 803729 h 899754"/>
                <a:gd name="T52" fmla="*/ 422420 w 899752"/>
                <a:gd name="T53" fmla="*/ 618873 h 899754"/>
                <a:gd name="T54" fmla="*/ 57150 w 899752"/>
                <a:gd name="T55" fmla="*/ 618873 h 899754"/>
                <a:gd name="T56" fmla="*/ 421804 w 899752"/>
                <a:gd name="T57" fmla="*/ 0 h 899754"/>
                <a:gd name="T58" fmla="*/ 477949 w 899752"/>
                <a:gd name="T59" fmla="*/ 0 h 899754"/>
                <a:gd name="T60" fmla="*/ 477949 w 899752"/>
                <a:gd name="T61" fmla="*/ 56380 h 899754"/>
                <a:gd name="T62" fmla="*/ 899752 w 899752"/>
                <a:gd name="T63" fmla="*/ 56380 h 899754"/>
                <a:gd name="T64" fmla="*/ 899752 w 899752"/>
                <a:gd name="T65" fmla="*/ 169501 h 899754"/>
                <a:gd name="T66" fmla="*/ 0 w 899752"/>
                <a:gd name="T67" fmla="*/ 169501 h 899754"/>
                <a:gd name="T68" fmla="*/ 0 w 899752"/>
                <a:gd name="T69" fmla="*/ 56380 h 899754"/>
                <a:gd name="T70" fmla="*/ 421804 w 899752"/>
                <a:gd name="T71" fmla="*/ 56380 h 89975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899752" h="899754">
                  <a:moveTo>
                    <a:pt x="422275" y="280988"/>
                  </a:moveTo>
                  <a:lnTo>
                    <a:pt x="534627" y="365919"/>
                  </a:lnTo>
                  <a:lnTo>
                    <a:pt x="422275" y="450489"/>
                  </a:lnTo>
                  <a:lnTo>
                    <a:pt x="422275" y="280988"/>
                  </a:lnTo>
                  <a:close/>
                  <a:moveTo>
                    <a:pt x="57150" y="225425"/>
                  </a:moveTo>
                  <a:lnTo>
                    <a:pt x="113290" y="225425"/>
                  </a:lnTo>
                  <a:lnTo>
                    <a:pt x="113290" y="562409"/>
                  </a:lnTo>
                  <a:lnTo>
                    <a:pt x="422420" y="562409"/>
                  </a:lnTo>
                  <a:lnTo>
                    <a:pt x="478560" y="562409"/>
                  </a:lnTo>
                  <a:lnTo>
                    <a:pt x="787690" y="562409"/>
                  </a:lnTo>
                  <a:lnTo>
                    <a:pt x="787690" y="225425"/>
                  </a:lnTo>
                  <a:lnTo>
                    <a:pt x="844190" y="225425"/>
                  </a:lnTo>
                  <a:lnTo>
                    <a:pt x="844190" y="618873"/>
                  </a:lnTo>
                  <a:lnTo>
                    <a:pt x="478560" y="618873"/>
                  </a:lnTo>
                  <a:lnTo>
                    <a:pt x="478560" y="803729"/>
                  </a:lnTo>
                  <a:lnTo>
                    <a:pt x="490436" y="815597"/>
                  </a:lnTo>
                  <a:lnTo>
                    <a:pt x="518146" y="843649"/>
                  </a:lnTo>
                  <a:lnTo>
                    <a:pt x="590840" y="843649"/>
                  </a:lnTo>
                  <a:lnTo>
                    <a:pt x="590840" y="899754"/>
                  </a:lnTo>
                  <a:lnTo>
                    <a:pt x="495114" y="899754"/>
                  </a:lnTo>
                  <a:lnTo>
                    <a:pt x="450490" y="855158"/>
                  </a:lnTo>
                  <a:lnTo>
                    <a:pt x="405866" y="899754"/>
                  </a:lnTo>
                  <a:lnTo>
                    <a:pt x="309780" y="899754"/>
                  </a:lnTo>
                  <a:lnTo>
                    <a:pt x="309780" y="843649"/>
                  </a:lnTo>
                  <a:lnTo>
                    <a:pt x="382475" y="843649"/>
                  </a:lnTo>
                  <a:lnTo>
                    <a:pt x="410904" y="815597"/>
                  </a:lnTo>
                  <a:lnTo>
                    <a:pt x="422420" y="803729"/>
                  </a:lnTo>
                  <a:lnTo>
                    <a:pt x="422420" y="618873"/>
                  </a:lnTo>
                  <a:lnTo>
                    <a:pt x="57150" y="618873"/>
                  </a:lnTo>
                  <a:lnTo>
                    <a:pt x="57150" y="225425"/>
                  </a:lnTo>
                  <a:close/>
                  <a:moveTo>
                    <a:pt x="421804" y="0"/>
                  </a:moveTo>
                  <a:lnTo>
                    <a:pt x="477949" y="0"/>
                  </a:lnTo>
                  <a:lnTo>
                    <a:pt x="477949" y="56380"/>
                  </a:lnTo>
                  <a:lnTo>
                    <a:pt x="899752" y="56380"/>
                  </a:lnTo>
                  <a:lnTo>
                    <a:pt x="899752" y="169501"/>
                  </a:lnTo>
                  <a:lnTo>
                    <a:pt x="0" y="169501"/>
                  </a:lnTo>
                  <a:lnTo>
                    <a:pt x="0" y="56380"/>
                  </a:lnTo>
                  <a:lnTo>
                    <a:pt x="421804" y="56380"/>
                  </a:lnTo>
                  <a:lnTo>
                    <a:pt x="42180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defTabSz="914217"/>
              <a:endParaRPr lang="en-US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57" name="Freeform 91">
              <a:extLst>
                <a:ext uri="{FF2B5EF4-FFF2-40B4-BE49-F238E27FC236}">
                  <a16:creationId xmlns:a16="http://schemas.microsoft.com/office/drawing/2014/main" id="{7EF36621-3847-1B49-ACFE-443882686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11284" y="2766188"/>
              <a:ext cx="788321" cy="738267"/>
            </a:xfrm>
            <a:custGeom>
              <a:avLst/>
              <a:gdLst>
                <a:gd name="T0" fmla="*/ 642085 w 899753"/>
                <a:gd name="T1" fmla="*/ 505575 h 842602"/>
                <a:gd name="T2" fmla="*/ 781355 w 899753"/>
                <a:gd name="T3" fmla="*/ 645275 h 842602"/>
                <a:gd name="T4" fmla="*/ 838935 w 899753"/>
                <a:gd name="T5" fmla="*/ 505575 h 842602"/>
                <a:gd name="T6" fmla="*/ 506413 w 899753"/>
                <a:gd name="T7" fmla="*/ 449262 h 842602"/>
                <a:gd name="T8" fmla="*/ 899753 w 899753"/>
                <a:gd name="T9" fmla="*/ 449262 h 842602"/>
                <a:gd name="T10" fmla="*/ 784594 w 899753"/>
                <a:gd name="T11" fmla="*/ 728301 h 842602"/>
                <a:gd name="T12" fmla="*/ 506990 w 899753"/>
                <a:gd name="T13" fmla="*/ 61123 h 842602"/>
                <a:gd name="T14" fmla="*/ 506990 w 899753"/>
                <a:gd name="T15" fmla="*/ 336892 h 842602"/>
                <a:gd name="T16" fmla="*/ 783372 w 899753"/>
                <a:gd name="T17" fmla="*/ 336892 h 842602"/>
                <a:gd name="T18" fmla="*/ 506990 w 899753"/>
                <a:gd name="T19" fmla="*/ 61123 h 842602"/>
                <a:gd name="T20" fmla="*/ 394203 w 899753"/>
                <a:gd name="T21" fmla="*/ 55562 h 842602"/>
                <a:gd name="T22" fmla="*/ 394203 w 899753"/>
                <a:gd name="T23" fmla="*/ 449082 h 842602"/>
                <a:gd name="T24" fmla="*/ 672740 w 899753"/>
                <a:gd name="T25" fmla="*/ 727390 h 842602"/>
                <a:gd name="T26" fmla="*/ 394203 w 899753"/>
                <a:gd name="T27" fmla="*/ 842602 h 842602"/>
                <a:gd name="T28" fmla="*/ 0 w 899753"/>
                <a:gd name="T29" fmla="*/ 449082 h 842602"/>
                <a:gd name="T30" fmla="*/ 394203 w 899753"/>
                <a:gd name="T31" fmla="*/ 55562 h 842602"/>
                <a:gd name="T32" fmla="*/ 450850 w 899753"/>
                <a:gd name="T33" fmla="*/ 0 h 842602"/>
                <a:gd name="T34" fmla="*/ 844190 w 899753"/>
                <a:gd name="T35" fmla="*/ 393341 h 842602"/>
                <a:gd name="T36" fmla="*/ 450850 w 899753"/>
                <a:gd name="T37" fmla="*/ 393341 h 84260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899753" h="842602">
                  <a:moveTo>
                    <a:pt x="642085" y="505575"/>
                  </a:moveTo>
                  <a:lnTo>
                    <a:pt x="781355" y="645275"/>
                  </a:lnTo>
                  <a:cubicBezTo>
                    <a:pt x="810865" y="603763"/>
                    <a:pt x="830658" y="556113"/>
                    <a:pt x="838935" y="505575"/>
                  </a:cubicBezTo>
                  <a:lnTo>
                    <a:pt x="642085" y="505575"/>
                  </a:lnTo>
                  <a:close/>
                  <a:moveTo>
                    <a:pt x="506413" y="449262"/>
                  </a:moveTo>
                  <a:lnTo>
                    <a:pt x="899753" y="449262"/>
                  </a:lnTo>
                  <a:cubicBezTo>
                    <a:pt x="899753" y="558279"/>
                    <a:pt x="855849" y="656827"/>
                    <a:pt x="784594" y="728301"/>
                  </a:cubicBezTo>
                  <a:lnTo>
                    <a:pt x="506413" y="449262"/>
                  </a:lnTo>
                  <a:close/>
                  <a:moveTo>
                    <a:pt x="506990" y="61123"/>
                  </a:moveTo>
                  <a:lnTo>
                    <a:pt x="506990" y="336892"/>
                  </a:lnTo>
                  <a:lnTo>
                    <a:pt x="783372" y="336892"/>
                  </a:lnTo>
                  <a:cubicBezTo>
                    <a:pt x="759620" y="195951"/>
                    <a:pt x="648060" y="84493"/>
                    <a:pt x="506990" y="61123"/>
                  </a:cubicBezTo>
                  <a:close/>
                  <a:moveTo>
                    <a:pt x="394203" y="55562"/>
                  </a:moveTo>
                  <a:lnTo>
                    <a:pt x="394203" y="449082"/>
                  </a:lnTo>
                  <a:lnTo>
                    <a:pt x="672740" y="727390"/>
                  </a:lnTo>
                  <a:cubicBezTo>
                    <a:pt x="601394" y="798678"/>
                    <a:pt x="502663" y="842602"/>
                    <a:pt x="394203" y="842602"/>
                  </a:cubicBezTo>
                  <a:cubicBezTo>
                    <a:pt x="176203" y="842602"/>
                    <a:pt x="0" y="666544"/>
                    <a:pt x="0" y="449082"/>
                  </a:cubicBezTo>
                  <a:cubicBezTo>
                    <a:pt x="0" y="231620"/>
                    <a:pt x="176203" y="55562"/>
                    <a:pt x="394203" y="55562"/>
                  </a:cubicBezTo>
                  <a:close/>
                  <a:moveTo>
                    <a:pt x="450850" y="0"/>
                  </a:moveTo>
                  <a:cubicBezTo>
                    <a:pt x="668213" y="0"/>
                    <a:pt x="844190" y="176176"/>
                    <a:pt x="844190" y="393341"/>
                  </a:cubicBezTo>
                  <a:lnTo>
                    <a:pt x="450850" y="393341"/>
                  </a:lnTo>
                  <a:lnTo>
                    <a:pt x="4508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defTabSz="914217"/>
              <a:endParaRPr lang="en-US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40" name="Shape 9162">
              <a:extLst>
                <a:ext uri="{FF2B5EF4-FFF2-40B4-BE49-F238E27FC236}">
                  <a16:creationId xmlns:a16="http://schemas.microsoft.com/office/drawing/2014/main" id="{E09BB8EC-EF4C-5042-8F1F-740F3C367CFB}"/>
                </a:ext>
              </a:extLst>
            </p:cNvPr>
            <p:cNvSpPr/>
            <p:nvPr/>
          </p:nvSpPr>
          <p:spPr>
            <a:xfrm>
              <a:off x="5005125" y="1798158"/>
              <a:ext cx="2176384" cy="2176386"/>
            </a:xfrm>
            <a:prstGeom prst="ellipse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914217"/>
              <a:endParaRPr sz="2532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56" name="Freeform 90">
              <a:extLst>
                <a:ext uri="{FF2B5EF4-FFF2-40B4-BE49-F238E27FC236}">
                  <a16:creationId xmlns:a16="http://schemas.microsoft.com/office/drawing/2014/main" id="{A4401E5E-21D6-BE4A-8171-D02567B51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1001" y="2497392"/>
              <a:ext cx="832124" cy="777918"/>
            </a:xfrm>
            <a:custGeom>
              <a:avLst/>
              <a:gdLst>
                <a:gd name="T0" fmla="*/ 619798 w 901340"/>
                <a:gd name="T1" fmla="*/ 730250 h 842602"/>
                <a:gd name="T2" fmla="*/ 845104 w 901340"/>
                <a:gd name="T3" fmla="*/ 730250 h 842602"/>
                <a:gd name="T4" fmla="*/ 901340 w 901340"/>
                <a:gd name="T5" fmla="*/ 786426 h 842602"/>
                <a:gd name="T6" fmla="*/ 901340 w 901340"/>
                <a:gd name="T7" fmla="*/ 842602 h 842602"/>
                <a:gd name="T8" fmla="*/ 563562 w 901340"/>
                <a:gd name="T9" fmla="*/ 842602 h 842602"/>
                <a:gd name="T10" fmla="*/ 563562 w 901340"/>
                <a:gd name="T11" fmla="*/ 786426 h 842602"/>
                <a:gd name="T12" fmla="*/ 56536 w 901340"/>
                <a:gd name="T13" fmla="*/ 730250 h 842602"/>
                <a:gd name="T14" fmla="*/ 281241 w 901340"/>
                <a:gd name="T15" fmla="*/ 730250 h 842602"/>
                <a:gd name="T16" fmla="*/ 337777 w 901340"/>
                <a:gd name="T17" fmla="*/ 786426 h 842602"/>
                <a:gd name="T18" fmla="*/ 337777 w 901340"/>
                <a:gd name="T19" fmla="*/ 842602 h 842602"/>
                <a:gd name="T20" fmla="*/ 0 w 901340"/>
                <a:gd name="T21" fmla="*/ 842602 h 842602"/>
                <a:gd name="T22" fmla="*/ 0 w 901340"/>
                <a:gd name="T23" fmla="*/ 786426 h 842602"/>
                <a:gd name="T24" fmla="*/ 318349 w 901340"/>
                <a:gd name="T25" fmla="*/ 612775 h 842602"/>
                <a:gd name="T26" fmla="*/ 582992 w 901340"/>
                <a:gd name="T27" fmla="*/ 612775 h 842602"/>
                <a:gd name="T28" fmla="*/ 609241 w 901340"/>
                <a:gd name="T29" fmla="*/ 662402 h 842602"/>
                <a:gd name="T30" fmla="*/ 450670 w 901340"/>
                <a:gd name="T31" fmla="*/ 701318 h 842602"/>
                <a:gd name="T32" fmla="*/ 292100 w 901340"/>
                <a:gd name="T33" fmla="*/ 662402 h 842602"/>
                <a:gd name="T34" fmla="*/ 732270 w 901340"/>
                <a:gd name="T35" fmla="*/ 504825 h 842602"/>
                <a:gd name="T36" fmla="*/ 817201 w 901340"/>
                <a:gd name="T37" fmla="*/ 588881 h 842602"/>
                <a:gd name="T38" fmla="*/ 817201 w 901340"/>
                <a:gd name="T39" fmla="*/ 616900 h 842602"/>
                <a:gd name="T40" fmla="*/ 732270 w 901340"/>
                <a:gd name="T41" fmla="*/ 701316 h 842602"/>
                <a:gd name="T42" fmla="*/ 647700 w 901340"/>
                <a:gd name="T43" fmla="*/ 616900 h 842602"/>
                <a:gd name="T44" fmla="*/ 647700 w 901340"/>
                <a:gd name="T45" fmla="*/ 588881 h 842602"/>
                <a:gd name="T46" fmla="*/ 732270 w 901340"/>
                <a:gd name="T47" fmla="*/ 504825 h 842602"/>
                <a:gd name="T48" fmla="*/ 168095 w 901340"/>
                <a:gd name="T49" fmla="*/ 504825 h 842602"/>
                <a:gd name="T50" fmla="*/ 252053 w 901340"/>
                <a:gd name="T51" fmla="*/ 588881 h 842602"/>
                <a:gd name="T52" fmla="*/ 252053 w 901340"/>
                <a:gd name="T53" fmla="*/ 616900 h 842602"/>
                <a:gd name="T54" fmla="*/ 168095 w 901340"/>
                <a:gd name="T55" fmla="*/ 701316 h 842602"/>
                <a:gd name="T56" fmla="*/ 84137 w 901340"/>
                <a:gd name="T57" fmla="*/ 616900 h 842602"/>
                <a:gd name="T58" fmla="*/ 84137 w 901340"/>
                <a:gd name="T59" fmla="*/ 588881 h 842602"/>
                <a:gd name="T60" fmla="*/ 168095 w 901340"/>
                <a:gd name="T61" fmla="*/ 504825 h 842602"/>
                <a:gd name="T62" fmla="*/ 337524 w 901340"/>
                <a:gd name="T63" fmla="*/ 223837 h 842602"/>
                <a:gd name="T64" fmla="*/ 562589 w 901340"/>
                <a:gd name="T65" fmla="*/ 223837 h 842602"/>
                <a:gd name="T66" fmla="*/ 618765 w 901340"/>
                <a:gd name="T67" fmla="*/ 280013 h 842602"/>
                <a:gd name="T68" fmla="*/ 618765 w 901340"/>
                <a:gd name="T69" fmla="*/ 336190 h 842602"/>
                <a:gd name="T70" fmla="*/ 280987 w 901340"/>
                <a:gd name="T71" fmla="*/ 336190 h 842602"/>
                <a:gd name="T72" fmla="*/ 280987 w 901340"/>
                <a:gd name="T73" fmla="*/ 280013 h 842602"/>
                <a:gd name="T74" fmla="*/ 337524 w 901340"/>
                <a:gd name="T75" fmla="*/ 223837 h 842602"/>
                <a:gd name="T76" fmla="*/ 637877 w 901340"/>
                <a:gd name="T77" fmla="*/ 142875 h 842602"/>
                <a:gd name="T78" fmla="*/ 788626 w 901340"/>
                <a:gd name="T79" fmla="*/ 421914 h 842602"/>
                <a:gd name="T80" fmla="*/ 732230 w 901340"/>
                <a:gd name="T81" fmla="*/ 421914 h 842602"/>
                <a:gd name="T82" fmla="*/ 606425 w 901340"/>
                <a:gd name="T83" fmla="*/ 189742 h 842602"/>
                <a:gd name="T84" fmla="*/ 261899 w 901340"/>
                <a:gd name="T85" fmla="*/ 142875 h 842602"/>
                <a:gd name="T86" fmla="*/ 293326 w 901340"/>
                <a:gd name="T87" fmla="*/ 189657 h 842602"/>
                <a:gd name="T88" fmla="*/ 169064 w 901340"/>
                <a:gd name="T89" fmla="*/ 420327 h 842602"/>
                <a:gd name="T90" fmla="*/ 112712 w 901340"/>
                <a:gd name="T91" fmla="*/ 420327 h 842602"/>
                <a:gd name="T92" fmla="*/ 261899 w 901340"/>
                <a:gd name="T93" fmla="*/ 142875 h 842602"/>
                <a:gd name="T94" fmla="*/ 450670 w 901340"/>
                <a:gd name="T95" fmla="*/ 0 h 842602"/>
                <a:gd name="T96" fmla="*/ 534628 w 901340"/>
                <a:gd name="T97" fmla="*/ 84415 h 842602"/>
                <a:gd name="T98" fmla="*/ 534628 w 901340"/>
                <a:gd name="T99" fmla="*/ 112434 h 842602"/>
                <a:gd name="T100" fmla="*/ 450670 w 901340"/>
                <a:gd name="T101" fmla="*/ 196491 h 842602"/>
                <a:gd name="T102" fmla="*/ 366712 w 901340"/>
                <a:gd name="T103" fmla="*/ 112434 h 842602"/>
                <a:gd name="T104" fmla="*/ 366712 w 901340"/>
                <a:gd name="T105" fmla="*/ 84415 h 842602"/>
                <a:gd name="T106" fmla="*/ 450670 w 901340"/>
                <a:gd name="T107" fmla="*/ 0 h 84260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901340" h="842602">
                  <a:moveTo>
                    <a:pt x="619798" y="730250"/>
                  </a:moveTo>
                  <a:lnTo>
                    <a:pt x="845104" y="730250"/>
                  </a:lnTo>
                  <a:cubicBezTo>
                    <a:pt x="867093" y="752216"/>
                    <a:pt x="879350" y="764460"/>
                    <a:pt x="901340" y="786426"/>
                  </a:cubicBezTo>
                  <a:lnTo>
                    <a:pt x="901340" y="842602"/>
                  </a:lnTo>
                  <a:lnTo>
                    <a:pt x="563562" y="842602"/>
                  </a:lnTo>
                  <a:lnTo>
                    <a:pt x="563562" y="786426"/>
                  </a:lnTo>
                  <a:lnTo>
                    <a:pt x="619798" y="730250"/>
                  </a:lnTo>
                  <a:close/>
                  <a:moveTo>
                    <a:pt x="56536" y="730250"/>
                  </a:moveTo>
                  <a:lnTo>
                    <a:pt x="281241" y="730250"/>
                  </a:lnTo>
                  <a:lnTo>
                    <a:pt x="337777" y="786426"/>
                  </a:lnTo>
                  <a:lnTo>
                    <a:pt x="337777" y="842602"/>
                  </a:lnTo>
                  <a:lnTo>
                    <a:pt x="0" y="842602"/>
                  </a:lnTo>
                  <a:lnTo>
                    <a:pt x="0" y="786426"/>
                  </a:lnTo>
                  <a:lnTo>
                    <a:pt x="56536" y="730250"/>
                  </a:lnTo>
                  <a:close/>
                  <a:moveTo>
                    <a:pt x="318349" y="612775"/>
                  </a:moveTo>
                  <a:cubicBezTo>
                    <a:pt x="399252" y="655618"/>
                    <a:pt x="502089" y="655618"/>
                    <a:pt x="582992" y="612775"/>
                  </a:cubicBezTo>
                  <a:lnTo>
                    <a:pt x="609241" y="662402"/>
                  </a:lnTo>
                  <a:cubicBezTo>
                    <a:pt x="561058" y="687751"/>
                    <a:pt x="506044" y="701318"/>
                    <a:pt x="450670" y="701318"/>
                  </a:cubicBezTo>
                  <a:cubicBezTo>
                    <a:pt x="395297" y="701318"/>
                    <a:pt x="340642" y="687751"/>
                    <a:pt x="292100" y="662402"/>
                  </a:cubicBezTo>
                  <a:lnTo>
                    <a:pt x="318349" y="612775"/>
                  </a:lnTo>
                  <a:close/>
                  <a:moveTo>
                    <a:pt x="732270" y="504825"/>
                  </a:moveTo>
                  <a:cubicBezTo>
                    <a:pt x="778892" y="504825"/>
                    <a:pt x="817201" y="542542"/>
                    <a:pt x="817201" y="588881"/>
                  </a:cubicBezTo>
                  <a:lnTo>
                    <a:pt x="817201" y="616900"/>
                  </a:lnTo>
                  <a:cubicBezTo>
                    <a:pt x="817201" y="663598"/>
                    <a:pt x="778892" y="701316"/>
                    <a:pt x="732270" y="701316"/>
                  </a:cubicBezTo>
                  <a:cubicBezTo>
                    <a:pt x="685648" y="701316"/>
                    <a:pt x="647700" y="663598"/>
                    <a:pt x="647700" y="616900"/>
                  </a:cubicBezTo>
                  <a:lnTo>
                    <a:pt x="647700" y="588881"/>
                  </a:lnTo>
                  <a:cubicBezTo>
                    <a:pt x="647700" y="542542"/>
                    <a:pt x="685648" y="504825"/>
                    <a:pt x="732270" y="504825"/>
                  </a:cubicBezTo>
                  <a:close/>
                  <a:moveTo>
                    <a:pt x="168095" y="504825"/>
                  </a:moveTo>
                  <a:cubicBezTo>
                    <a:pt x="214739" y="504825"/>
                    <a:pt x="252053" y="542542"/>
                    <a:pt x="252053" y="588881"/>
                  </a:cubicBezTo>
                  <a:lnTo>
                    <a:pt x="252053" y="616900"/>
                  </a:lnTo>
                  <a:cubicBezTo>
                    <a:pt x="252053" y="663598"/>
                    <a:pt x="214739" y="701316"/>
                    <a:pt x="168095" y="701316"/>
                  </a:cubicBezTo>
                  <a:cubicBezTo>
                    <a:pt x="121811" y="701316"/>
                    <a:pt x="84137" y="663598"/>
                    <a:pt x="84137" y="616900"/>
                  </a:cubicBezTo>
                  <a:lnTo>
                    <a:pt x="84137" y="588881"/>
                  </a:lnTo>
                  <a:cubicBezTo>
                    <a:pt x="84137" y="542542"/>
                    <a:pt x="121811" y="504825"/>
                    <a:pt x="168095" y="504825"/>
                  </a:cubicBezTo>
                  <a:close/>
                  <a:moveTo>
                    <a:pt x="337524" y="223837"/>
                  </a:moveTo>
                  <a:lnTo>
                    <a:pt x="562589" y="223837"/>
                  </a:lnTo>
                  <a:cubicBezTo>
                    <a:pt x="584555" y="245803"/>
                    <a:pt x="596799" y="258407"/>
                    <a:pt x="618765" y="280013"/>
                  </a:cubicBezTo>
                  <a:lnTo>
                    <a:pt x="618765" y="336190"/>
                  </a:lnTo>
                  <a:lnTo>
                    <a:pt x="280987" y="336190"/>
                  </a:lnTo>
                  <a:lnTo>
                    <a:pt x="280987" y="280013"/>
                  </a:lnTo>
                  <a:cubicBezTo>
                    <a:pt x="302954" y="258407"/>
                    <a:pt x="315557" y="245803"/>
                    <a:pt x="337524" y="223837"/>
                  </a:cubicBezTo>
                  <a:close/>
                  <a:moveTo>
                    <a:pt x="637877" y="142875"/>
                  </a:moveTo>
                  <a:cubicBezTo>
                    <a:pt x="732230" y="205605"/>
                    <a:pt x="788626" y="309794"/>
                    <a:pt x="788626" y="421914"/>
                  </a:cubicBezTo>
                  <a:lnTo>
                    <a:pt x="732230" y="421914"/>
                  </a:lnTo>
                  <a:cubicBezTo>
                    <a:pt x="732230" y="328901"/>
                    <a:pt x="685234" y="242017"/>
                    <a:pt x="606425" y="189742"/>
                  </a:cubicBezTo>
                  <a:lnTo>
                    <a:pt x="637877" y="142875"/>
                  </a:lnTo>
                  <a:close/>
                  <a:moveTo>
                    <a:pt x="261899" y="142875"/>
                  </a:moveTo>
                  <a:lnTo>
                    <a:pt x="293326" y="189657"/>
                  </a:lnTo>
                  <a:cubicBezTo>
                    <a:pt x="215301" y="241477"/>
                    <a:pt x="169064" y="327843"/>
                    <a:pt x="169064" y="420327"/>
                  </a:cubicBezTo>
                  <a:lnTo>
                    <a:pt x="112712" y="420327"/>
                  </a:lnTo>
                  <a:cubicBezTo>
                    <a:pt x="112712" y="309130"/>
                    <a:pt x="168341" y="205491"/>
                    <a:pt x="261899" y="142875"/>
                  </a:cubicBezTo>
                  <a:close/>
                  <a:moveTo>
                    <a:pt x="450670" y="0"/>
                  </a:moveTo>
                  <a:cubicBezTo>
                    <a:pt x="496955" y="0"/>
                    <a:pt x="534628" y="37717"/>
                    <a:pt x="534628" y="84415"/>
                  </a:cubicBezTo>
                  <a:lnTo>
                    <a:pt x="534628" y="112434"/>
                  </a:lnTo>
                  <a:cubicBezTo>
                    <a:pt x="534628" y="158773"/>
                    <a:pt x="496955" y="196491"/>
                    <a:pt x="450670" y="196491"/>
                  </a:cubicBezTo>
                  <a:cubicBezTo>
                    <a:pt x="404386" y="196491"/>
                    <a:pt x="366712" y="158773"/>
                    <a:pt x="366712" y="112434"/>
                  </a:cubicBezTo>
                  <a:lnTo>
                    <a:pt x="366712" y="84415"/>
                  </a:lnTo>
                  <a:cubicBezTo>
                    <a:pt x="366712" y="37717"/>
                    <a:pt x="404386" y="0"/>
                    <a:pt x="45067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anchor="ctr"/>
            <a:lstStyle/>
            <a:p>
              <a:pPr defTabSz="914217"/>
              <a:endParaRPr lang="en-US" dirty="0">
                <a:solidFill>
                  <a:srgbClr val="B3B3B3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280D0F6A-1AF7-9840-B1CD-E23AB840ACDD}"/>
                </a:ext>
              </a:extLst>
            </p:cNvPr>
            <p:cNvSpPr txBox="1"/>
            <p:nvPr/>
          </p:nvSpPr>
          <p:spPr>
            <a:xfrm>
              <a:off x="1333366" y="4175711"/>
              <a:ext cx="175080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217"/>
              <a:r>
                <a:rPr lang="pl-PL" sz="1600" b="1" dirty="0">
                  <a:solidFill>
                    <a:srgbClr val="1C2835"/>
                  </a:solidFill>
                  <a:latin typeface="Poppins" pitchFamily="2" charset="77"/>
                  <a:cs typeface="Poppins" pitchFamily="2" charset="77"/>
                </a:rPr>
                <a:t>ANALIZA </a:t>
              </a:r>
            </a:p>
            <a:p>
              <a:pPr algn="ctr" defTabSz="914217"/>
              <a:r>
                <a:rPr lang="pl-PL" sz="1600" b="1" dirty="0">
                  <a:solidFill>
                    <a:srgbClr val="1C2835"/>
                  </a:solidFill>
                  <a:latin typeface="Poppins" pitchFamily="2" charset="77"/>
                  <a:cs typeface="Poppins" pitchFamily="2" charset="77"/>
                </a:rPr>
                <a:t>STRATEGICZNA</a:t>
              </a:r>
              <a:endParaRPr lang="en-US" sz="1600" b="1" dirty="0">
                <a:solidFill>
                  <a:srgbClr val="1C2835"/>
                </a:solidFill>
                <a:latin typeface="Poppins" pitchFamily="2" charset="77"/>
                <a:cs typeface="Poppins" pitchFamily="2" charset="77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F7C80298-3226-E049-BB78-9A2927706DEB}"/>
                </a:ext>
              </a:extLst>
            </p:cNvPr>
            <p:cNvSpPr txBox="1"/>
            <p:nvPr/>
          </p:nvSpPr>
          <p:spPr>
            <a:xfrm>
              <a:off x="4143828" y="4175711"/>
              <a:ext cx="131318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217"/>
              <a:r>
                <a:rPr lang="pl-PL" sz="1600" b="1" dirty="0">
                  <a:solidFill>
                    <a:srgbClr val="1C2835"/>
                  </a:solidFill>
                  <a:latin typeface="Poppins" pitchFamily="2" charset="77"/>
                  <a:cs typeface="Poppins" pitchFamily="2" charset="77"/>
                </a:rPr>
                <a:t>WARTOŚĆI</a:t>
              </a:r>
              <a:endParaRPr lang="en-US" sz="1600" b="1" dirty="0">
                <a:solidFill>
                  <a:srgbClr val="1C2835"/>
                </a:solidFill>
                <a:latin typeface="Poppins" pitchFamily="2" charset="77"/>
                <a:cs typeface="Poppins" pitchFamily="2" charset="77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E95A6CEA-74B3-7747-9EDC-A85286334703}"/>
                </a:ext>
              </a:extLst>
            </p:cNvPr>
            <p:cNvSpPr txBox="1"/>
            <p:nvPr/>
          </p:nvSpPr>
          <p:spPr>
            <a:xfrm>
              <a:off x="6536910" y="4175711"/>
              <a:ext cx="1710725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217"/>
              <a:r>
                <a:rPr lang="pl-PL" sz="1600" b="1" dirty="0">
                  <a:solidFill>
                    <a:srgbClr val="1C2835"/>
                  </a:solidFill>
                  <a:latin typeface="Poppins" pitchFamily="2" charset="77"/>
                  <a:cs typeface="Poppins" pitchFamily="2" charset="77"/>
                </a:rPr>
                <a:t>CELE </a:t>
              </a:r>
            </a:p>
            <a:p>
              <a:pPr algn="ctr" defTabSz="914217"/>
              <a:r>
                <a:rPr lang="pl-PL" sz="1600" b="1" dirty="0">
                  <a:solidFill>
                    <a:srgbClr val="1C2835"/>
                  </a:solidFill>
                  <a:latin typeface="Poppins" pitchFamily="2" charset="77"/>
                  <a:cs typeface="Poppins" pitchFamily="2" charset="77"/>
                </a:rPr>
                <a:t>STRATEGICZNE</a:t>
              </a:r>
              <a:endParaRPr lang="en-US" sz="1600" b="1" dirty="0">
                <a:solidFill>
                  <a:srgbClr val="1C2835"/>
                </a:solidFill>
                <a:latin typeface="Poppins" pitchFamily="2" charset="77"/>
                <a:cs typeface="Poppins" pitchFamily="2" charset="77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0B01A95A-0B33-4A4B-BC8F-71CACC09AE6F}"/>
                </a:ext>
              </a:extLst>
            </p:cNvPr>
            <p:cNvSpPr txBox="1"/>
            <p:nvPr/>
          </p:nvSpPr>
          <p:spPr>
            <a:xfrm>
              <a:off x="2680270" y="5060294"/>
              <a:ext cx="16466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217"/>
              <a:r>
                <a:rPr lang="pl-PL" sz="1600" b="1" dirty="0">
                  <a:solidFill>
                    <a:srgbClr val="1C2835"/>
                  </a:solidFill>
                  <a:latin typeface="Poppins" pitchFamily="2" charset="77"/>
                  <a:cs typeface="Poppins" pitchFamily="2" charset="77"/>
                </a:rPr>
                <a:t>MISJA I WIZJA</a:t>
              </a:r>
              <a:endParaRPr lang="en-US" sz="1600" b="1" dirty="0">
                <a:solidFill>
                  <a:srgbClr val="1C2835"/>
                </a:solidFill>
                <a:latin typeface="Poppins" pitchFamily="2" charset="77"/>
                <a:cs typeface="Poppins" pitchFamily="2" charset="77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8A8D4791-126F-D644-92E5-20C73933786D}"/>
                </a:ext>
              </a:extLst>
            </p:cNvPr>
            <p:cNvSpPr txBox="1"/>
            <p:nvPr/>
          </p:nvSpPr>
          <p:spPr>
            <a:xfrm>
              <a:off x="5328528" y="5060294"/>
              <a:ext cx="1529586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217"/>
              <a:r>
                <a:rPr lang="pl-PL" sz="1600" b="1" dirty="0">
                  <a:solidFill>
                    <a:srgbClr val="1C2835"/>
                  </a:solidFill>
                  <a:latin typeface="Poppins" pitchFamily="2" charset="77"/>
                  <a:cs typeface="Poppins" pitchFamily="2" charset="77"/>
                </a:rPr>
                <a:t>OBSZARY </a:t>
              </a:r>
            </a:p>
            <a:p>
              <a:pPr algn="ctr" defTabSz="914217"/>
              <a:r>
                <a:rPr lang="pl-PL" sz="1600" b="1" dirty="0">
                  <a:solidFill>
                    <a:srgbClr val="1C2835"/>
                  </a:solidFill>
                  <a:latin typeface="Poppins" pitchFamily="2" charset="77"/>
                  <a:cs typeface="Poppins" pitchFamily="2" charset="77"/>
                </a:rPr>
                <a:t>STRAGICZNE</a:t>
              </a:r>
            </a:p>
            <a:p>
              <a:pPr algn="ctr" defTabSz="914217"/>
              <a:r>
                <a:rPr lang="pl-PL" sz="1600" b="1" dirty="0">
                  <a:solidFill>
                    <a:srgbClr val="1C2835"/>
                  </a:solidFill>
                  <a:latin typeface="Poppins" pitchFamily="2" charset="77"/>
                  <a:cs typeface="Poppins" pitchFamily="2" charset="77"/>
                </a:rPr>
                <a:t>(FILARY</a:t>
              </a:r>
            </a:p>
            <a:p>
              <a:pPr algn="ctr" defTabSz="914217"/>
              <a:r>
                <a:rPr lang="pl-PL" sz="1600" b="1" dirty="0">
                  <a:solidFill>
                    <a:srgbClr val="1C2835"/>
                  </a:solidFill>
                  <a:latin typeface="Poppins" pitchFamily="2" charset="77"/>
                  <a:cs typeface="Poppins" pitchFamily="2" charset="77"/>
                </a:rPr>
                <a:t>PRIORYTETY)</a:t>
              </a:r>
              <a:endParaRPr lang="en-US" sz="1600" b="1" dirty="0">
                <a:solidFill>
                  <a:srgbClr val="1C2835"/>
                </a:solidFill>
                <a:latin typeface="Poppins" pitchFamily="2" charset="77"/>
                <a:cs typeface="Poppins" pitchFamily="2" charset="77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04E44CB3-673D-B54C-AB91-6E933A89AB0A}"/>
                </a:ext>
              </a:extLst>
            </p:cNvPr>
            <p:cNvSpPr txBox="1"/>
            <p:nvPr/>
          </p:nvSpPr>
          <p:spPr>
            <a:xfrm>
              <a:off x="7579914" y="5060294"/>
              <a:ext cx="222208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217"/>
              <a:r>
                <a:rPr lang="pl-PL" sz="1600" b="1" dirty="0">
                  <a:solidFill>
                    <a:srgbClr val="1C2835"/>
                  </a:solidFill>
                  <a:latin typeface="Poppins" pitchFamily="2" charset="77"/>
                  <a:cs typeface="Poppins" pitchFamily="2" charset="77"/>
                </a:rPr>
                <a:t>CELE </a:t>
              </a:r>
            </a:p>
            <a:p>
              <a:pPr algn="ctr" defTabSz="914217"/>
              <a:r>
                <a:rPr lang="pl-PL" sz="1600" b="1" dirty="0">
                  <a:solidFill>
                    <a:srgbClr val="1C2835"/>
                  </a:solidFill>
                  <a:latin typeface="Poppins" pitchFamily="2" charset="77"/>
                  <a:cs typeface="Poppins" pitchFamily="2" charset="77"/>
                </a:rPr>
                <a:t>OPERACYJNE</a:t>
              </a:r>
            </a:p>
            <a:p>
              <a:pPr algn="ctr" defTabSz="914217"/>
              <a:r>
                <a:rPr lang="pl-PL" sz="1600" b="1" dirty="0">
                  <a:solidFill>
                    <a:srgbClr val="1C2835"/>
                  </a:solidFill>
                  <a:latin typeface="Poppins" pitchFamily="2" charset="77"/>
                  <a:cs typeface="Poppins" pitchFamily="2" charset="77"/>
                </a:rPr>
                <a:t>(+WSKAŹNIKI - KPI)</a:t>
              </a:r>
              <a:endParaRPr lang="en-US" sz="1600" b="1" dirty="0">
                <a:solidFill>
                  <a:srgbClr val="1C2835"/>
                </a:solidFill>
                <a:latin typeface="Poppins" pitchFamily="2" charset="77"/>
                <a:cs typeface="Poppins" pitchFamily="2" charset="77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B712FC61-A2AE-AB47-9666-1EBF674E7469}"/>
                </a:ext>
              </a:extLst>
            </p:cNvPr>
            <p:cNvSpPr txBox="1"/>
            <p:nvPr/>
          </p:nvSpPr>
          <p:spPr>
            <a:xfrm>
              <a:off x="8863383" y="4175711"/>
              <a:ext cx="2239716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217"/>
              <a:r>
                <a:rPr lang="pl-PL" sz="1600" b="1" dirty="0">
                  <a:solidFill>
                    <a:srgbClr val="1C2835"/>
                  </a:solidFill>
                  <a:latin typeface="Poppins" pitchFamily="2" charset="77"/>
                  <a:cs typeface="Poppins" pitchFamily="2" charset="77"/>
                </a:rPr>
                <a:t>HARMONOGRAM</a:t>
              </a:r>
            </a:p>
            <a:p>
              <a:pPr algn="ctr" defTabSz="914217"/>
              <a:r>
                <a:rPr lang="pl-PL" sz="1600" b="1" dirty="0">
                  <a:solidFill>
                    <a:srgbClr val="1C2835"/>
                  </a:solidFill>
                  <a:latin typeface="Poppins" pitchFamily="2" charset="77"/>
                  <a:cs typeface="Poppins" pitchFamily="2" charset="77"/>
                </a:rPr>
                <a:t>(KAMIENIE MILOWE)</a:t>
              </a:r>
              <a:endParaRPr lang="en-US" sz="1600" b="1" dirty="0">
                <a:solidFill>
                  <a:srgbClr val="1C2835"/>
                </a:solidFill>
                <a:latin typeface="Poppins" pitchFamily="2" charset="77"/>
                <a:cs typeface="Poppins" pitchFamily="2" charset="77"/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E721D747-38C0-2E47-8066-01C55203864A}"/>
              </a:ext>
            </a:extLst>
          </p:cNvPr>
          <p:cNvSpPr txBox="1"/>
          <p:nvPr/>
        </p:nvSpPr>
        <p:spPr>
          <a:xfrm>
            <a:off x="359151" y="4543502"/>
            <a:ext cx="1418184" cy="260654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defTabSz="914217">
              <a:lnSpc>
                <a:spcPts val="1750"/>
              </a:lnSpc>
            </a:pPr>
            <a:r>
              <a:rPr lang="pl-PL" sz="1200" b="1" dirty="0">
                <a:solidFill>
                  <a:schemeClr val="accent6">
                    <a:lumMod val="50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naliza </a:t>
            </a:r>
            <a:r>
              <a:rPr lang="pl-PL" sz="1200" b="1" dirty="0" err="1">
                <a:solidFill>
                  <a:schemeClr val="accent6">
                    <a:lumMod val="50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krootoczenia</a:t>
            </a:r>
            <a:r>
              <a:rPr lang="pl-PL" sz="1200" b="1" dirty="0">
                <a:solidFill>
                  <a:schemeClr val="accent6">
                    <a:lumMod val="50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pl-PL" sz="1200" dirty="0">
                <a:solidFill>
                  <a:schemeClr val="accent6">
                    <a:lumMod val="50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PEST)</a:t>
            </a:r>
          </a:p>
          <a:p>
            <a:pPr algn="ctr" defTabSz="914217">
              <a:lnSpc>
                <a:spcPts val="1750"/>
              </a:lnSpc>
            </a:pPr>
            <a:r>
              <a:rPr lang="pl-PL" sz="1200" b="1" dirty="0">
                <a:solidFill>
                  <a:schemeClr val="accent6">
                    <a:lumMod val="50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naliza mikrootoczenia</a:t>
            </a:r>
          </a:p>
          <a:p>
            <a:pPr algn="ctr" defTabSz="914217">
              <a:lnSpc>
                <a:spcPts val="1750"/>
              </a:lnSpc>
            </a:pPr>
            <a:r>
              <a:rPr lang="pl-PL" sz="1200" dirty="0">
                <a:solidFill>
                  <a:schemeClr val="accent6">
                    <a:lumMod val="50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5 sił portera)</a:t>
            </a:r>
          </a:p>
          <a:p>
            <a:pPr algn="ctr" defTabSz="914217">
              <a:lnSpc>
                <a:spcPts val="1750"/>
              </a:lnSpc>
            </a:pPr>
            <a:r>
              <a:rPr lang="pl-PL" sz="1200" b="1" dirty="0">
                <a:solidFill>
                  <a:schemeClr val="accent6">
                    <a:lumMod val="50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naliza organizacji/</a:t>
            </a:r>
          </a:p>
          <a:p>
            <a:pPr algn="ctr" defTabSz="914217">
              <a:lnSpc>
                <a:spcPts val="1750"/>
              </a:lnSpc>
            </a:pPr>
            <a:r>
              <a:rPr lang="pl-PL" sz="1200" b="1" dirty="0">
                <a:solidFill>
                  <a:schemeClr val="accent6">
                    <a:lumMod val="50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yscypliny </a:t>
            </a:r>
            <a:r>
              <a:rPr lang="pl-PL" sz="1200" dirty="0">
                <a:solidFill>
                  <a:schemeClr val="accent6">
                    <a:lumMod val="50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SWOT)</a:t>
            </a:r>
          </a:p>
          <a:p>
            <a:pPr algn="ctr" defTabSz="914217">
              <a:lnSpc>
                <a:spcPts val="1750"/>
              </a:lnSpc>
            </a:pPr>
            <a:endParaRPr lang="en-US" sz="1200" dirty="0">
              <a:solidFill>
                <a:schemeClr val="accent6">
                  <a:lumMod val="50000"/>
                </a:schemeClr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83E06EFF-6876-E8E8-DAFD-7A7E1ABF6D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4890" y="2182203"/>
            <a:ext cx="1859598" cy="1859598"/>
          </a:xfrm>
          <a:prstGeom prst="rect">
            <a:avLst/>
          </a:prstGeom>
        </p:spPr>
      </p:pic>
      <p:pic>
        <p:nvPicPr>
          <p:cNvPr id="4" name="Obraz 3">
            <a:extLst>
              <a:ext uri="{FF2B5EF4-FFF2-40B4-BE49-F238E27FC236}">
                <a16:creationId xmlns:a16="http://schemas.microsoft.com/office/drawing/2014/main" id="{48363F2D-DD29-5A89-D319-D3AF376E7B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99187" y="4865988"/>
            <a:ext cx="174852" cy="174852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04F05E79-2100-F505-EDB2-284A5976E0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05959" y="2843993"/>
            <a:ext cx="725487" cy="774259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FA7F07A9-15A1-2374-873B-2A85CB518CA8}"/>
              </a:ext>
            </a:extLst>
          </p:cNvPr>
          <p:cNvSpPr txBox="1"/>
          <p:nvPr/>
        </p:nvSpPr>
        <p:spPr>
          <a:xfrm>
            <a:off x="10050999" y="5194727"/>
            <a:ext cx="1646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b="1" dirty="0">
                <a:solidFill>
                  <a:schemeClr val="accent6">
                    <a:lumMod val="50000"/>
                  </a:schemeClr>
                </a:solidFill>
              </a:rPr>
              <a:t>KOMUNIKACJA</a:t>
            </a: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3FA93B7B-B2E0-66FB-7A0B-DD6CD58D15B9}"/>
              </a:ext>
            </a:extLst>
          </p:cNvPr>
          <p:cNvSpPr txBox="1"/>
          <p:nvPr/>
        </p:nvSpPr>
        <p:spPr>
          <a:xfrm>
            <a:off x="9448800" y="6424341"/>
            <a:ext cx="3175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>
                <a:solidFill>
                  <a:schemeClr val="tx2"/>
                </a:solidFill>
              </a:rPr>
              <a:t>Źródło: opracowanie własne</a:t>
            </a:r>
          </a:p>
        </p:txBody>
      </p:sp>
    </p:spTree>
    <p:extLst>
      <p:ext uri="{BB962C8B-B14F-4D97-AF65-F5344CB8AC3E}">
        <p14:creationId xmlns:p14="http://schemas.microsoft.com/office/powerpoint/2010/main" val="47453695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FDC8A0C-EE33-55F2-EC3C-0187129A5E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88F29642-FF82-9BC0-3C49-ED2095C410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96B58A1-F74F-83B9-5395-F1D1331805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B54576F-A5FF-A3B9-26E3-3D1B1348A3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915894"/>
            <a:ext cx="4489257" cy="2795160"/>
          </a:xfrm>
        </p:spPr>
        <p:txBody>
          <a:bodyPr>
            <a:normAutofit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Wytyczne -</a:t>
            </a:r>
            <a:b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Horyzont planowania</a:t>
            </a:r>
            <a:b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</a:br>
            <a:endParaRPr lang="pl-PL" sz="4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BBBE8D98-72C9-5E8C-E0E4-976D75D528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6287" y="4121253"/>
            <a:ext cx="3125337" cy="1136843"/>
          </a:xfrm>
        </p:spPr>
        <p:txBody>
          <a:bodyPr>
            <a:normAutofit/>
          </a:bodyPr>
          <a:lstStyle/>
          <a:p>
            <a:endParaRPr lang="pl-PL" sz="1800" dirty="0"/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FF469BAC-7539-5513-1E9F-09768A7B25C3}"/>
              </a:ext>
            </a:extLst>
          </p:cNvPr>
          <p:cNvSpPr txBox="1"/>
          <p:nvPr/>
        </p:nvSpPr>
        <p:spPr>
          <a:xfrm>
            <a:off x="5912153" y="813193"/>
            <a:ext cx="6096000" cy="38588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 </a:t>
            </a:r>
            <a:r>
              <a:rPr kumimoji="0" lang="pl-PL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sterplanie</a:t>
            </a: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ymagany jest horyzont 10-letni, który:</a:t>
            </a:r>
            <a:endParaRPr kumimoji="0" lang="pl-PL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zwala uwzględnić zmiany pokoleniowe w kadrach,</a:t>
            </a:r>
            <a:endParaRPr kumimoji="0" lang="pl-PL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możliwia długofalowe planowanie wyników sportowych,</a:t>
            </a:r>
            <a:endParaRPr kumimoji="0" lang="pl-PL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gruje cele sportowe, organizacyjne i finansowe.</a:t>
            </a:r>
            <a:endParaRPr kumimoji="0" lang="pl-PL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Obraz 4" descr="Sport to zdrowie. #latozsanepidem - Powiatowa Stacja  Sanitarno-Epidemiologiczna w Szczecinie - Portal Gov.pl">
            <a:extLst>
              <a:ext uri="{FF2B5EF4-FFF2-40B4-BE49-F238E27FC236}">
                <a16:creationId xmlns:a16="http://schemas.microsoft.com/office/drawing/2014/main" id="{DC81AEB8-9B82-63D9-13D6-2EFC98BB66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847" y="4143533"/>
            <a:ext cx="5282723" cy="2229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8626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A6CD672-85D0-47D9-5294-685D00F803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6CF5C798-92A2-AF1D-0332-DC9674A9B2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B34181F-F46E-96D8-1677-E6C84A4AD9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8135BDA4-96DC-9964-3C05-65958DC435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915894"/>
            <a:ext cx="4489257" cy="2795160"/>
          </a:xfrm>
        </p:spPr>
        <p:txBody>
          <a:bodyPr>
            <a:normAutofit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Wytyczne -</a:t>
            </a:r>
            <a:b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Analiza interesariuszy</a:t>
            </a:r>
            <a:b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</a:br>
            <a:endParaRPr lang="pl-PL" sz="4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28FD372A-59D0-771E-3228-346D6D75E8AD}"/>
              </a:ext>
            </a:extLst>
          </p:cNvPr>
          <p:cNvSpPr txBox="1"/>
          <p:nvPr/>
        </p:nvSpPr>
        <p:spPr>
          <a:xfrm>
            <a:off x="5912153" y="813193"/>
            <a:ext cx="6096000" cy="39469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dentyfikacja kluczowych interesariuszy </a:t>
            </a: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kluby, zawodnicy, trenerzy, sponsorzy, JST, federacje międzynarodowe).</a:t>
            </a:r>
          </a:p>
          <a:p>
            <a:pPr marL="457200" marR="0" lvl="0" indent="-4572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kreślenie ich roli, wpływu oraz oczekiwań wobec związku.</a:t>
            </a:r>
          </a:p>
          <a:p>
            <a:pPr marL="457200" marR="0" lvl="0" indent="-4572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skazanie mechanizmów współpracy i komunikacji.</a:t>
            </a:r>
          </a:p>
        </p:txBody>
      </p:sp>
      <p:pic>
        <p:nvPicPr>
          <p:cNvPr id="5" name="Obraz 4" descr="Sport — zdjęcia stockowe, ilustracje i obrazy bez tantiem (liczba: 22  miliony) | Shutterstock">
            <a:extLst>
              <a:ext uri="{FF2B5EF4-FFF2-40B4-BE49-F238E27FC236}">
                <a16:creationId xmlns:a16="http://schemas.microsoft.com/office/drawing/2014/main" id="{F2017F0D-4EFF-6F4B-C80E-3251C49F61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847" y="4444597"/>
            <a:ext cx="5952128" cy="223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15627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0795C64-B61C-C669-D3A7-2567D4145B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E3CB4C56-A21E-5110-0769-595874599F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48AA0F5-FDEE-9071-5FF8-02392EDDA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4AE70065-C670-4A88-7725-BA996877CD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915894"/>
            <a:ext cx="4489257" cy="2795160"/>
          </a:xfrm>
        </p:spPr>
        <p:txBody>
          <a:bodyPr>
            <a:normAutofit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Wytyczne -</a:t>
            </a:r>
            <a:b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Analiza i diagnoza dyscypliny</a:t>
            </a:r>
            <a:b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</a:br>
            <a:endParaRPr lang="pl-PL" sz="4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5" name="Obraz 4" descr="Sport – zdjęcia. Pobierz darmowe obrazy wysokiej jakości | Freepik">
            <a:extLst>
              <a:ext uri="{FF2B5EF4-FFF2-40B4-BE49-F238E27FC236}">
                <a16:creationId xmlns:a16="http://schemas.microsoft.com/office/drawing/2014/main" id="{7BF3F722-189C-4CA4-2AC9-9131E4D930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113" y="3636701"/>
            <a:ext cx="4293119" cy="2795160"/>
          </a:xfrm>
          <a:prstGeom prst="rect">
            <a:avLst/>
          </a:prstGeom>
        </p:spPr>
      </p:pic>
      <p:sp>
        <p:nvSpPr>
          <p:cNvPr id="6" name="pole tekstowe 5">
            <a:extLst>
              <a:ext uri="{FF2B5EF4-FFF2-40B4-BE49-F238E27FC236}">
                <a16:creationId xmlns:a16="http://schemas.microsoft.com/office/drawing/2014/main" id="{F5F727CE-A21C-BE56-7CEE-26356A91224B}"/>
              </a:ext>
            </a:extLst>
          </p:cNvPr>
          <p:cNvSpPr txBox="1"/>
          <p:nvPr/>
        </p:nvSpPr>
        <p:spPr>
          <a:xfrm>
            <a:off x="5912153" y="813193"/>
            <a:ext cx="6096000" cy="51768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sterplan</a:t>
            </a:r>
            <a:r>
              <a:rPr kumimoji="0" lang="pl-PL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owinien być oparty na rzetelnej diagnozie obejmującej:</a:t>
            </a:r>
          </a:p>
          <a:p>
            <a:pPr marL="457200" marR="0" lvl="0" indent="-4572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ort wyczynowy,</a:t>
            </a:r>
          </a:p>
          <a:p>
            <a:pPr marL="457200" marR="0" lvl="0" indent="-4572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ort powszechny i popularyzację,</a:t>
            </a:r>
          </a:p>
          <a:p>
            <a:pPr marL="457200" marR="0" lvl="0" indent="-4572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stem szkolenia i ścieżki rozwoju zawodników,</a:t>
            </a:r>
          </a:p>
          <a:p>
            <a:pPr marL="457200" marR="0" lvl="0" indent="-4572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tencjał rozwojowy dyscypliny.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totne jest wykorzystanie danych oraz podejścia analitycznego (a nie wyłącznie opisowego).</a:t>
            </a:r>
            <a:endParaRPr kumimoji="0" lang="pl-PL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64071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6774F7D-64A8-2216-84CA-EFB5EA7F40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929573D0-5CC5-6522-F615-AB47E030EB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10E0EED-D5FE-63AD-B4A4-B030F3DFA2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570B63FD-5856-DF57-A848-848EE8AC5C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0067" y="437423"/>
            <a:ext cx="5143993" cy="2795160"/>
          </a:xfrm>
        </p:spPr>
        <p:txBody>
          <a:bodyPr>
            <a:normAutofit fontScale="90000"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Wytyczne -</a:t>
            </a:r>
            <a:b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Proces przygotowania i akceptacji dokumentu</a:t>
            </a:r>
            <a:b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</a:br>
            <a:endParaRPr lang="pl-PL" sz="4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5" name="Obraz 4" descr="Sport | Telemagazyn">
            <a:extLst>
              <a:ext uri="{FF2B5EF4-FFF2-40B4-BE49-F238E27FC236}">
                <a16:creationId xmlns:a16="http://schemas.microsoft.com/office/drawing/2014/main" id="{FD1AC2B3-78C1-AC7A-247E-DD68747D1F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705" y="3296834"/>
            <a:ext cx="4991355" cy="2795159"/>
          </a:xfrm>
          <a:prstGeom prst="rect">
            <a:avLst/>
          </a:prstGeom>
        </p:spPr>
      </p:pic>
      <p:sp>
        <p:nvSpPr>
          <p:cNvPr id="6" name="pole tekstowe 5">
            <a:extLst>
              <a:ext uri="{FF2B5EF4-FFF2-40B4-BE49-F238E27FC236}">
                <a16:creationId xmlns:a16="http://schemas.microsoft.com/office/drawing/2014/main" id="{887D3F7E-BFCD-95C1-7826-6C839A6ACB56}"/>
              </a:ext>
            </a:extLst>
          </p:cNvPr>
          <p:cNvSpPr txBox="1"/>
          <p:nvPr/>
        </p:nvSpPr>
        <p:spPr>
          <a:xfrm>
            <a:off x="5802086" y="1272049"/>
            <a:ext cx="6096000" cy="40495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sterplan</a:t>
            </a:r>
            <a:r>
              <a:rPr kumimoji="0" lang="pl-PL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owinien:</a:t>
            </a:r>
          </a:p>
          <a:p>
            <a:pPr marL="457200" marR="0" lvl="0" indent="-4572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yć skonsultowany z członkami związku, trenerami i klubami,</a:t>
            </a:r>
          </a:p>
          <a:p>
            <a:pPr marL="457200" marR="0" lvl="0" indent="-4572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ostać zatwierdzony przez zarząd PZS.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dkreślenia wymaga znaczenie realnego zaangażowania środowiska (nie tylko formalnych konsultacji).</a:t>
            </a:r>
          </a:p>
        </p:txBody>
      </p:sp>
    </p:spTree>
    <p:extLst>
      <p:ext uri="{BB962C8B-B14F-4D97-AF65-F5344CB8AC3E}">
        <p14:creationId xmlns:p14="http://schemas.microsoft.com/office/powerpoint/2010/main" val="90717124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B43186E-CE27-EAF7-E45A-68F192DCE7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65C884AA-989A-D606-E4D4-A7A88A0C2B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D2A3BC8-922F-A422-7AE7-0E7304870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ABFEB377-2C8A-F6F2-E6B1-C0A0B1FBC8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915894"/>
            <a:ext cx="4489257" cy="2795160"/>
          </a:xfrm>
        </p:spPr>
        <p:txBody>
          <a:bodyPr>
            <a:normAutofit fontScale="90000"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Wytyczne -</a:t>
            </a:r>
            <a:b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Zakres merytoryczny </a:t>
            </a:r>
            <a:r>
              <a:rPr lang="pl-PL" sz="4400" b="1" dirty="0" err="1">
                <a:solidFill>
                  <a:schemeClr val="accent1">
                    <a:lumMod val="75000"/>
                  </a:schemeClr>
                </a:solidFill>
              </a:rPr>
              <a:t>Masterplanu</a:t>
            </a:r>
            <a:b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</a:br>
            <a:endParaRPr lang="pl-PL" sz="4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B5BDEB58-EDAD-94D6-6F6C-0E9BF8E5F87E}"/>
              </a:ext>
            </a:extLst>
          </p:cNvPr>
          <p:cNvSpPr txBox="1"/>
          <p:nvPr/>
        </p:nvSpPr>
        <p:spPr>
          <a:xfrm>
            <a:off x="5985933" y="153445"/>
            <a:ext cx="6096000" cy="6264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kument powinien obejmować co najmniej następujące obszary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ort wyczynowy,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zwój sportu powszechnego,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yka i kwestie dyscyplinarne,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ele strategiczne,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erniki realizacji (KPI),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chanizm monitorowania i finansowania,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ywersyfikacja źródeł finansowania,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zwój kompetencji kadr (członków związku, trenerów),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yfryzacja i wykorzystanie danych,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spółpraca międzynarodowa,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większanie potencjału wynikowego w sporcie wyczynowym.</a:t>
            </a:r>
          </a:p>
        </p:txBody>
      </p:sp>
      <p:pic>
        <p:nvPicPr>
          <p:cNvPr id="5" name="Obraz 4" descr="PPPA-SPORT-2023 calls now open for submission - European Education and Culture Executive Agency">
            <a:extLst>
              <a:ext uri="{FF2B5EF4-FFF2-40B4-BE49-F238E27FC236}">
                <a16:creationId xmlns:a16="http://schemas.microsoft.com/office/drawing/2014/main" id="{23DD3AF3-2AC9-3A69-581E-51916BFF19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266" y="3547533"/>
            <a:ext cx="4013201" cy="267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27846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FB43804-D255-88FD-BCE0-D51D9A774A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EC161DE1-387A-8970-74D7-969C101DB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D9591431-7DD9-76E0-D9BE-A149688481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B3C2568-9C5D-CC15-2A2C-3C3ACAA3D3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4326" y="0"/>
            <a:ext cx="4489257" cy="2795160"/>
          </a:xfrm>
        </p:spPr>
        <p:txBody>
          <a:bodyPr>
            <a:normAutofit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Wytyczne -</a:t>
            </a:r>
            <a:b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Plany operacyjne</a:t>
            </a: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19A9178D-4D3C-E5C2-7420-E21D79F34A79}"/>
              </a:ext>
            </a:extLst>
          </p:cNvPr>
          <p:cNvSpPr txBox="1"/>
          <p:nvPr/>
        </p:nvSpPr>
        <p:spPr>
          <a:xfrm>
            <a:off x="5985933" y="153445"/>
            <a:ext cx="6096000" cy="64089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wiązanie strategii z finansowaniem i zarządzanie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sterplan</a:t>
            </a:r>
            <a:r>
              <a:rPr kumimoji="0" lang="pl-PL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owinien w sposób bezpośredni integrować planowanie strategiczne z planowaniem finansowym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ementem dokumentu musi być określenie źródeł finansowania dla poszczególnych działań i kierunków rozwoju, w tym zarówno środków publicznych, jak i własnych oraz komercyjnych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anowanie rozwoju powinno być oparte na realnych możliwościach finansowych (aktualnych) oraz racjonalnych założeniach dotyczących ich wzrostu w perspektywie wieloletniej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kument powinien umożliwiać powiązanie realizacji celów z oceną efektów oraz stanowić podstawę do podejmowania decyzji zarządczych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totne jest przejście od podejścia deklaratywnego do zarządzania przez cele, wyniki i dostępne zasoby finansowe.</a:t>
            </a:r>
          </a:p>
        </p:txBody>
      </p:sp>
      <p:pic>
        <p:nvPicPr>
          <p:cNvPr id="5" name="Obraz 4" descr="Sport Stockowych Ilustracji, Wektorów &amp; Klipartów – (2,529,060 Stock  Illustrations)">
            <a:extLst>
              <a:ext uri="{FF2B5EF4-FFF2-40B4-BE49-F238E27FC236}">
                <a16:creationId xmlns:a16="http://schemas.microsoft.com/office/drawing/2014/main" id="{FE77F625-7367-6FAB-526F-5D11B75F69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986" y="3895955"/>
            <a:ext cx="4795692" cy="247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5121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5FF8B0E-E5C8-3039-5D45-16BB1AAFF5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523145D2-8284-7637-7A81-2AC68AFFFD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2C4C8C1-66D7-3C15-2BDE-AAD3161746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F4356120-B73F-5D37-F822-C30BA9E637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7376" y="114704"/>
            <a:ext cx="4489257" cy="2795160"/>
          </a:xfrm>
        </p:spPr>
        <p:txBody>
          <a:bodyPr>
            <a:normAutofit fontScale="90000"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Wytyczne -</a:t>
            </a:r>
            <a:b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Termin przekazania dokumentów</a:t>
            </a:r>
            <a:b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</a:br>
            <a:endParaRPr lang="pl-PL" sz="4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B2F94334-A367-BACC-3F89-520FF5DAF19D}"/>
              </a:ext>
            </a:extLst>
          </p:cNvPr>
          <p:cNvSpPr txBox="1"/>
          <p:nvPr/>
        </p:nvSpPr>
        <p:spPr>
          <a:xfrm>
            <a:off x="5740400" y="2253178"/>
            <a:ext cx="6096000" cy="2240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kumenty powinny zostać przekazane do Ministerstwa Sportu i Turystyki 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 dnia 30 września br. 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 adres mailowy Departamentu Planowania i Strategii</a:t>
            </a:r>
          </a:p>
        </p:txBody>
      </p:sp>
      <p:grpSp>
        <p:nvGrpSpPr>
          <p:cNvPr id="5" name="Group 43">
            <a:extLst>
              <a:ext uri="{FF2B5EF4-FFF2-40B4-BE49-F238E27FC236}">
                <a16:creationId xmlns:a16="http://schemas.microsoft.com/office/drawing/2014/main" id="{52399AC6-3E4E-6E78-C61B-1764B1D81827}"/>
              </a:ext>
            </a:extLst>
          </p:cNvPr>
          <p:cNvGrpSpPr/>
          <p:nvPr/>
        </p:nvGrpSpPr>
        <p:grpSpPr>
          <a:xfrm>
            <a:off x="231986" y="2627286"/>
            <a:ext cx="5000036" cy="4116010"/>
            <a:chOff x="7616824" y="3320947"/>
            <a:chExt cx="9144002" cy="9144000"/>
          </a:xfrm>
        </p:grpSpPr>
        <p:sp>
          <p:nvSpPr>
            <p:cNvPr id="7" name="Shape 6">
              <a:extLst>
                <a:ext uri="{FF2B5EF4-FFF2-40B4-BE49-F238E27FC236}">
                  <a16:creationId xmlns:a16="http://schemas.microsoft.com/office/drawing/2014/main" id="{E993381E-7035-656D-CF81-DF94643D30F1}"/>
                </a:ext>
              </a:extLst>
            </p:cNvPr>
            <p:cNvSpPr/>
            <p:nvPr/>
          </p:nvSpPr>
          <p:spPr>
            <a:xfrm>
              <a:off x="8323932" y="6798725"/>
              <a:ext cx="2559025" cy="29304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32" extrusionOk="0">
                  <a:moveTo>
                    <a:pt x="13929" y="3851"/>
                  </a:moveTo>
                  <a:cubicBezTo>
                    <a:pt x="14600" y="1451"/>
                    <a:pt x="17626" y="-268"/>
                    <a:pt x="21600" y="376"/>
                  </a:cubicBezTo>
                  <a:cubicBezTo>
                    <a:pt x="21573" y="372"/>
                    <a:pt x="21544" y="364"/>
                    <a:pt x="21517" y="359"/>
                  </a:cubicBezTo>
                  <a:cubicBezTo>
                    <a:pt x="19214" y="-228"/>
                    <a:pt x="4602" y="-1468"/>
                    <a:pt x="0" y="9812"/>
                  </a:cubicBezTo>
                  <a:cubicBezTo>
                    <a:pt x="278" y="12533"/>
                    <a:pt x="886" y="15276"/>
                    <a:pt x="3578" y="20132"/>
                  </a:cubicBezTo>
                  <a:lnTo>
                    <a:pt x="15687" y="15236"/>
                  </a:lnTo>
                  <a:cubicBezTo>
                    <a:pt x="13277" y="10565"/>
                    <a:pt x="13027" y="6823"/>
                    <a:pt x="13929" y="3851"/>
                  </a:cubicBezTo>
                  <a:close/>
                </a:path>
              </a:pathLst>
            </a:custGeom>
            <a:solidFill>
              <a:srgbClr val="3E8E99">
                <a:lumMod val="75000"/>
              </a:srgb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59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</a:endParaRPr>
            </a:p>
          </p:txBody>
        </p:sp>
        <p:sp>
          <p:nvSpPr>
            <p:cNvPr id="8" name="Shape 7">
              <a:extLst>
                <a:ext uri="{FF2B5EF4-FFF2-40B4-BE49-F238E27FC236}">
                  <a16:creationId xmlns:a16="http://schemas.microsoft.com/office/drawing/2014/main" id="{41F14168-BB23-97FE-6FE6-69D7E1B46514}"/>
                </a:ext>
              </a:extLst>
            </p:cNvPr>
            <p:cNvSpPr/>
            <p:nvPr/>
          </p:nvSpPr>
          <p:spPr>
            <a:xfrm>
              <a:off x="11064520" y="9225576"/>
              <a:ext cx="2930438" cy="25590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32" h="21600" extrusionOk="0">
                  <a:moveTo>
                    <a:pt x="3851" y="7671"/>
                  </a:moveTo>
                  <a:cubicBezTo>
                    <a:pt x="1451" y="7000"/>
                    <a:pt x="-268" y="3974"/>
                    <a:pt x="376" y="0"/>
                  </a:cubicBezTo>
                  <a:cubicBezTo>
                    <a:pt x="372" y="27"/>
                    <a:pt x="364" y="56"/>
                    <a:pt x="359" y="83"/>
                  </a:cubicBezTo>
                  <a:cubicBezTo>
                    <a:pt x="-228" y="2386"/>
                    <a:pt x="-1468" y="16998"/>
                    <a:pt x="9812" y="21600"/>
                  </a:cubicBezTo>
                  <a:cubicBezTo>
                    <a:pt x="12533" y="21322"/>
                    <a:pt x="15276" y="20714"/>
                    <a:pt x="20132" y="18022"/>
                  </a:cubicBezTo>
                  <a:lnTo>
                    <a:pt x="15236" y="5913"/>
                  </a:lnTo>
                  <a:cubicBezTo>
                    <a:pt x="10565" y="8323"/>
                    <a:pt x="6823" y="8573"/>
                    <a:pt x="3851" y="7671"/>
                  </a:cubicBezTo>
                  <a:close/>
                </a:path>
              </a:pathLst>
            </a:custGeom>
            <a:solidFill>
              <a:srgbClr val="54B8A8">
                <a:lumMod val="75000"/>
              </a:srgb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59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</a:endParaRPr>
            </a:p>
          </p:txBody>
        </p:sp>
        <p:sp>
          <p:nvSpPr>
            <p:cNvPr id="9" name="Shape 8">
              <a:extLst>
                <a:ext uri="{FF2B5EF4-FFF2-40B4-BE49-F238E27FC236}">
                  <a16:creationId xmlns:a16="http://schemas.microsoft.com/office/drawing/2014/main" id="{36A00A5D-66C0-D1FE-6A13-48C1D0F40831}"/>
                </a:ext>
              </a:extLst>
            </p:cNvPr>
            <p:cNvSpPr/>
            <p:nvPr/>
          </p:nvSpPr>
          <p:spPr>
            <a:xfrm>
              <a:off x="13491370" y="6126358"/>
              <a:ext cx="2559025" cy="29304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32" extrusionOk="0">
                  <a:moveTo>
                    <a:pt x="7671" y="16281"/>
                  </a:moveTo>
                  <a:cubicBezTo>
                    <a:pt x="7000" y="18681"/>
                    <a:pt x="3974" y="20400"/>
                    <a:pt x="0" y="19756"/>
                  </a:cubicBezTo>
                  <a:cubicBezTo>
                    <a:pt x="27" y="19760"/>
                    <a:pt x="56" y="19768"/>
                    <a:pt x="83" y="19773"/>
                  </a:cubicBezTo>
                  <a:cubicBezTo>
                    <a:pt x="2386" y="20360"/>
                    <a:pt x="16998" y="21600"/>
                    <a:pt x="21600" y="10320"/>
                  </a:cubicBezTo>
                  <a:cubicBezTo>
                    <a:pt x="21322" y="7599"/>
                    <a:pt x="20714" y="4856"/>
                    <a:pt x="18022" y="0"/>
                  </a:cubicBezTo>
                  <a:lnTo>
                    <a:pt x="5913" y="4896"/>
                  </a:lnTo>
                  <a:cubicBezTo>
                    <a:pt x="8323" y="9567"/>
                    <a:pt x="8573" y="13309"/>
                    <a:pt x="7671" y="16281"/>
                  </a:cubicBezTo>
                  <a:close/>
                </a:path>
              </a:pathLst>
            </a:custGeom>
            <a:solidFill>
              <a:srgbClr val="437DB2">
                <a:lumMod val="75000"/>
              </a:srgb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59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</a:endParaRPr>
            </a:p>
          </p:txBody>
        </p:sp>
        <p:sp>
          <p:nvSpPr>
            <p:cNvPr id="11" name="Shape 9">
              <a:extLst>
                <a:ext uri="{FF2B5EF4-FFF2-40B4-BE49-F238E27FC236}">
                  <a16:creationId xmlns:a16="http://schemas.microsoft.com/office/drawing/2014/main" id="{8BF1D4C2-F75E-1BEB-1184-E4EE326181A6}"/>
                </a:ext>
              </a:extLst>
            </p:cNvPr>
            <p:cNvSpPr/>
            <p:nvPr/>
          </p:nvSpPr>
          <p:spPr>
            <a:xfrm>
              <a:off x="10381493" y="4067179"/>
              <a:ext cx="2930438" cy="25590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32" h="21600" extrusionOk="0">
                  <a:moveTo>
                    <a:pt x="16281" y="13929"/>
                  </a:moveTo>
                  <a:cubicBezTo>
                    <a:pt x="18681" y="14600"/>
                    <a:pt x="20400" y="17626"/>
                    <a:pt x="19756" y="21600"/>
                  </a:cubicBezTo>
                  <a:cubicBezTo>
                    <a:pt x="19760" y="21573"/>
                    <a:pt x="19768" y="21544"/>
                    <a:pt x="19773" y="21517"/>
                  </a:cubicBezTo>
                  <a:cubicBezTo>
                    <a:pt x="20360" y="19214"/>
                    <a:pt x="21600" y="4602"/>
                    <a:pt x="10320" y="0"/>
                  </a:cubicBezTo>
                  <a:cubicBezTo>
                    <a:pt x="7599" y="278"/>
                    <a:pt x="4856" y="886"/>
                    <a:pt x="0" y="3578"/>
                  </a:cubicBezTo>
                  <a:lnTo>
                    <a:pt x="4896" y="15687"/>
                  </a:lnTo>
                  <a:cubicBezTo>
                    <a:pt x="9567" y="13277"/>
                    <a:pt x="13309" y="13027"/>
                    <a:pt x="16281" y="13929"/>
                  </a:cubicBezTo>
                  <a:close/>
                </a:path>
              </a:pathLst>
            </a:custGeom>
            <a:solidFill>
              <a:srgbClr val="4A63A2">
                <a:lumMod val="75000"/>
              </a:srgb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59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</a:endParaRPr>
            </a:p>
          </p:txBody>
        </p:sp>
        <p:sp>
          <p:nvSpPr>
            <p:cNvPr id="13" name="Shape 10">
              <a:extLst>
                <a:ext uri="{FF2B5EF4-FFF2-40B4-BE49-F238E27FC236}">
                  <a16:creationId xmlns:a16="http://schemas.microsoft.com/office/drawing/2014/main" id="{942EBFE6-AFBE-120A-4927-157BA2C34ED0}"/>
                </a:ext>
              </a:extLst>
            </p:cNvPr>
            <p:cNvSpPr/>
            <p:nvPr/>
          </p:nvSpPr>
          <p:spPr>
            <a:xfrm>
              <a:off x="8314706" y="4482608"/>
              <a:ext cx="3089936" cy="37502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42" h="21600" extrusionOk="0">
                  <a:moveTo>
                    <a:pt x="18755" y="8290"/>
                  </a:moveTo>
                  <a:lnTo>
                    <a:pt x="13932" y="0"/>
                  </a:lnTo>
                  <a:cubicBezTo>
                    <a:pt x="4453" y="4270"/>
                    <a:pt x="-758" y="12901"/>
                    <a:pt x="90" y="21600"/>
                  </a:cubicBezTo>
                  <a:cubicBezTo>
                    <a:pt x="3767" y="12143"/>
                    <a:pt x="15444" y="13183"/>
                    <a:pt x="17285" y="13675"/>
                  </a:cubicBezTo>
                  <a:cubicBezTo>
                    <a:pt x="18392" y="13854"/>
                    <a:pt x="19594" y="14276"/>
                    <a:pt x="20842" y="15000"/>
                  </a:cubicBezTo>
                  <a:cubicBezTo>
                    <a:pt x="20781" y="13165"/>
                    <a:pt x="19921" y="10282"/>
                    <a:pt x="18755" y="8290"/>
                  </a:cubicBezTo>
                  <a:close/>
                </a:path>
              </a:pathLst>
            </a:custGeom>
            <a:solidFill>
              <a:srgbClr val="3E8E99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59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</a:endParaRPr>
            </a:p>
          </p:txBody>
        </p:sp>
        <p:sp>
          <p:nvSpPr>
            <p:cNvPr id="14" name="Shape 11">
              <a:extLst>
                <a:ext uri="{FF2B5EF4-FFF2-40B4-BE49-F238E27FC236}">
                  <a16:creationId xmlns:a16="http://schemas.microsoft.com/office/drawing/2014/main" id="{0FE75D50-CFE8-7342-B373-D5F129CCBBA5}"/>
                </a:ext>
              </a:extLst>
            </p:cNvPr>
            <p:cNvSpPr/>
            <p:nvPr/>
          </p:nvSpPr>
          <p:spPr>
            <a:xfrm>
              <a:off x="8748402" y="8700839"/>
              <a:ext cx="3750200" cy="30899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842" extrusionOk="0">
                  <a:moveTo>
                    <a:pt x="8290" y="2087"/>
                  </a:moveTo>
                  <a:lnTo>
                    <a:pt x="0" y="6910"/>
                  </a:lnTo>
                  <a:cubicBezTo>
                    <a:pt x="4270" y="16389"/>
                    <a:pt x="12901" y="21600"/>
                    <a:pt x="21600" y="20752"/>
                  </a:cubicBezTo>
                  <a:cubicBezTo>
                    <a:pt x="12143" y="17075"/>
                    <a:pt x="13183" y="5398"/>
                    <a:pt x="13675" y="3557"/>
                  </a:cubicBezTo>
                  <a:cubicBezTo>
                    <a:pt x="13854" y="2450"/>
                    <a:pt x="14276" y="1248"/>
                    <a:pt x="15000" y="0"/>
                  </a:cubicBezTo>
                  <a:cubicBezTo>
                    <a:pt x="13165" y="61"/>
                    <a:pt x="10282" y="921"/>
                    <a:pt x="8290" y="2087"/>
                  </a:cubicBezTo>
                  <a:close/>
                </a:path>
              </a:pathLst>
            </a:custGeom>
            <a:solidFill>
              <a:srgbClr val="54B8A8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59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</a:endParaRPr>
            </a:p>
          </p:txBody>
        </p:sp>
        <p:sp>
          <p:nvSpPr>
            <p:cNvPr id="15" name="Shape 12">
              <a:extLst>
                <a:ext uri="{FF2B5EF4-FFF2-40B4-BE49-F238E27FC236}">
                  <a16:creationId xmlns:a16="http://schemas.microsoft.com/office/drawing/2014/main" id="{D5CB5884-394F-B444-5479-1B75AC5E15D7}"/>
                </a:ext>
              </a:extLst>
            </p:cNvPr>
            <p:cNvSpPr/>
            <p:nvPr/>
          </p:nvSpPr>
          <p:spPr>
            <a:xfrm>
              <a:off x="12973007" y="7622460"/>
              <a:ext cx="3089936" cy="37502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42" h="21600" extrusionOk="0">
                  <a:moveTo>
                    <a:pt x="2087" y="13310"/>
                  </a:moveTo>
                  <a:lnTo>
                    <a:pt x="6910" y="21600"/>
                  </a:lnTo>
                  <a:cubicBezTo>
                    <a:pt x="16389" y="17330"/>
                    <a:pt x="21600" y="8699"/>
                    <a:pt x="20752" y="0"/>
                  </a:cubicBezTo>
                  <a:cubicBezTo>
                    <a:pt x="17075" y="9457"/>
                    <a:pt x="5398" y="8417"/>
                    <a:pt x="3557" y="7925"/>
                  </a:cubicBezTo>
                  <a:cubicBezTo>
                    <a:pt x="2450" y="7746"/>
                    <a:pt x="1248" y="7324"/>
                    <a:pt x="0" y="6600"/>
                  </a:cubicBezTo>
                  <a:cubicBezTo>
                    <a:pt x="61" y="8435"/>
                    <a:pt x="921" y="11318"/>
                    <a:pt x="2087" y="13310"/>
                  </a:cubicBezTo>
                  <a:close/>
                </a:path>
              </a:pathLst>
            </a:custGeom>
            <a:solidFill>
              <a:srgbClr val="437DB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59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</a:endParaRPr>
            </a:p>
          </p:txBody>
        </p:sp>
        <p:sp>
          <p:nvSpPr>
            <p:cNvPr id="16" name="Shape 13">
              <a:extLst>
                <a:ext uri="{FF2B5EF4-FFF2-40B4-BE49-F238E27FC236}">
                  <a16:creationId xmlns:a16="http://schemas.microsoft.com/office/drawing/2014/main" id="{2C604FC4-38C1-1A47-70C2-1CEFB1070654}"/>
                </a:ext>
              </a:extLst>
            </p:cNvPr>
            <p:cNvSpPr/>
            <p:nvPr/>
          </p:nvSpPr>
          <p:spPr>
            <a:xfrm>
              <a:off x="11883966" y="4059383"/>
              <a:ext cx="3750201" cy="30899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842" extrusionOk="0">
                  <a:moveTo>
                    <a:pt x="13310" y="18755"/>
                  </a:moveTo>
                  <a:lnTo>
                    <a:pt x="21600" y="13932"/>
                  </a:lnTo>
                  <a:cubicBezTo>
                    <a:pt x="17330" y="4453"/>
                    <a:pt x="8699" y="-758"/>
                    <a:pt x="0" y="90"/>
                  </a:cubicBezTo>
                  <a:cubicBezTo>
                    <a:pt x="9457" y="3767"/>
                    <a:pt x="8417" y="15444"/>
                    <a:pt x="7925" y="17285"/>
                  </a:cubicBezTo>
                  <a:cubicBezTo>
                    <a:pt x="7746" y="18392"/>
                    <a:pt x="7324" y="19594"/>
                    <a:pt x="6600" y="20842"/>
                  </a:cubicBezTo>
                  <a:cubicBezTo>
                    <a:pt x="8435" y="20781"/>
                    <a:pt x="11318" y="19921"/>
                    <a:pt x="13310" y="18755"/>
                  </a:cubicBezTo>
                  <a:close/>
                </a:path>
              </a:pathLst>
            </a:custGeom>
            <a:solidFill>
              <a:srgbClr val="4A63A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59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Lato Light" panose="020F0502020204030203" pitchFamily="34" charset="0"/>
              </a:endParaRPr>
            </a:p>
          </p:txBody>
        </p:sp>
        <p:sp>
          <p:nvSpPr>
            <p:cNvPr id="17" name="Oval 3">
              <a:extLst>
                <a:ext uri="{FF2B5EF4-FFF2-40B4-BE49-F238E27FC236}">
                  <a16:creationId xmlns:a16="http://schemas.microsoft.com/office/drawing/2014/main" id="{4C4CA07A-24BF-E61B-F14F-F02077898ADE}"/>
                </a:ext>
              </a:extLst>
            </p:cNvPr>
            <p:cNvSpPr/>
            <p:nvPr/>
          </p:nvSpPr>
          <p:spPr>
            <a:xfrm>
              <a:off x="7828358" y="3583508"/>
              <a:ext cx="8683143" cy="8683139"/>
            </a:xfrm>
            <a:prstGeom prst="ellipse">
              <a:avLst/>
            </a:prstGeom>
            <a:noFill/>
            <a:ln w="38100" cap="rnd" cmpd="sng" algn="ctr">
              <a:solidFill>
                <a:srgbClr val="FFFFFF">
                  <a:lumMod val="85000"/>
                </a:srgbClr>
              </a:solidFill>
              <a:prstDash val="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198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8" name="Oval 4">
              <a:extLst>
                <a:ext uri="{FF2B5EF4-FFF2-40B4-BE49-F238E27FC236}">
                  <a16:creationId xmlns:a16="http://schemas.microsoft.com/office/drawing/2014/main" id="{50017313-D9D8-2665-B34E-42F36CEFAEA8}"/>
                </a:ext>
              </a:extLst>
            </p:cNvPr>
            <p:cNvSpPr/>
            <p:nvPr/>
          </p:nvSpPr>
          <p:spPr>
            <a:xfrm>
              <a:off x="11962799" y="3320947"/>
              <a:ext cx="447558" cy="447554"/>
            </a:xfrm>
            <a:prstGeom prst="ellipse">
              <a:avLst/>
            </a:prstGeom>
            <a:solidFill>
              <a:srgbClr val="4A63A2"/>
            </a:solidFill>
            <a:ln w="508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198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9" name="Oval 5">
              <a:extLst>
                <a:ext uri="{FF2B5EF4-FFF2-40B4-BE49-F238E27FC236}">
                  <a16:creationId xmlns:a16="http://schemas.microsoft.com/office/drawing/2014/main" id="{26B6EFE1-FACD-7E7B-CA09-87DB6AF3415B}"/>
                </a:ext>
              </a:extLst>
            </p:cNvPr>
            <p:cNvSpPr/>
            <p:nvPr/>
          </p:nvSpPr>
          <p:spPr>
            <a:xfrm>
              <a:off x="11962799" y="12017393"/>
              <a:ext cx="447558" cy="447554"/>
            </a:xfrm>
            <a:prstGeom prst="ellipse">
              <a:avLst/>
            </a:prstGeom>
            <a:solidFill>
              <a:srgbClr val="54B8A8"/>
            </a:solidFill>
            <a:ln w="508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198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20" name="Oval 6">
              <a:extLst>
                <a:ext uri="{FF2B5EF4-FFF2-40B4-BE49-F238E27FC236}">
                  <a16:creationId xmlns:a16="http://schemas.microsoft.com/office/drawing/2014/main" id="{6C8ADF63-7C7C-E193-4F77-C908744FCF1A}"/>
                </a:ext>
              </a:extLst>
            </p:cNvPr>
            <p:cNvSpPr/>
            <p:nvPr/>
          </p:nvSpPr>
          <p:spPr>
            <a:xfrm rot="16200000">
              <a:off x="7616824" y="7587990"/>
              <a:ext cx="447554" cy="447554"/>
            </a:xfrm>
            <a:prstGeom prst="ellipse">
              <a:avLst/>
            </a:prstGeom>
            <a:solidFill>
              <a:srgbClr val="3E8E99"/>
            </a:solidFill>
            <a:ln w="508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198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21" name="Oval 7">
              <a:extLst>
                <a:ext uri="{FF2B5EF4-FFF2-40B4-BE49-F238E27FC236}">
                  <a16:creationId xmlns:a16="http://schemas.microsoft.com/office/drawing/2014/main" id="{9D3CF11A-0A55-2B5F-7032-F0BE1EF7FC0A}"/>
                </a:ext>
              </a:extLst>
            </p:cNvPr>
            <p:cNvSpPr/>
            <p:nvPr/>
          </p:nvSpPr>
          <p:spPr>
            <a:xfrm rot="16200000">
              <a:off x="16313272" y="7587990"/>
              <a:ext cx="447554" cy="447554"/>
            </a:xfrm>
            <a:prstGeom prst="ellipse">
              <a:avLst/>
            </a:prstGeom>
            <a:solidFill>
              <a:srgbClr val="437DB2"/>
            </a:solidFill>
            <a:ln w="508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198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347398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D97EA5F-3BB8-63A2-3D1B-57BCBF283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7F61FEF1-ABA5-1DA1-52D3-F935DFEB84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984F793-8ACC-BBB5-D4E9-59FA0E70F6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0DC21C64-E194-6723-4F0D-324B560A33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3407" y="992094"/>
            <a:ext cx="4489257" cy="2795160"/>
          </a:xfrm>
        </p:spPr>
        <p:txBody>
          <a:bodyPr>
            <a:normAutofit/>
          </a:bodyPr>
          <a:lstStyle/>
          <a:p>
            <a:r>
              <a:rPr lang="pl-PL" sz="4400" b="1" dirty="0">
                <a:solidFill>
                  <a:schemeClr val="accent1">
                    <a:lumMod val="75000"/>
                  </a:schemeClr>
                </a:solidFill>
              </a:rPr>
              <a:t>Dziękuję za uwagę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3E23E7BB-12E9-C0D2-A051-DB92B2956C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6287" y="4121253"/>
            <a:ext cx="3125337" cy="1136843"/>
          </a:xfrm>
        </p:spPr>
        <p:txBody>
          <a:bodyPr>
            <a:normAutofit/>
          </a:bodyPr>
          <a:lstStyle/>
          <a:p>
            <a:r>
              <a:rPr lang="pl-PL" b="1" dirty="0">
                <a:solidFill>
                  <a:srgbClr val="002060"/>
                </a:solidFill>
              </a:rPr>
              <a:t>Jolanta Żyśko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B210E937-0F9C-BD63-00CA-3416FBD672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3744" y="1151467"/>
            <a:ext cx="5917622" cy="3947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7238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65A9614-10E8-4A31-D2CA-9C96E8E887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4A2666DF-0EE4-653B-8650-4C50AAC89D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C4D5120-A698-99CF-4A9C-93300FD14D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1269336" cy="2008639"/>
          </a:xfrm>
          <a:custGeom>
            <a:avLst/>
            <a:gdLst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296127 w 11269336"/>
              <a:gd name="connsiteY139" fmla="*/ 2023208 h 2323145"/>
              <a:gd name="connsiteX140" fmla="*/ 5174645 w 11269336"/>
              <a:gd name="connsiteY140" fmla="*/ 2088358 h 2323145"/>
              <a:gd name="connsiteX141" fmla="*/ 5092476 w 11269336"/>
              <a:gd name="connsiteY141" fmla="*/ 2100737 h 2323145"/>
              <a:gd name="connsiteX142" fmla="*/ 5060738 w 11269336"/>
              <a:gd name="connsiteY142" fmla="*/ 2083274 h 2323145"/>
              <a:gd name="connsiteX143" fmla="*/ 4860988 w 11269336"/>
              <a:gd name="connsiteY143" fmla="*/ 2135698 h 2323145"/>
              <a:gd name="connsiteX144" fmla="*/ 4807902 w 11269336"/>
              <a:gd name="connsiteY144" fmla="*/ 2138894 h 2323145"/>
              <a:gd name="connsiteX145" fmla="*/ 4765388 w 11269336"/>
              <a:gd name="connsiteY145" fmla="*/ 2162525 h 2323145"/>
              <a:gd name="connsiteX146" fmla="*/ 4745033 w 11269336"/>
              <a:gd name="connsiteY146" fmla="*/ 2158859 h 2323145"/>
              <a:gd name="connsiteX147" fmla="*/ 4741475 w 11269336"/>
              <a:gd name="connsiteY147" fmla="*/ 2157998 h 2323145"/>
              <a:gd name="connsiteX148" fmla="*/ 4728247 w 11269336"/>
              <a:gd name="connsiteY148" fmla="*/ 2159526 h 2323145"/>
              <a:gd name="connsiteX149" fmla="*/ 4723263 w 11269336"/>
              <a:gd name="connsiteY149" fmla="*/ 2153742 h 2323145"/>
              <a:gd name="connsiteX150" fmla="*/ 4702453 w 11269336"/>
              <a:gd name="connsiteY150" fmla="*/ 2151586 h 2323145"/>
              <a:gd name="connsiteX151" fmla="*/ 4678455 w 11269336"/>
              <a:gd name="connsiteY151" fmla="*/ 2156131 h 2323145"/>
              <a:gd name="connsiteX152" fmla="*/ 4593061 w 11269336"/>
              <a:gd name="connsiteY152" fmla="*/ 2171597 h 2323145"/>
              <a:gd name="connsiteX153" fmla="*/ 4579902 w 11269336"/>
              <a:gd name="connsiteY153" fmla="*/ 2177927 h 2323145"/>
              <a:gd name="connsiteX154" fmla="*/ 4533444 w 11269336"/>
              <a:gd name="connsiteY154" fmla="*/ 2181200 h 2323145"/>
              <a:gd name="connsiteX155" fmla="*/ 4492832 w 11269336"/>
              <a:gd name="connsiteY155" fmla="*/ 2188033 h 2323145"/>
              <a:gd name="connsiteX156" fmla="*/ 4467257 w 11269336"/>
              <a:gd name="connsiteY156" fmla="*/ 2196121 h 2323145"/>
              <a:gd name="connsiteX157" fmla="*/ 4459937 w 11269336"/>
              <a:gd name="connsiteY157" fmla="*/ 2195182 h 2323145"/>
              <a:gd name="connsiteX158" fmla="*/ 4433312 w 11269336"/>
              <a:gd name="connsiteY158" fmla="*/ 2199004 h 2323145"/>
              <a:gd name="connsiteX159" fmla="*/ 4420601 w 11269336"/>
              <a:gd name="connsiteY159" fmla="*/ 2205158 h 2323145"/>
              <a:gd name="connsiteX160" fmla="*/ 4405765 w 11269336"/>
              <a:gd name="connsiteY160" fmla="*/ 2199902 h 2323145"/>
              <a:gd name="connsiteX161" fmla="*/ 4401354 w 11269336"/>
              <a:gd name="connsiteY161" fmla="*/ 2194745 h 2323145"/>
              <a:gd name="connsiteX162" fmla="*/ 4383151 w 11269336"/>
              <a:gd name="connsiteY162" fmla="*/ 2201140 h 2323145"/>
              <a:gd name="connsiteX163" fmla="*/ 4366646 w 11269336"/>
              <a:gd name="connsiteY163" fmla="*/ 2198564 h 2323145"/>
              <a:gd name="connsiteX164" fmla="*/ 4354009 w 11269336"/>
              <a:gd name="connsiteY164" fmla="*/ 2204984 h 2323145"/>
              <a:gd name="connsiteX165" fmla="*/ 4348284 w 11269336"/>
              <a:gd name="connsiteY165" fmla="*/ 2205270 h 2323145"/>
              <a:gd name="connsiteX166" fmla="*/ 4333906 w 11269336"/>
              <a:gd name="connsiteY166" fmla="*/ 2205251 h 2323145"/>
              <a:gd name="connsiteX167" fmla="*/ 4308819 w 11269336"/>
              <a:gd name="connsiteY167" fmla="*/ 2203822 h 2323145"/>
              <a:gd name="connsiteX168" fmla="*/ 4301210 w 11269336"/>
              <a:gd name="connsiteY168" fmla="*/ 2204456 h 2323145"/>
              <a:gd name="connsiteX169" fmla="*/ 4283095 w 11269336"/>
              <a:gd name="connsiteY169" fmla="*/ 2198177 h 2323145"/>
              <a:gd name="connsiteX170" fmla="*/ 4250119 w 11269336"/>
              <a:gd name="connsiteY170" fmla="*/ 2196342 h 2323145"/>
              <a:gd name="connsiteX171" fmla="*/ 4189203 w 11269336"/>
              <a:gd name="connsiteY171" fmla="*/ 2178994 h 2323145"/>
              <a:gd name="connsiteX172" fmla="*/ 4154035 w 11269336"/>
              <a:gd name="connsiteY172" fmla="*/ 2171950 h 2323145"/>
              <a:gd name="connsiteX173" fmla="*/ 4129569 w 11269336"/>
              <a:gd name="connsiteY173" fmla="*/ 2163850 h 2323145"/>
              <a:gd name="connsiteX174" fmla="*/ 4061250 w 11269336"/>
              <a:gd name="connsiteY174" fmla="*/ 2159236 h 2323145"/>
              <a:gd name="connsiteX175" fmla="*/ 3945480 w 11269336"/>
              <a:gd name="connsiteY175" fmla="*/ 2158279 h 2323145"/>
              <a:gd name="connsiteX176" fmla="*/ 3921468 w 11269336"/>
              <a:gd name="connsiteY176" fmla="*/ 2156588 h 2323145"/>
              <a:gd name="connsiteX177" fmla="*/ 3903348 w 11269336"/>
              <a:gd name="connsiteY177" fmla="*/ 2149220 h 2323145"/>
              <a:gd name="connsiteX178" fmla="*/ 3901342 w 11269336"/>
              <a:gd name="connsiteY178" fmla="*/ 2142355 h 2323145"/>
              <a:gd name="connsiteX179" fmla="*/ 3888539 w 11269336"/>
              <a:gd name="connsiteY179" fmla="*/ 2140476 h 2323145"/>
              <a:gd name="connsiteX180" fmla="*/ 3885662 w 11269336"/>
              <a:gd name="connsiteY180" fmla="*/ 2138740 h 2323145"/>
              <a:gd name="connsiteX181" fmla="*/ 3868627 w 11269336"/>
              <a:gd name="connsiteY181" fmla="*/ 2130023 h 2323145"/>
              <a:gd name="connsiteX182" fmla="*/ 3819177 w 11269336"/>
              <a:gd name="connsiteY182" fmla="*/ 2142111 h 2323145"/>
              <a:gd name="connsiteX183" fmla="*/ 3769100 w 11269336"/>
              <a:gd name="connsiteY183" fmla="*/ 2131731 h 2323145"/>
              <a:gd name="connsiteX184" fmla="*/ 3562752 w 11269336"/>
              <a:gd name="connsiteY184" fmla="*/ 2131785 h 2323145"/>
              <a:gd name="connsiteX185" fmla="*/ 3541402 w 11269336"/>
              <a:gd name="connsiteY185" fmla="*/ 2106821 h 2323145"/>
              <a:gd name="connsiteX186" fmla="*/ 3460591 w 11269336"/>
              <a:gd name="connsiteY186" fmla="*/ 2097951 h 2323145"/>
              <a:gd name="connsiteX187" fmla="*/ 3320348 w 11269336"/>
              <a:gd name="connsiteY187" fmla="*/ 2130191 h 2323145"/>
              <a:gd name="connsiteX188" fmla="*/ 3170922 w 11269336"/>
              <a:gd name="connsiteY188" fmla="*/ 2115957 h 2323145"/>
              <a:gd name="connsiteX189" fmla="*/ 3156256 w 11269336"/>
              <a:gd name="connsiteY189" fmla="*/ 2124773 h 2323145"/>
              <a:gd name="connsiteX190" fmla="*/ 3140298 w 11269336"/>
              <a:gd name="connsiteY190" fmla="*/ 2129182 h 2323145"/>
              <a:gd name="connsiteX191" fmla="*/ 3138514 w 11269336"/>
              <a:gd name="connsiteY191" fmla="*/ 2128069 h 2323145"/>
              <a:gd name="connsiteX192" fmla="*/ 3120467 w 11269336"/>
              <a:gd name="connsiteY192" fmla="*/ 2128281 h 2323145"/>
              <a:gd name="connsiteX193" fmla="*/ 3116175 w 11269336"/>
              <a:gd name="connsiteY193" fmla="*/ 2131633 h 2323145"/>
              <a:gd name="connsiteX194" fmla="*/ 3103685 w 11269336"/>
              <a:gd name="connsiteY194" fmla="*/ 2132814 h 2323145"/>
              <a:gd name="connsiteX195" fmla="*/ 3078794 w 11269336"/>
              <a:gd name="connsiteY195" fmla="*/ 2137935 h 2323145"/>
              <a:gd name="connsiteX196" fmla="*/ 3074407 w 11269336"/>
              <a:gd name="connsiteY196" fmla="*/ 2136274 h 2323145"/>
              <a:gd name="connsiteX197" fmla="*/ 3037285 w 11269336"/>
              <a:gd name="connsiteY197" fmla="*/ 2139919 h 2323145"/>
              <a:gd name="connsiteX198" fmla="*/ 3036901 w 11269336"/>
              <a:gd name="connsiteY198" fmla="*/ 2138726 h 2323145"/>
              <a:gd name="connsiteX199" fmla="*/ 3026996 w 11269336"/>
              <a:gd name="connsiteY199" fmla="*/ 2134322 h 2323145"/>
              <a:gd name="connsiteX200" fmla="*/ 3007772 w 11269336"/>
              <a:gd name="connsiteY200" fmla="*/ 2128742 h 2323145"/>
              <a:gd name="connsiteX201" fmla="*/ 2965030 w 11269336"/>
              <a:gd name="connsiteY201" fmla="*/ 2100494 h 2323145"/>
              <a:gd name="connsiteX202" fmla="*/ 2926342 w 11269336"/>
              <a:gd name="connsiteY202" fmla="*/ 2104155 h 2323145"/>
              <a:gd name="connsiteX203" fmla="*/ 2918608 w 11269336"/>
              <a:gd name="connsiteY203" fmla="*/ 2104215 h 2323145"/>
              <a:gd name="connsiteX204" fmla="*/ 2918475 w 11269336"/>
              <a:gd name="connsiteY204" fmla="*/ 2103937 h 2323145"/>
              <a:gd name="connsiteX205" fmla="*/ 2910360 w 11269336"/>
              <a:gd name="connsiteY205" fmla="*/ 2103444 h 2323145"/>
              <a:gd name="connsiteX206" fmla="*/ 2904507 w 11269336"/>
              <a:gd name="connsiteY206" fmla="*/ 2104326 h 2323145"/>
              <a:gd name="connsiteX207" fmla="*/ 2889503 w 11269336"/>
              <a:gd name="connsiteY207" fmla="*/ 2104443 h 2323145"/>
              <a:gd name="connsiteX208" fmla="*/ 2884480 w 11269336"/>
              <a:gd name="connsiteY208" fmla="*/ 2102626 h 2323145"/>
              <a:gd name="connsiteX209" fmla="*/ 2882689 w 11269336"/>
              <a:gd name="connsiteY209" fmla="*/ 2099228 h 2323145"/>
              <a:gd name="connsiteX210" fmla="*/ 2881291 w 11269336"/>
              <a:gd name="connsiteY210" fmla="*/ 2099618 h 2323145"/>
              <a:gd name="connsiteX211" fmla="*/ 2853979 w 11269336"/>
              <a:gd name="connsiteY211" fmla="*/ 2090388 h 2323145"/>
              <a:gd name="connsiteX212" fmla="*/ 2791790 w 11269336"/>
              <a:gd name="connsiteY212" fmla="*/ 2080332 h 2323145"/>
              <a:gd name="connsiteX213" fmla="*/ 2755844 w 11269336"/>
              <a:gd name="connsiteY213" fmla="*/ 2078874 h 2323145"/>
              <a:gd name="connsiteX214" fmla="*/ 2657742 w 11269336"/>
              <a:gd name="connsiteY214" fmla="*/ 2070179 h 2323145"/>
              <a:gd name="connsiteX215" fmla="*/ 2559549 w 11269336"/>
              <a:gd name="connsiteY215" fmla="*/ 2057873 h 2323145"/>
              <a:gd name="connsiteX216" fmla="*/ 2512054 w 11269336"/>
              <a:gd name="connsiteY216" fmla="*/ 2031671 h 2323145"/>
              <a:gd name="connsiteX217" fmla="*/ 2506437 w 11269336"/>
              <a:gd name="connsiteY217" fmla="*/ 2030918 h 2323145"/>
              <a:gd name="connsiteX218" fmla="*/ 2491752 w 11269336"/>
              <a:gd name="connsiteY218" fmla="*/ 2033906 h 2323145"/>
              <a:gd name="connsiteX219" fmla="*/ 2486338 w 11269336"/>
              <a:gd name="connsiteY219" fmla="*/ 2035862 h 2323145"/>
              <a:gd name="connsiteX220" fmla="*/ 2478186 w 11269336"/>
              <a:gd name="connsiteY220" fmla="*/ 2036953 h 2323145"/>
              <a:gd name="connsiteX221" fmla="*/ 2477950 w 11269336"/>
              <a:gd name="connsiteY221" fmla="*/ 2036715 h 2323145"/>
              <a:gd name="connsiteX222" fmla="*/ 2470381 w 11269336"/>
              <a:gd name="connsiteY222" fmla="*/ 2038256 h 2323145"/>
              <a:gd name="connsiteX223" fmla="*/ 2433781 w 11269336"/>
              <a:gd name="connsiteY223" fmla="*/ 2049140 h 2323145"/>
              <a:gd name="connsiteX224" fmla="*/ 2381172 w 11269336"/>
              <a:gd name="connsiteY224" fmla="*/ 2030645 h 2323145"/>
              <a:gd name="connsiteX225" fmla="*/ 2360198 w 11269336"/>
              <a:gd name="connsiteY225" fmla="*/ 2029059 h 2323145"/>
              <a:gd name="connsiteX226" fmla="*/ 2348815 w 11269336"/>
              <a:gd name="connsiteY226" fmla="*/ 2026798 h 2323145"/>
              <a:gd name="connsiteX227" fmla="*/ 2347988 w 11269336"/>
              <a:gd name="connsiteY227" fmla="*/ 2025745 h 2323145"/>
              <a:gd name="connsiteX228" fmla="*/ 2312920 w 11269336"/>
              <a:gd name="connsiteY228" fmla="*/ 2036311 h 2323145"/>
              <a:gd name="connsiteX229" fmla="*/ 2307986 w 11269336"/>
              <a:gd name="connsiteY229" fmla="*/ 2035583 h 2323145"/>
              <a:gd name="connsiteX230" fmla="*/ 2285481 w 11269336"/>
              <a:gd name="connsiteY230" fmla="*/ 2045197 h 2323145"/>
              <a:gd name="connsiteX231" fmla="*/ 2273666 w 11269336"/>
              <a:gd name="connsiteY231" fmla="*/ 2048710 h 2323145"/>
              <a:gd name="connsiteX232" fmla="*/ 2270719 w 11269336"/>
              <a:gd name="connsiteY232" fmla="*/ 2052702 h 2323145"/>
              <a:gd name="connsiteX233" fmla="*/ 2253080 w 11269336"/>
              <a:gd name="connsiteY233" fmla="*/ 2056363 h 2323145"/>
              <a:gd name="connsiteX234" fmla="*/ 2250906 w 11269336"/>
              <a:gd name="connsiteY234" fmla="*/ 2055654 h 2323145"/>
              <a:gd name="connsiteX235" fmla="*/ 2236905 w 11269336"/>
              <a:gd name="connsiteY235" fmla="*/ 2062882 h 2323145"/>
              <a:gd name="connsiteX236" fmla="*/ 2225830 w 11269336"/>
              <a:gd name="connsiteY236" fmla="*/ 2074027 h 2323145"/>
              <a:gd name="connsiteX237" fmla="*/ 2073776 w 11269336"/>
              <a:gd name="connsiteY237" fmla="*/ 2089244 h 2323145"/>
              <a:gd name="connsiteX238" fmla="*/ 1948256 w 11269336"/>
              <a:gd name="connsiteY238" fmla="*/ 2146616 h 2323145"/>
              <a:gd name="connsiteX239" fmla="*/ 1865582 w 11269336"/>
              <a:gd name="connsiteY239" fmla="*/ 2153738 h 2323145"/>
              <a:gd name="connsiteX240" fmla="*/ 1835210 w 11269336"/>
              <a:gd name="connsiteY240" fmla="*/ 2134244 h 2323145"/>
              <a:gd name="connsiteX241" fmla="*/ 1632661 w 11269336"/>
              <a:gd name="connsiteY241" fmla="*/ 2173882 h 2323145"/>
              <a:gd name="connsiteX242" fmla="*/ 1579590 w 11269336"/>
              <a:gd name="connsiteY242" fmla="*/ 2173680 h 2323145"/>
              <a:gd name="connsiteX243" fmla="*/ 1535601 w 11269336"/>
              <a:gd name="connsiteY243" fmla="*/ 2194590 h 2323145"/>
              <a:gd name="connsiteX244" fmla="*/ 1515594 w 11269336"/>
              <a:gd name="connsiteY244" fmla="*/ 2189622 h 2323145"/>
              <a:gd name="connsiteX245" fmla="*/ 1512113 w 11269336"/>
              <a:gd name="connsiteY245" fmla="*/ 2188534 h 2323145"/>
              <a:gd name="connsiteX246" fmla="*/ 1498838 w 11269336"/>
              <a:gd name="connsiteY246" fmla="*/ 2189213 h 2323145"/>
              <a:gd name="connsiteX247" fmla="*/ 1494279 w 11269336"/>
              <a:gd name="connsiteY247" fmla="*/ 2183112 h 2323145"/>
              <a:gd name="connsiteX248" fmla="*/ 1473714 w 11269336"/>
              <a:gd name="connsiteY248" fmla="*/ 2179625 h 2323145"/>
              <a:gd name="connsiteX249" fmla="*/ 1449503 w 11269336"/>
              <a:gd name="connsiteY249" fmla="*/ 2182633 h 2323145"/>
              <a:gd name="connsiteX250" fmla="*/ 1335495 w 11269336"/>
              <a:gd name="connsiteY250" fmla="*/ 2203940 h 2323145"/>
              <a:gd name="connsiteX251" fmla="*/ 1266687 w 11269336"/>
              <a:gd name="connsiteY251" fmla="*/ 2212688 h 2323145"/>
              <a:gd name="connsiteX252" fmla="*/ 1239614 w 11269336"/>
              <a:gd name="connsiteY252" fmla="*/ 2209727 h 2323145"/>
              <a:gd name="connsiteX253" fmla="*/ 1202436 w 11269336"/>
              <a:gd name="connsiteY253" fmla="*/ 2209817 h 2323145"/>
              <a:gd name="connsiteX254" fmla="*/ 1136097 w 11269336"/>
              <a:gd name="connsiteY254" fmla="*/ 2205112 h 2323145"/>
              <a:gd name="connsiteX255" fmla="*/ 1048229 w 11269336"/>
              <a:gd name="connsiteY255" fmla="*/ 2207249 h 2323145"/>
              <a:gd name="connsiteX256" fmla="*/ 988232 w 11269336"/>
              <a:gd name="connsiteY256" fmla="*/ 2235635 h 2323145"/>
              <a:gd name="connsiteX257" fmla="*/ 981959 w 11269336"/>
              <a:gd name="connsiteY257" fmla="*/ 2231607 h 2323145"/>
              <a:gd name="connsiteX258" fmla="*/ 938600 w 11269336"/>
              <a:gd name="connsiteY258" fmla="*/ 2238113 h 2323145"/>
              <a:gd name="connsiteX259" fmla="*/ 791788 w 11269336"/>
              <a:gd name="connsiteY259" fmla="*/ 2293224 h 2323145"/>
              <a:gd name="connsiteX260" fmla="*/ 706914 w 11269336"/>
              <a:gd name="connsiteY260" fmla="*/ 2305046 h 2323145"/>
              <a:gd name="connsiteX261" fmla="*/ 675971 w 11269336"/>
              <a:gd name="connsiteY261" fmla="*/ 2304030 h 2323145"/>
              <a:gd name="connsiteX262" fmla="*/ 624180 w 11269336"/>
              <a:gd name="connsiteY262" fmla="*/ 2302650 h 2323145"/>
              <a:gd name="connsiteX263" fmla="*/ 583453 w 11269336"/>
              <a:gd name="connsiteY263" fmla="*/ 2288788 h 2323145"/>
              <a:gd name="connsiteX264" fmla="*/ 540946 w 11269336"/>
              <a:gd name="connsiteY264" fmla="*/ 2292721 h 2323145"/>
              <a:gd name="connsiteX265" fmla="*/ 533680 w 11269336"/>
              <a:gd name="connsiteY265" fmla="*/ 2310233 h 2323145"/>
              <a:gd name="connsiteX266" fmla="*/ 487366 w 11269336"/>
              <a:gd name="connsiteY266" fmla="*/ 2309053 h 2323145"/>
              <a:gd name="connsiteX267" fmla="*/ 416820 w 11269336"/>
              <a:gd name="connsiteY267" fmla="*/ 2305443 h 2323145"/>
              <a:gd name="connsiteX268" fmla="*/ 376805 w 11269336"/>
              <a:gd name="connsiteY268" fmla="*/ 2307647 h 2323145"/>
              <a:gd name="connsiteX269" fmla="*/ 266777 w 11269336"/>
              <a:gd name="connsiteY269" fmla="*/ 2309012 h 2323145"/>
              <a:gd name="connsiteX270" fmla="*/ 156013 w 11269336"/>
              <a:gd name="connsiteY270" fmla="*/ 2306832 h 2323145"/>
              <a:gd name="connsiteX271" fmla="*/ 87258 w 11269336"/>
              <a:gd name="connsiteY271" fmla="*/ 2285511 h 2323145"/>
              <a:gd name="connsiteX272" fmla="*/ 23798 w 11269336"/>
              <a:gd name="connsiteY272" fmla="*/ 2281822 h 2323145"/>
              <a:gd name="connsiteX273" fmla="*/ 0 w 11269336"/>
              <a:gd name="connsiteY273" fmla="*/ 2285369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296127 w 11269336"/>
              <a:gd name="connsiteY139" fmla="*/ 2023208 h 2323145"/>
              <a:gd name="connsiteX140" fmla="*/ 5092476 w 11269336"/>
              <a:gd name="connsiteY140" fmla="*/ 2100737 h 2323145"/>
              <a:gd name="connsiteX141" fmla="*/ 5060738 w 11269336"/>
              <a:gd name="connsiteY141" fmla="*/ 2083274 h 2323145"/>
              <a:gd name="connsiteX142" fmla="*/ 4860988 w 11269336"/>
              <a:gd name="connsiteY142" fmla="*/ 2135698 h 2323145"/>
              <a:gd name="connsiteX143" fmla="*/ 4807902 w 11269336"/>
              <a:gd name="connsiteY143" fmla="*/ 2138894 h 2323145"/>
              <a:gd name="connsiteX144" fmla="*/ 4765388 w 11269336"/>
              <a:gd name="connsiteY144" fmla="*/ 2162525 h 2323145"/>
              <a:gd name="connsiteX145" fmla="*/ 4745033 w 11269336"/>
              <a:gd name="connsiteY145" fmla="*/ 2158859 h 2323145"/>
              <a:gd name="connsiteX146" fmla="*/ 4741475 w 11269336"/>
              <a:gd name="connsiteY146" fmla="*/ 2157998 h 2323145"/>
              <a:gd name="connsiteX147" fmla="*/ 4728247 w 11269336"/>
              <a:gd name="connsiteY147" fmla="*/ 2159526 h 2323145"/>
              <a:gd name="connsiteX148" fmla="*/ 4723263 w 11269336"/>
              <a:gd name="connsiteY148" fmla="*/ 2153742 h 2323145"/>
              <a:gd name="connsiteX149" fmla="*/ 4702453 w 11269336"/>
              <a:gd name="connsiteY149" fmla="*/ 2151586 h 2323145"/>
              <a:gd name="connsiteX150" fmla="*/ 4678455 w 11269336"/>
              <a:gd name="connsiteY150" fmla="*/ 2156131 h 2323145"/>
              <a:gd name="connsiteX151" fmla="*/ 4593061 w 11269336"/>
              <a:gd name="connsiteY151" fmla="*/ 2171597 h 2323145"/>
              <a:gd name="connsiteX152" fmla="*/ 4579902 w 11269336"/>
              <a:gd name="connsiteY152" fmla="*/ 2177927 h 2323145"/>
              <a:gd name="connsiteX153" fmla="*/ 4533444 w 11269336"/>
              <a:gd name="connsiteY153" fmla="*/ 2181200 h 2323145"/>
              <a:gd name="connsiteX154" fmla="*/ 4492832 w 11269336"/>
              <a:gd name="connsiteY154" fmla="*/ 2188033 h 2323145"/>
              <a:gd name="connsiteX155" fmla="*/ 4467257 w 11269336"/>
              <a:gd name="connsiteY155" fmla="*/ 2196121 h 2323145"/>
              <a:gd name="connsiteX156" fmla="*/ 4459937 w 11269336"/>
              <a:gd name="connsiteY156" fmla="*/ 2195182 h 2323145"/>
              <a:gd name="connsiteX157" fmla="*/ 4433312 w 11269336"/>
              <a:gd name="connsiteY157" fmla="*/ 2199004 h 2323145"/>
              <a:gd name="connsiteX158" fmla="*/ 4420601 w 11269336"/>
              <a:gd name="connsiteY158" fmla="*/ 2205158 h 2323145"/>
              <a:gd name="connsiteX159" fmla="*/ 4405765 w 11269336"/>
              <a:gd name="connsiteY159" fmla="*/ 2199902 h 2323145"/>
              <a:gd name="connsiteX160" fmla="*/ 4401354 w 11269336"/>
              <a:gd name="connsiteY160" fmla="*/ 2194745 h 2323145"/>
              <a:gd name="connsiteX161" fmla="*/ 4383151 w 11269336"/>
              <a:gd name="connsiteY161" fmla="*/ 2201140 h 2323145"/>
              <a:gd name="connsiteX162" fmla="*/ 4366646 w 11269336"/>
              <a:gd name="connsiteY162" fmla="*/ 2198564 h 2323145"/>
              <a:gd name="connsiteX163" fmla="*/ 4354009 w 11269336"/>
              <a:gd name="connsiteY163" fmla="*/ 2204984 h 2323145"/>
              <a:gd name="connsiteX164" fmla="*/ 4348284 w 11269336"/>
              <a:gd name="connsiteY164" fmla="*/ 2205270 h 2323145"/>
              <a:gd name="connsiteX165" fmla="*/ 4333906 w 11269336"/>
              <a:gd name="connsiteY165" fmla="*/ 2205251 h 2323145"/>
              <a:gd name="connsiteX166" fmla="*/ 4308819 w 11269336"/>
              <a:gd name="connsiteY166" fmla="*/ 2203822 h 2323145"/>
              <a:gd name="connsiteX167" fmla="*/ 4301210 w 11269336"/>
              <a:gd name="connsiteY167" fmla="*/ 2204456 h 2323145"/>
              <a:gd name="connsiteX168" fmla="*/ 4283095 w 11269336"/>
              <a:gd name="connsiteY168" fmla="*/ 2198177 h 2323145"/>
              <a:gd name="connsiteX169" fmla="*/ 4250119 w 11269336"/>
              <a:gd name="connsiteY169" fmla="*/ 2196342 h 2323145"/>
              <a:gd name="connsiteX170" fmla="*/ 4189203 w 11269336"/>
              <a:gd name="connsiteY170" fmla="*/ 2178994 h 2323145"/>
              <a:gd name="connsiteX171" fmla="*/ 4154035 w 11269336"/>
              <a:gd name="connsiteY171" fmla="*/ 2171950 h 2323145"/>
              <a:gd name="connsiteX172" fmla="*/ 4129569 w 11269336"/>
              <a:gd name="connsiteY172" fmla="*/ 2163850 h 2323145"/>
              <a:gd name="connsiteX173" fmla="*/ 4061250 w 11269336"/>
              <a:gd name="connsiteY173" fmla="*/ 2159236 h 2323145"/>
              <a:gd name="connsiteX174" fmla="*/ 3945480 w 11269336"/>
              <a:gd name="connsiteY174" fmla="*/ 2158279 h 2323145"/>
              <a:gd name="connsiteX175" fmla="*/ 3921468 w 11269336"/>
              <a:gd name="connsiteY175" fmla="*/ 2156588 h 2323145"/>
              <a:gd name="connsiteX176" fmla="*/ 3903348 w 11269336"/>
              <a:gd name="connsiteY176" fmla="*/ 2149220 h 2323145"/>
              <a:gd name="connsiteX177" fmla="*/ 3901342 w 11269336"/>
              <a:gd name="connsiteY177" fmla="*/ 2142355 h 2323145"/>
              <a:gd name="connsiteX178" fmla="*/ 3888539 w 11269336"/>
              <a:gd name="connsiteY178" fmla="*/ 2140476 h 2323145"/>
              <a:gd name="connsiteX179" fmla="*/ 3885662 w 11269336"/>
              <a:gd name="connsiteY179" fmla="*/ 2138740 h 2323145"/>
              <a:gd name="connsiteX180" fmla="*/ 3868627 w 11269336"/>
              <a:gd name="connsiteY180" fmla="*/ 2130023 h 2323145"/>
              <a:gd name="connsiteX181" fmla="*/ 3819177 w 11269336"/>
              <a:gd name="connsiteY181" fmla="*/ 2142111 h 2323145"/>
              <a:gd name="connsiteX182" fmla="*/ 3769100 w 11269336"/>
              <a:gd name="connsiteY182" fmla="*/ 2131731 h 2323145"/>
              <a:gd name="connsiteX183" fmla="*/ 3562752 w 11269336"/>
              <a:gd name="connsiteY183" fmla="*/ 2131785 h 2323145"/>
              <a:gd name="connsiteX184" fmla="*/ 3541402 w 11269336"/>
              <a:gd name="connsiteY184" fmla="*/ 2106821 h 2323145"/>
              <a:gd name="connsiteX185" fmla="*/ 3460591 w 11269336"/>
              <a:gd name="connsiteY185" fmla="*/ 2097951 h 2323145"/>
              <a:gd name="connsiteX186" fmla="*/ 3320348 w 11269336"/>
              <a:gd name="connsiteY186" fmla="*/ 2130191 h 2323145"/>
              <a:gd name="connsiteX187" fmla="*/ 3170922 w 11269336"/>
              <a:gd name="connsiteY187" fmla="*/ 2115957 h 2323145"/>
              <a:gd name="connsiteX188" fmla="*/ 3156256 w 11269336"/>
              <a:gd name="connsiteY188" fmla="*/ 2124773 h 2323145"/>
              <a:gd name="connsiteX189" fmla="*/ 3140298 w 11269336"/>
              <a:gd name="connsiteY189" fmla="*/ 2129182 h 2323145"/>
              <a:gd name="connsiteX190" fmla="*/ 3138514 w 11269336"/>
              <a:gd name="connsiteY190" fmla="*/ 2128069 h 2323145"/>
              <a:gd name="connsiteX191" fmla="*/ 3120467 w 11269336"/>
              <a:gd name="connsiteY191" fmla="*/ 2128281 h 2323145"/>
              <a:gd name="connsiteX192" fmla="*/ 3116175 w 11269336"/>
              <a:gd name="connsiteY192" fmla="*/ 2131633 h 2323145"/>
              <a:gd name="connsiteX193" fmla="*/ 3103685 w 11269336"/>
              <a:gd name="connsiteY193" fmla="*/ 2132814 h 2323145"/>
              <a:gd name="connsiteX194" fmla="*/ 3078794 w 11269336"/>
              <a:gd name="connsiteY194" fmla="*/ 2137935 h 2323145"/>
              <a:gd name="connsiteX195" fmla="*/ 3074407 w 11269336"/>
              <a:gd name="connsiteY195" fmla="*/ 2136274 h 2323145"/>
              <a:gd name="connsiteX196" fmla="*/ 3037285 w 11269336"/>
              <a:gd name="connsiteY196" fmla="*/ 2139919 h 2323145"/>
              <a:gd name="connsiteX197" fmla="*/ 3036901 w 11269336"/>
              <a:gd name="connsiteY197" fmla="*/ 2138726 h 2323145"/>
              <a:gd name="connsiteX198" fmla="*/ 3026996 w 11269336"/>
              <a:gd name="connsiteY198" fmla="*/ 2134322 h 2323145"/>
              <a:gd name="connsiteX199" fmla="*/ 3007772 w 11269336"/>
              <a:gd name="connsiteY199" fmla="*/ 2128742 h 2323145"/>
              <a:gd name="connsiteX200" fmla="*/ 2965030 w 11269336"/>
              <a:gd name="connsiteY200" fmla="*/ 2100494 h 2323145"/>
              <a:gd name="connsiteX201" fmla="*/ 2926342 w 11269336"/>
              <a:gd name="connsiteY201" fmla="*/ 2104155 h 2323145"/>
              <a:gd name="connsiteX202" fmla="*/ 2918608 w 11269336"/>
              <a:gd name="connsiteY202" fmla="*/ 2104215 h 2323145"/>
              <a:gd name="connsiteX203" fmla="*/ 2918475 w 11269336"/>
              <a:gd name="connsiteY203" fmla="*/ 2103937 h 2323145"/>
              <a:gd name="connsiteX204" fmla="*/ 2910360 w 11269336"/>
              <a:gd name="connsiteY204" fmla="*/ 2103444 h 2323145"/>
              <a:gd name="connsiteX205" fmla="*/ 2904507 w 11269336"/>
              <a:gd name="connsiteY205" fmla="*/ 2104326 h 2323145"/>
              <a:gd name="connsiteX206" fmla="*/ 2889503 w 11269336"/>
              <a:gd name="connsiteY206" fmla="*/ 2104443 h 2323145"/>
              <a:gd name="connsiteX207" fmla="*/ 2884480 w 11269336"/>
              <a:gd name="connsiteY207" fmla="*/ 2102626 h 2323145"/>
              <a:gd name="connsiteX208" fmla="*/ 2882689 w 11269336"/>
              <a:gd name="connsiteY208" fmla="*/ 2099228 h 2323145"/>
              <a:gd name="connsiteX209" fmla="*/ 2881291 w 11269336"/>
              <a:gd name="connsiteY209" fmla="*/ 2099618 h 2323145"/>
              <a:gd name="connsiteX210" fmla="*/ 2853979 w 11269336"/>
              <a:gd name="connsiteY210" fmla="*/ 2090388 h 2323145"/>
              <a:gd name="connsiteX211" fmla="*/ 2791790 w 11269336"/>
              <a:gd name="connsiteY211" fmla="*/ 2080332 h 2323145"/>
              <a:gd name="connsiteX212" fmla="*/ 2755844 w 11269336"/>
              <a:gd name="connsiteY212" fmla="*/ 2078874 h 2323145"/>
              <a:gd name="connsiteX213" fmla="*/ 2657742 w 11269336"/>
              <a:gd name="connsiteY213" fmla="*/ 2070179 h 2323145"/>
              <a:gd name="connsiteX214" fmla="*/ 2559549 w 11269336"/>
              <a:gd name="connsiteY214" fmla="*/ 2057873 h 2323145"/>
              <a:gd name="connsiteX215" fmla="*/ 2512054 w 11269336"/>
              <a:gd name="connsiteY215" fmla="*/ 2031671 h 2323145"/>
              <a:gd name="connsiteX216" fmla="*/ 2506437 w 11269336"/>
              <a:gd name="connsiteY216" fmla="*/ 2030918 h 2323145"/>
              <a:gd name="connsiteX217" fmla="*/ 2491752 w 11269336"/>
              <a:gd name="connsiteY217" fmla="*/ 2033906 h 2323145"/>
              <a:gd name="connsiteX218" fmla="*/ 2486338 w 11269336"/>
              <a:gd name="connsiteY218" fmla="*/ 2035862 h 2323145"/>
              <a:gd name="connsiteX219" fmla="*/ 2478186 w 11269336"/>
              <a:gd name="connsiteY219" fmla="*/ 2036953 h 2323145"/>
              <a:gd name="connsiteX220" fmla="*/ 2477950 w 11269336"/>
              <a:gd name="connsiteY220" fmla="*/ 2036715 h 2323145"/>
              <a:gd name="connsiteX221" fmla="*/ 2470381 w 11269336"/>
              <a:gd name="connsiteY221" fmla="*/ 2038256 h 2323145"/>
              <a:gd name="connsiteX222" fmla="*/ 2433781 w 11269336"/>
              <a:gd name="connsiteY222" fmla="*/ 2049140 h 2323145"/>
              <a:gd name="connsiteX223" fmla="*/ 2381172 w 11269336"/>
              <a:gd name="connsiteY223" fmla="*/ 2030645 h 2323145"/>
              <a:gd name="connsiteX224" fmla="*/ 2360198 w 11269336"/>
              <a:gd name="connsiteY224" fmla="*/ 2029059 h 2323145"/>
              <a:gd name="connsiteX225" fmla="*/ 2348815 w 11269336"/>
              <a:gd name="connsiteY225" fmla="*/ 2026798 h 2323145"/>
              <a:gd name="connsiteX226" fmla="*/ 2347988 w 11269336"/>
              <a:gd name="connsiteY226" fmla="*/ 2025745 h 2323145"/>
              <a:gd name="connsiteX227" fmla="*/ 2312920 w 11269336"/>
              <a:gd name="connsiteY227" fmla="*/ 2036311 h 2323145"/>
              <a:gd name="connsiteX228" fmla="*/ 2307986 w 11269336"/>
              <a:gd name="connsiteY228" fmla="*/ 2035583 h 2323145"/>
              <a:gd name="connsiteX229" fmla="*/ 2285481 w 11269336"/>
              <a:gd name="connsiteY229" fmla="*/ 2045197 h 2323145"/>
              <a:gd name="connsiteX230" fmla="*/ 2273666 w 11269336"/>
              <a:gd name="connsiteY230" fmla="*/ 2048710 h 2323145"/>
              <a:gd name="connsiteX231" fmla="*/ 2270719 w 11269336"/>
              <a:gd name="connsiteY231" fmla="*/ 2052702 h 2323145"/>
              <a:gd name="connsiteX232" fmla="*/ 2253080 w 11269336"/>
              <a:gd name="connsiteY232" fmla="*/ 2056363 h 2323145"/>
              <a:gd name="connsiteX233" fmla="*/ 2250906 w 11269336"/>
              <a:gd name="connsiteY233" fmla="*/ 2055654 h 2323145"/>
              <a:gd name="connsiteX234" fmla="*/ 2236905 w 11269336"/>
              <a:gd name="connsiteY234" fmla="*/ 2062882 h 2323145"/>
              <a:gd name="connsiteX235" fmla="*/ 2225830 w 11269336"/>
              <a:gd name="connsiteY235" fmla="*/ 2074027 h 2323145"/>
              <a:gd name="connsiteX236" fmla="*/ 2073776 w 11269336"/>
              <a:gd name="connsiteY236" fmla="*/ 2089244 h 2323145"/>
              <a:gd name="connsiteX237" fmla="*/ 1948256 w 11269336"/>
              <a:gd name="connsiteY237" fmla="*/ 2146616 h 2323145"/>
              <a:gd name="connsiteX238" fmla="*/ 1865582 w 11269336"/>
              <a:gd name="connsiteY238" fmla="*/ 2153738 h 2323145"/>
              <a:gd name="connsiteX239" fmla="*/ 1835210 w 11269336"/>
              <a:gd name="connsiteY239" fmla="*/ 2134244 h 2323145"/>
              <a:gd name="connsiteX240" fmla="*/ 1632661 w 11269336"/>
              <a:gd name="connsiteY240" fmla="*/ 2173882 h 2323145"/>
              <a:gd name="connsiteX241" fmla="*/ 1579590 w 11269336"/>
              <a:gd name="connsiteY241" fmla="*/ 2173680 h 2323145"/>
              <a:gd name="connsiteX242" fmla="*/ 1535601 w 11269336"/>
              <a:gd name="connsiteY242" fmla="*/ 2194590 h 2323145"/>
              <a:gd name="connsiteX243" fmla="*/ 1515594 w 11269336"/>
              <a:gd name="connsiteY243" fmla="*/ 2189622 h 2323145"/>
              <a:gd name="connsiteX244" fmla="*/ 1512113 w 11269336"/>
              <a:gd name="connsiteY244" fmla="*/ 2188534 h 2323145"/>
              <a:gd name="connsiteX245" fmla="*/ 1498838 w 11269336"/>
              <a:gd name="connsiteY245" fmla="*/ 2189213 h 2323145"/>
              <a:gd name="connsiteX246" fmla="*/ 1494279 w 11269336"/>
              <a:gd name="connsiteY246" fmla="*/ 2183112 h 2323145"/>
              <a:gd name="connsiteX247" fmla="*/ 1473714 w 11269336"/>
              <a:gd name="connsiteY247" fmla="*/ 2179625 h 2323145"/>
              <a:gd name="connsiteX248" fmla="*/ 1449503 w 11269336"/>
              <a:gd name="connsiteY248" fmla="*/ 2182633 h 2323145"/>
              <a:gd name="connsiteX249" fmla="*/ 1335495 w 11269336"/>
              <a:gd name="connsiteY249" fmla="*/ 2203940 h 2323145"/>
              <a:gd name="connsiteX250" fmla="*/ 1266687 w 11269336"/>
              <a:gd name="connsiteY250" fmla="*/ 2212688 h 2323145"/>
              <a:gd name="connsiteX251" fmla="*/ 1239614 w 11269336"/>
              <a:gd name="connsiteY251" fmla="*/ 2209727 h 2323145"/>
              <a:gd name="connsiteX252" fmla="*/ 1202436 w 11269336"/>
              <a:gd name="connsiteY252" fmla="*/ 2209817 h 2323145"/>
              <a:gd name="connsiteX253" fmla="*/ 1136097 w 11269336"/>
              <a:gd name="connsiteY253" fmla="*/ 2205112 h 2323145"/>
              <a:gd name="connsiteX254" fmla="*/ 1048229 w 11269336"/>
              <a:gd name="connsiteY254" fmla="*/ 2207249 h 2323145"/>
              <a:gd name="connsiteX255" fmla="*/ 988232 w 11269336"/>
              <a:gd name="connsiteY255" fmla="*/ 2235635 h 2323145"/>
              <a:gd name="connsiteX256" fmla="*/ 981959 w 11269336"/>
              <a:gd name="connsiteY256" fmla="*/ 2231607 h 2323145"/>
              <a:gd name="connsiteX257" fmla="*/ 938600 w 11269336"/>
              <a:gd name="connsiteY257" fmla="*/ 2238113 h 2323145"/>
              <a:gd name="connsiteX258" fmla="*/ 791788 w 11269336"/>
              <a:gd name="connsiteY258" fmla="*/ 2293224 h 2323145"/>
              <a:gd name="connsiteX259" fmla="*/ 706914 w 11269336"/>
              <a:gd name="connsiteY259" fmla="*/ 2305046 h 2323145"/>
              <a:gd name="connsiteX260" fmla="*/ 675971 w 11269336"/>
              <a:gd name="connsiteY260" fmla="*/ 2304030 h 2323145"/>
              <a:gd name="connsiteX261" fmla="*/ 624180 w 11269336"/>
              <a:gd name="connsiteY261" fmla="*/ 2302650 h 2323145"/>
              <a:gd name="connsiteX262" fmla="*/ 583453 w 11269336"/>
              <a:gd name="connsiteY262" fmla="*/ 2288788 h 2323145"/>
              <a:gd name="connsiteX263" fmla="*/ 540946 w 11269336"/>
              <a:gd name="connsiteY263" fmla="*/ 2292721 h 2323145"/>
              <a:gd name="connsiteX264" fmla="*/ 533680 w 11269336"/>
              <a:gd name="connsiteY264" fmla="*/ 2310233 h 2323145"/>
              <a:gd name="connsiteX265" fmla="*/ 487366 w 11269336"/>
              <a:gd name="connsiteY265" fmla="*/ 2309053 h 2323145"/>
              <a:gd name="connsiteX266" fmla="*/ 416820 w 11269336"/>
              <a:gd name="connsiteY266" fmla="*/ 2305443 h 2323145"/>
              <a:gd name="connsiteX267" fmla="*/ 376805 w 11269336"/>
              <a:gd name="connsiteY267" fmla="*/ 2307647 h 2323145"/>
              <a:gd name="connsiteX268" fmla="*/ 266777 w 11269336"/>
              <a:gd name="connsiteY268" fmla="*/ 2309012 h 2323145"/>
              <a:gd name="connsiteX269" fmla="*/ 156013 w 11269336"/>
              <a:gd name="connsiteY269" fmla="*/ 2306832 h 2323145"/>
              <a:gd name="connsiteX270" fmla="*/ 87258 w 11269336"/>
              <a:gd name="connsiteY270" fmla="*/ 2285511 h 2323145"/>
              <a:gd name="connsiteX271" fmla="*/ 23798 w 11269336"/>
              <a:gd name="connsiteY271" fmla="*/ 2281822 h 2323145"/>
              <a:gd name="connsiteX272" fmla="*/ 0 w 11269336"/>
              <a:gd name="connsiteY272" fmla="*/ 2285369 h 2323145"/>
              <a:gd name="connsiteX273" fmla="*/ 0 w 11269336"/>
              <a:gd name="connsiteY27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092476 w 11269336"/>
              <a:gd name="connsiteY139" fmla="*/ 2100737 h 2323145"/>
              <a:gd name="connsiteX140" fmla="*/ 5060738 w 11269336"/>
              <a:gd name="connsiteY140" fmla="*/ 208327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60738 w 11269336"/>
              <a:gd name="connsiteY140" fmla="*/ 208327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1048229 w 11269336"/>
              <a:gd name="connsiteY252" fmla="*/ 2207249 h 2323145"/>
              <a:gd name="connsiteX253" fmla="*/ 988232 w 11269336"/>
              <a:gd name="connsiteY253" fmla="*/ 2235635 h 2323145"/>
              <a:gd name="connsiteX254" fmla="*/ 981959 w 11269336"/>
              <a:gd name="connsiteY254" fmla="*/ 2231607 h 2323145"/>
              <a:gd name="connsiteX255" fmla="*/ 938600 w 11269336"/>
              <a:gd name="connsiteY255" fmla="*/ 2238113 h 2323145"/>
              <a:gd name="connsiteX256" fmla="*/ 791788 w 11269336"/>
              <a:gd name="connsiteY256" fmla="*/ 2293224 h 2323145"/>
              <a:gd name="connsiteX257" fmla="*/ 706914 w 11269336"/>
              <a:gd name="connsiteY257" fmla="*/ 2305046 h 2323145"/>
              <a:gd name="connsiteX258" fmla="*/ 675971 w 11269336"/>
              <a:gd name="connsiteY258" fmla="*/ 2304030 h 2323145"/>
              <a:gd name="connsiteX259" fmla="*/ 624180 w 11269336"/>
              <a:gd name="connsiteY259" fmla="*/ 2302650 h 2323145"/>
              <a:gd name="connsiteX260" fmla="*/ 583453 w 11269336"/>
              <a:gd name="connsiteY260" fmla="*/ 2288788 h 2323145"/>
              <a:gd name="connsiteX261" fmla="*/ 540946 w 11269336"/>
              <a:gd name="connsiteY261" fmla="*/ 2292721 h 2323145"/>
              <a:gd name="connsiteX262" fmla="*/ 533680 w 11269336"/>
              <a:gd name="connsiteY262" fmla="*/ 2310233 h 2323145"/>
              <a:gd name="connsiteX263" fmla="*/ 487366 w 11269336"/>
              <a:gd name="connsiteY263" fmla="*/ 2309053 h 2323145"/>
              <a:gd name="connsiteX264" fmla="*/ 416820 w 11269336"/>
              <a:gd name="connsiteY264" fmla="*/ 2305443 h 2323145"/>
              <a:gd name="connsiteX265" fmla="*/ 376805 w 11269336"/>
              <a:gd name="connsiteY265" fmla="*/ 2307647 h 2323145"/>
              <a:gd name="connsiteX266" fmla="*/ 266777 w 11269336"/>
              <a:gd name="connsiteY266" fmla="*/ 2309012 h 2323145"/>
              <a:gd name="connsiteX267" fmla="*/ 156013 w 11269336"/>
              <a:gd name="connsiteY267" fmla="*/ 2306832 h 2323145"/>
              <a:gd name="connsiteX268" fmla="*/ 87258 w 11269336"/>
              <a:gd name="connsiteY268" fmla="*/ 2285511 h 2323145"/>
              <a:gd name="connsiteX269" fmla="*/ 23798 w 11269336"/>
              <a:gd name="connsiteY269" fmla="*/ 2281822 h 2323145"/>
              <a:gd name="connsiteX270" fmla="*/ 0 w 11269336"/>
              <a:gd name="connsiteY270" fmla="*/ 2285369 h 2323145"/>
              <a:gd name="connsiteX271" fmla="*/ 0 w 11269336"/>
              <a:gd name="connsiteY27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1048229 w 11269336"/>
              <a:gd name="connsiteY252" fmla="*/ 2207249 h 2323145"/>
              <a:gd name="connsiteX253" fmla="*/ 988232 w 11269336"/>
              <a:gd name="connsiteY253" fmla="*/ 2235635 h 2323145"/>
              <a:gd name="connsiteX254" fmla="*/ 981959 w 11269336"/>
              <a:gd name="connsiteY254" fmla="*/ 2231607 h 2323145"/>
              <a:gd name="connsiteX255" fmla="*/ 938600 w 11269336"/>
              <a:gd name="connsiteY255" fmla="*/ 2238113 h 2323145"/>
              <a:gd name="connsiteX256" fmla="*/ 791788 w 11269336"/>
              <a:gd name="connsiteY256" fmla="*/ 2293224 h 2323145"/>
              <a:gd name="connsiteX257" fmla="*/ 706914 w 11269336"/>
              <a:gd name="connsiteY257" fmla="*/ 2305046 h 2323145"/>
              <a:gd name="connsiteX258" fmla="*/ 675971 w 11269336"/>
              <a:gd name="connsiteY258" fmla="*/ 2304030 h 2323145"/>
              <a:gd name="connsiteX259" fmla="*/ 624180 w 11269336"/>
              <a:gd name="connsiteY259" fmla="*/ 2302650 h 2323145"/>
              <a:gd name="connsiteX260" fmla="*/ 583453 w 11269336"/>
              <a:gd name="connsiteY260" fmla="*/ 2288788 h 2323145"/>
              <a:gd name="connsiteX261" fmla="*/ 540946 w 11269336"/>
              <a:gd name="connsiteY261" fmla="*/ 2292721 h 2323145"/>
              <a:gd name="connsiteX262" fmla="*/ 533680 w 11269336"/>
              <a:gd name="connsiteY262" fmla="*/ 2310233 h 2323145"/>
              <a:gd name="connsiteX263" fmla="*/ 487366 w 11269336"/>
              <a:gd name="connsiteY263" fmla="*/ 2309053 h 2323145"/>
              <a:gd name="connsiteX264" fmla="*/ 416820 w 11269336"/>
              <a:gd name="connsiteY264" fmla="*/ 2305443 h 2323145"/>
              <a:gd name="connsiteX265" fmla="*/ 376805 w 11269336"/>
              <a:gd name="connsiteY265" fmla="*/ 2307647 h 2323145"/>
              <a:gd name="connsiteX266" fmla="*/ 266777 w 11269336"/>
              <a:gd name="connsiteY266" fmla="*/ 2309012 h 2323145"/>
              <a:gd name="connsiteX267" fmla="*/ 156013 w 11269336"/>
              <a:gd name="connsiteY267" fmla="*/ 2306832 h 2323145"/>
              <a:gd name="connsiteX268" fmla="*/ 87258 w 11269336"/>
              <a:gd name="connsiteY268" fmla="*/ 2285511 h 2323145"/>
              <a:gd name="connsiteX269" fmla="*/ 23798 w 11269336"/>
              <a:gd name="connsiteY269" fmla="*/ 2281822 h 2323145"/>
              <a:gd name="connsiteX270" fmla="*/ 0 w 11269336"/>
              <a:gd name="connsiteY270" fmla="*/ 2285369 h 2323145"/>
              <a:gd name="connsiteX271" fmla="*/ 0 w 11269336"/>
              <a:gd name="connsiteY27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988232 w 11269336"/>
              <a:gd name="connsiteY252" fmla="*/ 2235635 h 2323145"/>
              <a:gd name="connsiteX253" fmla="*/ 981959 w 11269336"/>
              <a:gd name="connsiteY253" fmla="*/ 2231607 h 2323145"/>
              <a:gd name="connsiteX254" fmla="*/ 938600 w 11269336"/>
              <a:gd name="connsiteY254" fmla="*/ 2238113 h 2323145"/>
              <a:gd name="connsiteX255" fmla="*/ 791788 w 11269336"/>
              <a:gd name="connsiteY255" fmla="*/ 2293224 h 2323145"/>
              <a:gd name="connsiteX256" fmla="*/ 706914 w 11269336"/>
              <a:gd name="connsiteY256" fmla="*/ 2305046 h 2323145"/>
              <a:gd name="connsiteX257" fmla="*/ 675971 w 11269336"/>
              <a:gd name="connsiteY257" fmla="*/ 2304030 h 2323145"/>
              <a:gd name="connsiteX258" fmla="*/ 624180 w 11269336"/>
              <a:gd name="connsiteY258" fmla="*/ 2302650 h 2323145"/>
              <a:gd name="connsiteX259" fmla="*/ 583453 w 11269336"/>
              <a:gd name="connsiteY259" fmla="*/ 2288788 h 2323145"/>
              <a:gd name="connsiteX260" fmla="*/ 540946 w 11269336"/>
              <a:gd name="connsiteY260" fmla="*/ 2292721 h 2323145"/>
              <a:gd name="connsiteX261" fmla="*/ 533680 w 11269336"/>
              <a:gd name="connsiteY261" fmla="*/ 2310233 h 2323145"/>
              <a:gd name="connsiteX262" fmla="*/ 487366 w 11269336"/>
              <a:gd name="connsiteY262" fmla="*/ 2309053 h 2323145"/>
              <a:gd name="connsiteX263" fmla="*/ 416820 w 11269336"/>
              <a:gd name="connsiteY263" fmla="*/ 2305443 h 2323145"/>
              <a:gd name="connsiteX264" fmla="*/ 376805 w 11269336"/>
              <a:gd name="connsiteY264" fmla="*/ 2307647 h 2323145"/>
              <a:gd name="connsiteX265" fmla="*/ 266777 w 11269336"/>
              <a:gd name="connsiteY265" fmla="*/ 2309012 h 2323145"/>
              <a:gd name="connsiteX266" fmla="*/ 156013 w 11269336"/>
              <a:gd name="connsiteY266" fmla="*/ 2306832 h 2323145"/>
              <a:gd name="connsiteX267" fmla="*/ 87258 w 11269336"/>
              <a:gd name="connsiteY267" fmla="*/ 2285511 h 2323145"/>
              <a:gd name="connsiteX268" fmla="*/ 23798 w 11269336"/>
              <a:gd name="connsiteY268" fmla="*/ 2281822 h 2323145"/>
              <a:gd name="connsiteX269" fmla="*/ 0 w 11269336"/>
              <a:gd name="connsiteY269" fmla="*/ 2285369 h 2323145"/>
              <a:gd name="connsiteX270" fmla="*/ 0 w 11269336"/>
              <a:gd name="connsiteY270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266687 w 11269336"/>
              <a:gd name="connsiteY247" fmla="*/ 2212688 h 2323145"/>
              <a:gd name="connsiteX248" fmla="*/ 1239614 w 11269336"/>
              <a:gd name="connsiteY248" fmla="*/ 2209727 h 2323145"/>
              <a:gd name="connsiteX249" fmla="*/ 1202436 w 11269336"/>
              <a:gd name="connsiteY249" fmla="*/ 2209817 h 2323145"/>
              <a:gd name="connsiteX250" fmla="*/ 1136097 w 11269336"/>
              <a:gd name="connsiteY250" fmla="*/ 2205112 h 2323145"/>
              <a:gd name="connsiteX251" fmla="*/ 988232 w 11269336"/>
              <a:gd name="connsiteY251" fmla="*/ 2235635 h 2323145"/>
              <a:gd name="connsiteX252" fmla="*/ 981959 w 11269336"/>
              <a:gd name="connsiteY252" fmla="*/ 2231607 h 2323145"/>
              <a:gd name="connsiteX253" fmla="*/ 938600 w 11269336"/>
              <a:gd name="connsiteY253" fmla="*/ 2238113 h 2323145"/>
              <a:gd name="connsiteX254" fmla="*/ 791788 w 11269336"/>
              <a:gd name="connsiteY254" fmla="*/ 2293224 h 2323145"/>
              <a:gd name="connsiteX255" fmla="*/ 706914 w 11269336"/>
              <a:gd name="connsiteY255" fmla="*/ 2305046 h 2323145"/>
              <a:gd name="connsiteX256" fmla="*/ 675971 w 11269336"/>
              <a:gd name="connsiteY256" fmla="*/ 2304030 h 2323145"/>
              <a:gd name="connsiteX257" fmla="*/ 624180 w 11269336"/>
              <a:gd name="connsiteY257" fmla="*/ 2302650 h 2323145"/>
              <a:gd name="connsiteX258" fmla="*/ 583453 w 11269336"/>
              <a:gd name="connsiteY258" fmla="*/ 2288788 h 2323145"/>
              <a:gd name="connsiteX259" fmla="*/ 540946 w 11269336"/>
              <a:gd name="connsiteY259" fmla="*/ 2292721 h 2323145"/>
              <a:gd name="connsiteX260" fmla="*/ 533680 w 11269336"/>
              <a:gd name="connsiteY260" fmla="*/ 2310233 h 2323145"/>
              <a:gd name="connsiteX261" fmla="*/ 487366 w 11269336"/>
              <a:gd name="connsiteY261" fmla="*/ 2309053 h 2323145"/>
              <a:gd name="connsiteX262" fmla="*/ 416820 w 11269336"/>
              <a:gd name="connsiteY262" fmla="*/ 2305443 h 2323145"/>
              <a:gd name="connsiteX263" fmla="*/ 376805 w 11269336"/>
              <a:gd name="connsiteY263" fmla="*/ 2307647 h 2323145"/>
              <a:gd name="connsiteX264" fmla="*/ 266777 w 11269336"/>
              <a:gd name="connsiteY264" fmla="*/ 2309012 h 2323145"/>
              <a:gd name="connsiteX265" fmla="*/ 156013 w 11269336"/>
              <a:gd name="connsiteY265" fmla="*/ 2306832 h 2323145"/>
              <a:gd name="connsiteX266" fmla="*/ 87258 w 11269336"/>
              <a:gd name="connsiteY266" fmla="*/ 2285511 h 2323145"/>
              <a:gd name="connsiteX267" fmla="*/ 23798 w 11269336"/>
              <a:gd name="connsiteY267" fmla="*/ 2281822 h 2323145"/>
              <a:gd name="connsiteX268" fmla="*/ 0 w 11269336"/>
              <a:gd name="connsiteY268" fmla="*/ 2285369 h 2323145"/>
              <a:gd name="connsiteX269" fmla="*/ 0 w 11269336"/>
              <a:gd name="connsiteY269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197391 w 11269336"/>
              <a:gd name="connsiteY54" fmla="*/ 1107746 h 2323145"/>
              <a:gd name="connsiteX55" fmla="*/ 8081474 w 11269336"/>
              <a:gd name="connsiteY55" fmla="*/ 1130125 h 2323145"/>
              <a:gd name="connsiteX56" fmla="*/ 8053585 w 11269336"/>
              <a:gd name="connsiteY56" fmla="*/ 1129169 h 2323145"/>
              <a:gd name="connsiteX57" fmla="*/ 8038422 w 11269336"/>
              <a:gd name="connsiteY57" fmla="*/ 1119092 h 2323145"/>
              <a:gd name="connsiteX58" fmla="*/ 8029450 w 11269336"/>
              <a:gd name="connsiteY58" fmla="*/ 1125592 h 2323145"/>
              <a:gd name="connsiteX59" fmla="*/ 7959552 w 11269336"/>
              <a:gd name="connsiteY59" fmla="*/ 1140188 h 2323145"/>
              <a:gd name="connsiteX60" fmla="*/ 7914188 w 11269336"/>
              <a:gd name="connsiteY60" fmla="*/ 1150862 h 2323145"/>
              <a:gd name="connsiteX61" fmla="*/ 7914918 w 11269336"/>
              <a:gd name="connsiteY61" fmla="*/ 1168758 h 2323145"/>
              <a:gd name="connsiteX62" fmla="*/ 7875510 w 11269336"/>
              <a:gd name="connsiteY62" fmla="*/ 1183153 h 2323145"/>
              <a:gd name="connsiteX63" fmla="*/ 7829932 w 11269336"/>
              <a:gd name="connsiteY63" fmla="*/ 1180782 h 2323145"/>
              <a:gd name="connsiteX64" fmla="*/ 7779182 w 11269336"/>
              <a:gd name="connsiteY64" fmla="*/ 1192665 h 2323145"/>
              <a:gd name="connsiteX65" fmla="*/ 7748774 w 11269336"/>
              <a:gd name="connsiteY65" fmla="*/ 1199586 h 2323145"/>
              <a:gd name="connsiteX66" fmla="*/ 7671846 w 11269336"/>
              <a:gd name="connsiteY66" fmla="*/ 1231966 h 2323145"/>
              <a:gd name="connsiteX67" fmla="*/ 7554146 w 11269336"/>
              <a:gd name="connsiteY67" fmla="*/ 1319748 h 2323145"/>
              <a:gd name="connsiteX68" fmla="*/ 7515052 w 11269336"/>
              <a:gd name="connsiteY68" fmla="*/ 1336718 h 2323145"/>
              <a:gd name="connsiteX69" fmla="*/ 7507193 w 11269336"/>
              <a:gd name="connsiteY69" fmla="*/ 1334617 h 2323145"/>
              <a:gd name="connsiteX70" fmla="*/ 7461694 w 11269336"/>
              <a:gd name="connsiteY70" fmla="*/ 1375866 h 2323145"/>
              <a:gd name="connsiteX71" fmla="*/ 7377571 w 11269336"/>
              <a:gd name="connsiteY71" fmla="*/ 1400128 h 2323145"/>
              <a:gd name="connsiteX72" fmla="*/ 7311261 w 11269336"/>
              <a:gd name="connsiteY72" fmla="*/ 1412652 h 2323145"/>
              <a:gd name="connsiteX73" fmla="*/ 7275307 w 11269336"/>
              <a:gd name="connsiteY73" fmla="*/ 1422171 h 2323145"/>
              <a:gd name="connsiteX74" fmla="*/ 7247783 w 11269336"/>
              <a:gd name="connsiteY74" fmla="*/ 1426330 h 2323145"/>
              <a:gd name="connsiteX75" fmla="*/ 7185047 w 11269336"/>
              <a:gd name="connsiteY75" fmla="*/ 1451812 h 2323145"/>
              <a:gd name="connsiteX76" fmla="*/ 7084117 w 11269336"/>
              <a:gd name="connsiteY76" fmla="*/ 1500281 h 2323145"/>
              <a:gd name="connsiteX77" fmla="*/ 7062011 w 11269336"/>
              <a:gd name="connsiteY77" fmla="*/ 1509183 h 2323145"/>
              <a:gd name="connsiteX78" fmla="*/ 7040555 w 11269336"/>
              <a:gd name="connsiteY78" fmla="*/ 1511207 h 2323145"/>
              <a:gd name="connsiteX79" fmla="*/ 7033438 w 11269336"/>
              <a:gd name="connsiteY79" fmla="*/ 1506772 h 2323145"/>
              <a:gd name="connsiteX80" fmla="*/ 7020886 w 11269336"/>
              <a:gd name="connsiteY80" fmla="*/ 1510764 h 2323145"/>
              <a:gd name="connsiteX81" fmla="*/ 7017033 w 11269336"/>
              <a:gd name="connsiteY81" fmla="*/ 1510650 h 2323145"/>
              <a:gd name="connsiteX82" fmla="*/ 6995460 w 11269336"/>
              <a:gd name="connsiteY82" fmla="*/ 1511173 h 2323145"/>
              <a:gd name="connsiteX83" fmla="*/ 6962144 w 11269336"/>
              <a:gd name="connsiteY83" fmla="*/ 1541508 h 2323145"/>
              <a:gd name="connsiteX84" fmla="*/ 6910674 w 11269336"/>
              <a:gd name="connsiteY84" fmla="*/ 1554793 h 2323145"/>
              <a:gd name="connsiteX85" fmla="*/ 6732152 w 11269336"/>
              <a:gd name="connsiteY85" fmla="*/ 1642538 h 2323145"/>
              <a:gd name="connsiteX86" fmla="*/ 6694106 w 11269336"/>
              <a:gd name="connsiteY86" fmla="*/ 1632377 h 2323145"/>
              <a:gd name="connsiteX87" fmla="*/ 6617223 w 11269336"/>
              <a:gd name="connsiteY87" fmla="*/ 1659889 h 2323145"/>
              <a:gd name="connsiteX88" fmla="*/ 6521138 w 11269336"/>
              <a:gd name="connsiteY88" fmla="*/ 1744340 h 2323145"/>
              <a:gd name="connsiteX89" fmla="*/ 6380677 w 11269336"/>
              <a:gd name="connsiteY89" fmla="*/ 1796883 h 2323145"/>
              <a:gd name="connsiteX90" fmla="*/ 6374897 w 11269336"/>
              <a:gd name="connsiteY90" fmla="*/ 1809910 h 2323145"/>
              <a:gd name="connsiteX91" fmla="*/ 6364545 w 11269336"/>
              <a:gd name="connsiteY91" fmla="*/ 1820090 h 2323145"/>
              <a:gd name="connsiteX92" fmla="*/ 6362126 w 11269336"/>
              <a:gd name="connsiteY92" fmla="*/ 1819991 h 2323145"/>
              <a:gd name="connsiteX93" fmla="*/ 6346673 w 11269336"/>
              <a:gd name="connsiteY93" fmla="*/ 1827824 h 2323145"/>
              <a:gd name="connsiteX94" fmla="*/ 6345588 w 11269336"/>
              <a:gd name="connsiteY94" fmla="*/ 1832232 h 2323145"/>
              <a:gd name="connsiteX95" fmla="*/ 6335708 w 11269336"/>
              <a:gd name="connsiteY95" fmla="*/ 1838451 h 2323145"/>
              <a:gd name="connsiteX96" fmla="*/ 6318182 w 11269336"/>
              <a:gd name="connsiteY96" fmla="*/ 1852975 h 2323145"/>
              <a:gd name="connsiteX97" fmla="*/ 6313084 w 11269336"/>
              <a:gd name="connsiteY97" fmla="*/ 1853561 h 2323145"/>
              <a:gd name="connsiteX98" fmla="*/ 6283816 w 11269336"/>
              <a:gd name="connsiteY98" fmla="*/ 1872148 h 2323145"/>
              <a:gd name="connsiteX99" fmla="*/ 6282550 w 11269336"/>
              <a:gd name="connsiteY99" fmla="*/ 1871392 h 2323145"/>
              <a:gd name="connsiteX100" fmla="*/ 6270527 w 11269336"/>
              <a:gd name="connsiteY100" fmla="*/ 1872208 h 2323145"/>
              <a:gd name="connsiteX101" fmla="*/ 6249518 w 11269336"/>
              <a:gd name="connsiteY101" fmla="*/ 1876079 h 2323145"/>
              <a:gd name="connsiteX102" fmla="*/ 6190386 w 11269336"/>
              <a:gd name="connsiteY102" fmla="*/ 1872478 h 2323145"/>
              <a:gd name="connsiteX103" fmla="*/ 6159777 w 11269336"/>
              <a:gd name="connsiteY103" fmla="*/ 1891745 h 2323145"/>
              <a:gd name="connsiteX104" fmla="*/ 6153131 w 11269336"/>
              <a:gd name="connsiteY104" fmla="*/ 1895079 h 2323145"/>
              <a:gd name="connsiteX105" fmla="*/ 6152798 w 11269336"/>
              <a:gd name="connsiteY105" fmla="*/ 1894920 h 2323145"/>
              <a:gd name="connsiteX106" fmla="*/ 6145388 w 11269336"/>
              <a:gd name="connsiteY106" fmla="*/ 1897990 h 2323145"/>
              <a:gd name="connsiteX107" fmla="*/ 6141014 w 11269336"/>
              <a:gd name="connsiteY107" fmla="*/ 1901155 h 2323145"/>
              <a:gd name="connsiteX108" fmla="*/ 6128122 w 11269336"/>
              <a:gd name="connsiteY108" fmla="*/ 1907623 h 2323145"/>
              <a:gd name="connsiteX109" fmla="*/ 6122351 w 11269336"/>
              <a:gd name="connsiteY109" fmla="*/ 1908359 h 2323145"/>
              <a:gd name="connsiteX110" fmla="*/ 6064750 w 11269336"/>
              <a:gd name="connsiteY110" fmla="*/ 1896394 h 2323145"/>
              <a:gd name="connsiteX111" fmla="*/ 5964230 w 11269336"/>
              <a:gd name="connsiteY111" fmla="*/ 1910038 h 2323145"/>
              <a:gd name="connsiteX112" fmla="*/ 5865399 w 11269336"/>
              <a:gd name="connsiteY112" fmla="*/ 1926966 h 2323145"/>
              <a:gd name="connsiteX113" fmla="*/ 5829951 w 11269336"/>
              <a:gd name="connsiteY113" fmla="*/ 1934755 h 2323145"/>
              <a:gd name="connsiteX114" fmla="*/ 5765285 w 11269336"/>
              <a:gd name="connsiteY114" fmla="*/ 1941322 h 2323145"/>
              <a:gd name="connsiteX115" fmla="*/ 5734750 w 11269336"/>
              <a:gd name="connsiteY115" fmla="*/ 1939793 h 2323145"/>
              <a:gd name="connsiteX116" fmla="*/ 5733569 w 11269336"/>
              <a:gd name="connsiteY116" fmla="*/ 1940505 h 2323145"/>
              <a:gd name="connsiteX117" fmla="*/ 5730329 w 11269336"/>
              <a:gd name="connsiteY117" fmla="*/ 1937845 h 2323145"/>
              <a:gd name="connsiteX118" fmla="*/ 5724661 w 11269336"/>
              <a:gd name="connsiteY118" fmla="*/ 1937455 h 2323145"/>
              <a:gd name="connsiteX119" fmla="*/ 5710186 w 11269336"/>
              <a:gd name="connsiteY119" fmla="*/ 1941370 h 2323145"/>
              <a:gd name="connsiteX120" fmla="*/ 5704910 w 11269336"/>
              <a:gd name="connsiteY120" fmla="*/ 1943663 h 2323145"/>
              <a:gd name="connsiteX121" fmla="*/ 5696836 w 11269336"/>
              <a:gd name="connsiteY121" fmla="*/ 1945271 h 2323145"/>
              <a:gd name="connsiteX122" fmla="*/ 5696583 w 11269336"/>
              <a:gd name="connsiteY122" fmla="*/ 1945050 h 2323145"/>
              <a:gd name="connsiteX123" fmla="*/ 5689123 w 11269336"/>
              <a:gd name="connsiteY123" fmla="*/ 1947067 h 2323145"/>
              <a:gd name="connsiteX124" fmla="*/ 5653291 w 11269336"/>
              <a:gd name="connsiteY124" fmla="*/ 1960245 h 2323145"/>
              <a:gd name="connsiteX125" fmla="*/ 5599385 w 11269336"/>
              <a:gd name="connsiteY125" fmla="*/ 1945198 h 2323145"/>
              <a:gd name="connsiteX126" fmla="*/ 5578300 w 11269336"/>
              <a:gd name="connsiteY126" fmla="*/ 1944963 h 2323145"/>
              <a:gd name="connsiteX127" fmla="*/ 5566758 w 11269336"/>
              <a:gd name="connsiteY127" fmla="*/ 1943441 h 2323145"/>
              <a:gd name="connsiteX128" fmla="*/ 5565857 w 11269336"/>
              <a:gd name="connsiteY128" fmla="*/ 1942445 h 2323145"/>
              <a:gd name="connsiteX129" fmla="*/ 5531534 w 11269336"/>
              <a:gd name="connsiteY129" fmla="*/ 1955208 h 2323145"/>
              <a:gd name="connsiteX130" fmla="*/ 5526552 w 11269336"/>
              <a:gd name="connsiteY130" fmla="*/ 1954799 h 2323145"/>
              <a:gd name="connsiteX131" fmla="*/ 5504723 w 11269336"/>
              <a:gd name="connsiteY131" fmla="*/ 1965811 h 2323145"/>
              <a:gd name="connsiteX132" fmla="*/ 5493156 w 11269336"/>
              <a:gd name="connsiteY132" fmla="*/ 1970063 h 2323145"/>
              <a:gd name="connsiteX133" fmla="*/ 5490486 w 11269336"/>
              <a:gd name="connsiteY133" fmla="*/ 1974227 h 2323145"/>
              <a:gd name="connsiteX134" fmla="*/ 5473107 w 11269336"/>
              <a:gd name="connsiteY134" fmla="*/ 1979001 h 2323145"/>
              <a:gd name="connsiteX135" fmla="*/ 5470885 w 11269336"/>
              <a:gd name="connsiteY135" fmla="*/ 1978432 h 2323145"/>
              <a:gd name="connsiteX136" fmla="*/ 5457393 w 11269336"/>
              <a:gd name="connsiteY136" fmla="*/ 1986525 h 2323145"/>
              <a:gd name="connsiteX137" fmla="*/ 5447102 w 11269336"/>
              <a:gd name="connsiteY137" fmla="*/ 1998329 h 2323145"/>
              <a:gd name="connsiteX138" fmla="*/ 5159151 w 11269336"/>
              <a:gd name="connsiteY138" fmla="*/ 2029640 h 2323145"/>
              <a:gd name="connsiteX139" fmla="*/ 5041688 w 11269336"/>
              <a:gd name="connsiteY139" fmla="*/ 2022334 h 2323145"/>
              <a:gd name="connsiteX140" fmla="*/ 4860988 w 11269336"/>
              <a:gd name="connsiteY140" fmla="*/ 2135698 h 2323145"/>
              <a:gd name="connsiteX141" fmla="*/ 4807902 w 11269336"/>
              <a:gd name="connsiteY141" fmla="*/ 2138894 h 2323145"/>
              <a:gd name="connsiteX142" fmla="*/ 4765388 w 11269336"/>
              <a:gd name="connsiteY142" fmla="*/ 2162525 h 2323145"/>
              <a:gd name="connsiteX143" fmla="*/ 4745033 w 11269336"/>
              <a:gd name="connsiteY143" fmla="*/ 2158859 h 2323145"/>
              <a:gd name="connsiteX144" fmla="*/ 4741475 w 11269336"/>
              <a:gd name="connsiteY144" fmla="*/ 2157998 h 2323145"/>
              <a:gd name="connsiteX145" fmla="*/ 4728247 w 11269336"/>
              <a:gd name="connsiteY145" fmla="*/ 2159526 h 2323145"/>
              <a:gd name="connsiteX146" fmla="*/ 4723263 w 11269336"/>
              <a:gd name="connsiteY146" fmla="*/ 2153742 h 2323145"/>
              <a:gd name="connsiteX147" fmla="*/ 4702453 w 11269336"/>
              <a:gd name="connsiteY147" fmla="*/ 2151586 h 2323145"/>
              <a:gd name="connsiteX148" fmla="*/ 4678455 w 11269336"/>
              <a:gd name="connsiteY148" fmla="*/ 2156131 h 2323145"/>
              <a:gd name="connsiteX149" fmla="*/ 4593061 w 11269336"/>
              <a:gd name="connsiteY149" fmla="*/ 2171597 h 2323145"/>
              <a:gd name="connsiteX150" fmla="*/ 4579902 w 11269336"/>
              <a:gd name="connsiteY150" fmla="*/ 2177927 h 2323145"/>
              <a:gd name="connsiteX151" fmla="*/ 4533444 w 11269336"/>
              <a:gd name="connsiteY151" fmla="*/ 2181200 h 2323145"/>
              <a:gd name="connsiteX152" fmla="*/ 4492832 w 11269336"/>
              <a:gd name="connsiteY152" fmla="*/ 2188033 h 2323145"/>
              <a:gd name="connsiteX153" fmla="*/ 4467257 w 11269336"/>
              <a:gd name="connsiteY153" fmla="*/ 2196121 h 2323145"/>
              <a:gd name="connsiteX154" fmla="*/ 4459937 w 11269336"/>
              <a:gd name="connsiteY154" fmla="*/ 2195182 h 2323145"/>
              <a:gd name="connsiteX155" fmla="*/ 4433312 w 11269336"/>
              <a:gd name="connsiteY155" fmla="*/ 2199004 h 2323145"/>
              <a:gd name="connsiteX156" fmla="*/ 4420601 w 11269336"/>
              <a:gd name="connsiteY156" fmla="*/ 2205158 h 2323145"/>
              <a:gd name="connsiteX157" fmla="*/ 4405765 w 11269336"/>
              <a:gd name="connsiteY157" fmla="*/ 2199902 h 2323145"/>
              <a:gd name="connsiteX158" fmla="*/ 4401354 w 11269336"/>
              <a:gd name="connsiteY158" fmla="*/ 2194745 h 2323145"/>
              <a:gd name="connsiteX159" fmla="*/ 4383151 w 11269336"/>
              <a:gd name="connsiteY159" fmla="*/ 2201140 h 2323145"/>
              <a:gd name="connsiteX160" fmla="*/ 4366646 w 11269336"/>
              <a:gd name="connsiteY160" fmla="*/ 2198564 h 2323145"/>
              <a:gd name="connsiteX161" fmla="*/ 4354009 w 11269336"/>
              <a:gd name="connsiteY161" fmla="*/ 2204984 h 2323145"/>
              <a:gd name="connsiteX162" fmla="*/ 4348284 w 11269336"/>
              <a:gd name="connsiteY162" fmla="*/ 2205270 h 2323145"/>
              <a:gd name="connsiteX163" fmla="*/ 4333906 w 11269336"/>
              <a:gd name="connsiteY163" fmla="*/ 2205251 h 2323145"/>
              <a:gd name="connsiteX164" fmla="*/ 4308819 w 11269336"/>
              <a:gd name="connsiteY164" fmla="*/ 2203822 h 2323145"/>
              <a:gd name="connsiteX165" fmla="*/ 4301210 w 11269336"/>
              <a:gd name="connsiteY165" fmla="*/ 2204456 h 2323145"/>
              <a:gd name="connsiteX166" fmla="*/ 4283095 w 11269336"/>
              <a:gd name="connsiteY166" fmla="*/ 2198177 h 2323145"/>
              <a:gd name="connsiteX167" fmla="*/ 4250119 w 11269336"/>
              <a:gd name="connsiteY167" fmla="*/ 2196342 h 2323145"/>
              <a:gd name="connsiteX168" fmla="*/ 4189203 w 11269336"/>
              <a:gd name="connsiteY168" fmla="*/ 2178994 h 2323145"/>
              <a:gd name="connsiteX169" fmla="*/ 4154035 w 11269336"/>
              <a:gd name="connsiteY169" fmla="*/ 2171950 h 2323145"/>
              <a:gd name="connsiteX170" fmla="*/ 4129569 w 11269336"/>
              <a:gd name="connsiteY170" fmla="*/ 2163850 h 2323145"/>
              <a:gd name="connsiteX171" fmla="*/ 4061250 w 11269336"/>
              <a:gd name="connsiteY171" fmla="*/ 2159236 h 2323145"/>
              <a:gd name="connsiteX172" fmla="*/ 3945480 w 11269336"/>
              <a:gd name="connsiteY172" fmla="*/ 2158279 h 2323145"/>
              <a:gd name="connsiteX173" fmla="*/ 3921468 w 11269336"/>
              <a:gd name="connsiteY173" fmla="*/ 2156588 h 2323145"/>
              <a:gd name="connsiteX174" fmla="*/ 3903348 w 11269336"/>
              <a:gd name="connsiteY174" fmla="*/ 2149220 h 2323145"/>
              <a:gd name="connsiteX175" fmla="*/ 3901342 w 11269336"/>
              <a:gd name="connsiteY175" fmla="*/ 2142355 h 2323145"/>
              <a:gd name="connsiteX176" fmla="*/ 3888539 w 11269336"/>
              <a:gd name="connsiteY176" fmla="*/ 2140476 h 2323145"/>
              <a:gd name="connsiteX177" fmla="*/ 3885662 w 11269336"/>
              <a:gd name="connsiteY177" fmla="*/ 2138740 h 2323145"/>
              <a:gd name="connsiteX178" fmla="*/ 3868627 w 11269336"/>
              <a:gd name="connsiteY178" fmla="*/ 2130023 h 2323145"/>
              <a:gd name="connsiteX179" fmla="*/ 3819177 w 11269336"/>
              <a:gd name="connsiteY179" fmla="*/ 2142111 h 2323145"/>
              <a:gd name="connsiteX180" fmla="*/ 3769100 w 11269336"/>
              <a:gd name="connsiteY180" fmla="*/ 2131731 h 2323145"/>
              <a:gd name="connsiteX181" fmla="*/ 3562752 w 11269336"/>
              <a:gd name="connsiteY181" fmla="*/ 2131785 h 2323145"/>
              <a:gd name="connsiteX182" fmla="*/ 3541402 w 11269336"/>
              <a:gd name="connsiteY182" fmla="*/ 2106821 h 2323145"/>
              <a:gd name="connsiteX183" fmla="*/ 3365341 w 11269336"/>
              <a:gd name="connsiteY183" fmla="*/ 2077638 h 2323145"/>
              <a:gd name="connsiteX184" fmla="*/ 3170922 w 11269336"/>
              <a:gd name="connsiteY184" fmla="*/ 2115957 h 2323145"/>
              <a:gd name="connsiteX185" fmla="*/ 3156256 w 11269336"/>
              <a:gd name="connsiteY185" fmla="*/ 2124773 h 2323145"/>
              <a:gd name="connsiteX186" fmla="*/ 3140298 w 11269336"/>
              <a:gd name="connsiteY186" fmla="*/ 2129182 h 2323145"/>
              <a:gd name="connsiteX187" fmla="*/ 3138514 w 11269336"/>
              <a:gd name="connsiteY187" fmla="*/ 2128069 h 2323145"/>
              <a:gd name="connsiteX188" fmla="*/ 3120467 w 11269336"/>
              <a:gd name="connsiteY188" fmla="*/ 2128281 h 2323145"/>
              <a:gd name="connsiteX189" fmla="*/ 3116175 w 11269336"/>
              <a:gd name="connsiteY189" fmla="*/ 2131633 h 2323145"/>
              <a:gd name="connsiteX190" fmla="*/ 3103685 w 11269336"/>
              <a:gd name="connsiteY190" fmla="*/ 2132814 h 2323145"/>
              <a:gd name="connsiteX191" fmla="*/ 3078794 w 11269336"/>
              <a:gd name="connsiteY191" fmla="*/ 2137935 h 2323145"/>
              <a:gd name="connsiteX192" fmla="*/ 3074407 w 11269336"/>
              <a:gd name="connsiteY192" fmla="*/ 2136274 h 2323145"/>
              <a:gd name="connsiteX193" fmla="*/ 3037285 w 11269336"/>
              <a:gd name="connsiteY193" fmla="*/ 2139919 h 2323145"/>
              <a:gd name="connsiteX194" fmla="*/ 3036901 w 11269336"/>
              <a:gd name="connsiteY194" fmla="*/ 2138726 h 2323145"/>
              <a:gd name="connsiteX195" fmla="*/ 3026996 w 11269336"/>
              <a:gd name="connsiteY195" fmla="*/ 2134322 h 2323145"/>
              <a:gd name="connsiteX196" fmla="*/ 3007772 w 11269336"/>
              <a:gd name="connsiteY196" fmla="*/ 2128742 h 2323145"/>
              <a:gd name="connsiteX197" fmla="*/ 2965030 w 11269336"/>
              <a:gd name="connsiteY197" fmla="*/ 2100494 h 2323145"/>
              <a:gd name="connsiteX198" fmla="*/ 2926342 w 11269336"/>
              <a:gd name="connsiteY198" fmla="*/ 2104155 h 2323145"/>
              <a:gd name="connsiteX199" fmla="*/ 2918608 w 11269336"/>
              <a:gd name="connsiteY199" fmla="*/ 2104215 h 2323145"/>
              <a:gd name="connsiteX200" fmla="*/ 2918475 w 11269336"/>
              <a:gd name="connsiteY200" fmla="*/ 2103937 h 2323145"/>
              <a:gd name="connsiteX201" fmla="*/ 2910360 w 11269336"/>
              <a:gd name="connsiteY201" fmla="*/ 2103444 h 2323145"/>
              <a:gd name="connsiteX202" fmla="*/ 2904507 w 11269336"/>
              <a:gd name="connsiteY202" fmla="*/ 2104326 h 2323145"/>
              <a:gd name="connsiteX203" fmla="*/ 2889503 w 11269336"/>
              <a:gd name="connsiteY203" fmla="*/ 2104443 h 2323145"/>
              <a:gd name="connsiteX204" fmla="*/ 2884480 w 11269336"/>
              <a:gd name="connsiteY204" fmla="*/ 2102626 h 2323145"/>
              <a:gd name="connsiteX205" fmla="*/ 2882689 w 11269336"/>
              <a:gd name="connsiteY205" fmla="*/ 2099228 h 2323145"/>
              <a:gd name="connsiteX206" fmla="*/ 2881291 w 11269336"/>
              <a:gd name="connsiteY206" fmla="*/ 2099618 h 2323145"/>
              <a:gd name="connsiteX207" fmla="*/ 2853979 w 11269336"/>
              <a:gd name="connsiteY207" fmla="*/ 2090388 h 2323145"/>
              <a:gd name="connsiteX208" fmla="*/ 2791790 w 11269336"/>
              <a:gd name="connsiteY208" fmla="*/ 2080332 h 2323145"/>
              <a:gd name="connsiteX209" fmla="*/ 2755844 w 11269336"/>
              <a:gd name="connsiteY209" fmla="*/ 2078874 h 2323145"/>
              <a:gd name="connsiteX210" fmla="*/ 2657742 w 11269336"/>
              <a:gd name="connsiteY210" fmla="*/ 2070179 h 2323145"/>
              <a:gd name="connsiteX211" fmla="*/ 2559549 w 11269336"/>
              <a:gd name="connsiteY211" fmla="*/ 2057873 h 2323145"/>
              <a:gd name="connsiteX212" fmla="*/ 2512054 w 11269336"/>
              <a:gd name="connsiteY212" fmla="*/ 2031671 h 2323145"/>
              <a:gd name="connsiteX213" fmla="*/ 2506437 w 11269336"/>
              <a:gd name="connsiteY213" fmla="*/ 2030918 h 2323145"/>
              <a:gd name="connsiteX214" fmla="*/ 2491752 w 11269336"/>
              <a:gd name="connsiteY214" fmla="*/ 2033906 h 2323145"/>
              <a:gd name="connsiteX215" fmla="*/ 2486338 w 11269336"/>
              <a:gd name="connsiteY215" fmla="*/ 2035862 h 2323145"/>
              <a:gd name="connsiteX216" fmla="*/ 2478186 w 11269336"/>
              <a:gd name="connsiteY216" fmla="*/ 2036953 h 2323145"/>
              <a:gd name="connsiteX217" fmla="*/ 2477950 w 11269336"/>
              <a:gd name="connsiteY217" fmla="*/ 2036715 h 2323145"/>
              <a:gd name="connsiteX218" fmla="*/ 2470381 w 11269336"/>
              <a:gd name="connsiteY218" fmla="*/ 2038256 h 2323145"/>
              <a:gd name="connsiteX219" fmla="*/ 2433781 w 11269336"/>
              <a:gd name="connsiteY219" fmla="*/ 2049140 h 2323145"/>
              <a:gd name="connsiteX220" fmla="*/ 2381172 w 11269336"/>
              <a:gd name="connsiteY220" fmla="*/ 2030645 h 2323145"/>
              <a:gd name="connsiteX221" fmla="*/ 2360198 w 11269336"/>
              <a:gd name="connsiteY221" fmla="*/ 2029059 h 2323145"/>
              <a:gd name="connsiteX222" fmla="*/ 2348815 w 11269336"/>
              <a:gd name="connsiteY222" fmla="*/ 2026798 h 2323145"/>
              <a:gd name="connsiteX223" fmla="*/ 2347988 w 11269336"/>
              <a:gd name="connsiteY223" fmla="*/ 2025745 h 2323145"/>
              <a:gd name="connsiteX224" fmla="*/ 2312920 w 11269336"/>
              <a:gd name="connsiteY224" fmla="*/ 2036311 h 2323145"/>
              <a:gd name="connsiteX225" fmla="*/ 2307986 w 11269336"/>
              <a:gd name="connsiteY225" fmla="*/ 2035583 h 2323145"/>
              <a:gd name="connsiteX226" fmla="*/ 2285481 w 11269336"/>
              <a:gd name="connsiteY226" fmla="*/ 2045197 h 2323145"/>
              <a:gd name="connsiteX227" fmla="*/ 2273666 w 11269336"/>
              <a:gd name="connsiteY227" fmla="*/ 2048710 h 2323145"/>
              <a:gd name="connsiteX228" fmla="*/ 2270719 w 11269336"/>
              <a:gd name="connsiteY228" fmla="*/ 2052702 h 2323145"/>
              <a:gd name="connsiteX229" fmla="*/ 2253080 w 11269336"/>
              <a:gd name="connsiteY229" fmla="*/ 2056363 h 2323145"/>
              <a:gd name="connsiteX230" fmla="*/ 2250906 w 11269336"/>
              <a:gd name="connsiteY230" fmla="*/ 2055654 h 2323145"/>
              <a:gd name="connsiteX231" fmla="*/ 2236905 w 11269336"/>
              <a:gd name="connsiteY231" fmla="*/ 2062882 h 2323145"/>
              <a:gd name="connsiteX232" fmla="*/ 2225830 w 11269336"/>
              <a:gd name="connsiteY232" fmla="*/ 2074027 h 2323145"/>
              <a:gd name="connsiteX233" fmla="*/ 2073776 w 11269336"/>
              <a:gd name="connsiteY233" fmla="*/ 2089244 h 2323145"/>
              <a:gd name="connsiteX234" fmla="*/ 1948256 w 11269336"/>
              <a:gd name="connsiteY234" fmla="*/ 2146616 h 2323145"/>
              <a:gd name="connsiteX235" fmla="*/ 1865582 w 11269336"/>
              <a:gd name="connsiteY235" fmla="*/ 2153738 h 2323145"/>
              <a:gd name="connsiteX236" fmla="*/ 1835210 w 11269336"/>
              <a:gd name="connsiteY236" fmla="*/ 2134244 h 2323145"/>
              <a:gd name="connsiteX237" fmla="*/ 1632661 w 11269336"/>
              <a:gd name="connsiteY237" fmla="*/ 2173882 h 2323145"/>
              <a:gd name="connsiteX238" fmla="*/ 1579590 w 11269336"/>
              <a:gd name="connsiteY238" fmla="*/ 2173680 h 2323145"/>
              <a:gd name="connsiteX239" fmla="*/ 1535601 w 11269336"/>
              <a:gd name="connsiteY239" fmla="*/ 2194590 h 2323145"/>
              <a:gd name="connsiteX240" fmla="*/ 1515594 w 11269336"/>
              <a:gd name="connsiteY240" fmla="*/ 2189622 h 2323145"/>
              <a:gd name="connsiteX241" fmla="*/ 1512113 w 11269336"/>
              <a:gd name="connsiteY241" fmla="*/ 2188534 h 2323145"/>
              <a:gd name="connsiteX242" fmla="*/ 1498838 w 11269336"/>
              <a:gd name="connsiteY242" fmla="*/ 2189213 h 2323145"/>
              <a:gd name="connsiteX243" fmla="*/ 1494279 w 11269336"/>
              <a:gd name="connsiteY243" fmla="*/ 2183112 h 2323145"/>
              <a:gd name="connsiteX244" fmla="*/ 1473714 w 11269336"/>
              <a:gd name="connsiteY244" fmla="*/ 2179625 h 2323145"/>
              <a:gd name="connsiteX245" fmla="*/ 1449503 w 11269336"/>
              <a:gd name="connsiteY245" fmla="*/ 2182633 h 2323145"/>
              <a:gd name="connsiteX246" fmla="*/ 1266687 w 11269336"/>
              <a:gd name="connsiteY246" fmla="*/ 2212688 h 2323145"/>
              <a:gd name="connsiteX247" fmla="*/ 1239614 w 11269336"/>
              <a:gd name="connsiteY247" fmla="*/ 2209727 h 2323145"/>
              <a:gd name="connsiteX248" fmla="*/ 1202436 w 11269336"/>
              <a:gd name="connsiteY248" fmla="*/ 2209817 h 2323145"/>
              <a:gd name="connsiteX249" fmla="*/ 1136097 w 11269336"/>
              <a:gd name="connsiteY249" fmla="*/ 2205112 h 2323145"/>
              <a:gd name="connsiteX250" fmla="*/ 988232 w 11269336"/>
              <a:gd name="connsiteY250" fmla="*/ 2235635 h 2323145"/>
              <a:gd name="connsiteX251" fmla="*/ 981959 w 11269336"/>
              <a:gd name="connsiteY251" fmla="*/ 2231607 h 2323145"/>
              <a:gd name="connsiteX252" fmla="*/ 938600 w 11269336"/>
              <a:gd name="connsiteY252" fmla="*/ 2238113 h 2323145"/>
              <a:gd name="connsiteX253" fmla="*/ 791788 w 11269336"/>
              <a:gd name="connsiteY253" fmla="*/ 2293224 h 2323145"/>
              <a:gd name="connsiteX254" fmla="*/ 706914 w 11269336"/>
              <a:gd name="connsiteY254" fmla="*/ 2305046 h 2323145"/>
              <a:gd name="connsiteX255" fmla="*/ 675971 w 11269336"/>
              <a:gd name="connsiteY255" fmla="*/ 2304030 h 2323145"/>
              <a:gd name="connsiteX256" fmla="*/ 624180 w 11269336"/>
              <a:gd name="connsiteY256" fmla="*/ 2302650 h 2323145"/>
              <a:gd name="connsiteX257" fmla="*/ 583453 w 11269336"/>
              <a:gd name="connsiteY257" fmla="*/ 2288788 h 2323145"/>
              <a:gd name="connsiteX258" fmla="*/ 540946 w 11269336"/>
              <a:gd name="connsiteY258" fmla="*/ 2292721 h 2323145"/>
              <a:gd name="connsiteX259" fmla="*/ 533680 w 11269336"/>
              <a:gd name="connsiteY259" fmla="*/ 2310233 h 2323145"/>
              <a:gd name="connsiteX260" fmla="*/ 487366 w 11269336"/>
              <a:gd name="connsiteY260" fmla="*/ 2309053 h 2323145"/>
              <a:gd name="connsiteX261" fmla="*/ 416820 w 11269336"/>
              <a:gd name="connsiteY261" fmla="*/ 2305443 h 2323145"/>
              <a:gd name="connsiteX262" fmla="*/ 376805 w 11269336"/>
              <a:gd name="connsiteY262" fmla="*/ 2307647 h 2323145"/>
              <a:gd name="connsiteX263" fmla="*/ 266777 w 11269336"/>
              <a:gd name="connsiteY263" fmla="*/ 2309012 h 2323145"/>
              <a:gd name="connsiteX264" fmla="*/ 156013 w 11269336"/>
              <a:gd name="connsiteY264" fmla="*/ 2306832 h 2323145"/>
              <a:gd name="connsiteX265" fmla="*/ 87258 w 11269336"/>
              <a:gd name="connsiteY265" fmla="*/ 2285511 h 2323145"/>
              <a:gd name="connsiteX266" fmla="*/ 23798 w 11269336"/>
              <a:gd name="connsiteY266" fmla="*/ 2281822 h 2323145"/>
              <a:gd name="connsiteX267" fmla="*/ 0 w 11269336"/>
              <a:gd name="connsiteY267" fmla="*/ 2285369 h 2323145"/>
              <a:gd name="connsiteX268" fmla="*/ 0 w 11269336"/>
              <a:gd name="connsiteY268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795998 w 11269336"/>
              <a:gd name="connsiteY32" fmla="*/ 863337 h 2323145"/>
              <a:gd name="connsiteX33" fmla="*/ 8776970 w 11269336"/>
              <a:gd name="connsiteY33" fmla="*/ 885177 h 2323145"/>
              <a:gd name="connsiteX34" fmla="*/ 8755719 w 11269336"/>
              <a:gd name="connsiteY34" fmla="*/ 889754 h 2323145"/>
              <a:gd name="connsiteX35" fmla="*/ 8743257 w 11269336"/>
              <a:gd name="connsiteY35" fmla="*/ 904723 h 2323145"/>
              <a:gd name="connsiteX36" fmla="*/ 8721366 w 11269336"/>
              <a:gd name="connsiteY36" fmla="*/ 904711 h 2323145"/>
              <a:gd name="connsiteX37" fmla="*/ 8678353 w 11269336"/>
              <a:gd name="connsiteY37" fmla="*/ 926318 h 2323145"/>
              <a:gd name="connsiteX38" fmla="*/ 8636849 w 11269336"/>
              <a:gd name="connsiteY38" fmla="*/ 937900 h 2323145"/>
              <a:gd name="connsiteX39" fmla="*/ 8620213 w 11269336"/>
              <a:gd name="connsiteY39" fmla="*/ 943068 h 2323145"/>
              <a:gd name="connsiteX40" fmla="*/ 8612581 w 11269336"/>
              <a:gd name="connsiteY40" fmla="*/ 952695 h 2323145"/>
              <a:gd name="connsiteX41" fmla="*/ 8589038 w 11269336"/>
              <a:gd name="connsiteY41" fmla="*/ 963892 h 2323145"/>
              <a:gd name="connsiteX42" fmla="*/ 8579950 w 11269336"/>
              <a:gd name="connsiteY42" fmla="*/ 960899 h 2323145"/>
              <a:gd name="connsiteX43" fmla="*/ 8579319 w 11269336"/>
              <a:gd name="connsiteY43" fmla="*/ 965630 h 2323145"/>
              <a:gd name="connsiteX44" fmla="*/ 8547429 w 11269336"/>
              <a:gd name="connsiteY44" fmla="*/ 984506 h 2323145"/>
              <a:gd name="connsiteX45" fmla="*/ 8478704 w 11269336"/>
              <a:gd name="connsiteY45" fmla="*/ 1025490 h 2323145"/>
              <a:gd name="connsiteX46" fmla="*/ 8461421 w 11269336"/>
              <a:gd name="connsiteY46" fmla="*/ 1035512 h 2323145"/>
              <a:gd name="connsiteX47" fmla="*/ 8445003 w 11269336"/>
              <a:gd name="connsiteY47" fmla="*/ 1036851 h 2323145"/>
              <a:gd name="connsiteX48" fmla="*/ 8357350 w 11269336"/>
              <a:gd name="connsiteY48" fmla="*/ 1060213 h 2323145"/>
              <a:gd name="connsiteX49" fmla="*/ 8335565 w 11269336"/>
              <a:gd name="connsiteY49" fmla="*/ 1061151 h 2323145"/>
              <a:gd name="connsiteX50" fmla="*/ 8325267 w 11269336"/>
              <a:gd name="connsiteY50" fmla="*/ 1055919 h 2323145"/>
              <a:gd name="connsiteX51" fmla="*/ 8293586 w 11269336"/>
              <a:gd name="connsiteY51" fmla="*/ 1076144 h 2323145"/>
              <a:gd name="connsiteX52" fmla="*/ 8242405 w 11269336"/>
              <a:gd name="connsiteY52" fmla="*/ 1095960 h 2323145"/>
              <a:gd name="connsiteX53" fmla="*/ 8197391 w 11269336"/>
              <a:gd name="connsiteY53" fmla="*/ 1107746 h 2323145"/>
              <a:gd name="connsiteX54" fmla="*/ 8081474 w 11269336"/>
              <a:gd name="connsiteY54" fmla="*/ 1130125 h 2323145"/>
              <a:gd name="connsiteX55" fmla="*/ 8053585 w 11269336"/>
              <a:gd name="connsiteY55" fmla="*/ 1129169 h 2323145"/>
              <a:gd name="connsiteX56" fmla="*/ 8038422 w 11269336"/>
              <a:gd name="connsiteY56" fmla="*/ 1119092 h 2323145"/>
              <a:gd name="connsiteX57" fmla="*/ 8029450 w 11269336"/>
              <a:gd name="connsiteY57" fmla="*/ 1125592 h 2323145"/>
              <a:gd name="connsiteX58" fmla="*/ 7959552 w 11269336"/>
              <a:gd name="connsiteY58" fmla="*/ 1140188 h 2323145"/>
              <a:gd name="connsiteX59" fmla="*/ 7914188 w 11269336"/>
              <a:gd name="connsiteY59" fmla="*/ 1150862 h 2323145"/>
              <a:gd name="connsiteX60" fmla="*/ 7914918 w 11269336"/>
              <a:gd name="connsiteY60" fmla="*/ 1168758 h 2323145"/>
              <a:gd name="connsiteX61" fmla="*/ 7875510 w 11269336"/>
              <a:gd name="connsiteY61" fmla="*/ 1183153 h 2323145"/>
              <a:gd name="connsiteX62" fmla="*/ 7829932 w 11269336"/>
              <a:gd name="connsiteY62" fmla="*/ 1180782 h 2323145"/>
              <a:gd name="connsiteX63" fmla="*/ 7779182 w 11269336"/>
              <a:gd name="connsiteY63" fmla="*/ 1192665 h 2323145"/>
              <a:gd name="connsiteX64" fmla="*/ 7748774 w 11269336"/>
              <a:gd name="connsiteY64" fmla="*/ 1199586 h 2323145"/>
              <a:gd name="connsiteX65" fmla="*/ 7671846 w 11269336"/>
              <a:gd name="connsiteY65" fmla="*/ 1231966 h 2323145"/>
              <a:gd name="connsiteX66" fmla="*/ 7554146 w 11269336"/>
              <a:gd name="connsiteY66" fmla="*/ 1319748 h 2323145"/>
              <a:gd name="connsiteX67" fmla="*/ 7515052 w 11269336"/>
              <a:gd name="connsiteY67" fmla="*/ 1336718 h 2323145"/>
              <a:gd name="connsiteX68" fmla="*/ 7507193 w 11269336"/>
              <a:gd name="connsiteY68" fmla="*/ 1334617 h 2323145"/>
              <a:gd name="connsiteX69" fmla="*/ 7461694 w 11269336"/>
              <a:gd name="connsiteY69" fmla="*/ 1375866 h 2323145"/>
              <a:gd name="connsiteX70" fmla="*/ 7377571 w 11269336"/>
              <a:gd name="connsiteY70" fmla="*/ 1400128 h 2323145"/>
              <a:gd name="connsiteX71" fmla="*/ 7311261 w 11269336"/>
              <a:gd name="connsiteY71" fmla="*/ 1412652 h 2323145"/>
              <a:gd name="connsiteX72" fmla="*/ 7275307 w 11269336"/>
              <a:gd name="connsiteY72" fmla="*/ 1422171 h 2323145"/>
              <a:gd name="connsiteX73" fmla="*/ 7247783 w 11269336"/>
              <a:gd name="connsiteY73" fmla="*/ 1426330 h 2323145"/>
              <a:gd name="connsiteX74" fmla="*/ 7185047 w 11269336"/>
              <a:gd name="connsiteY74" fmla="*/ 1451812 h 2323145"/>
              <a:gd name="connsiteX75" fmla="*/ 7084117 w 11269336"/>
              <a:gd name="connsiteY75" fmla="*/ 1500281 h 2323145"/>
              <a:gd name="connsiteX76" fmla="*/ 7062011 w 11269336"/>
              <a:gd name="connsiteY76" fmla="*/ 1509183 h 2323145"/>
              <a:gd name="connsiteX77" fmla="*/ 7040555 w 11269336"/>
              <a:gd name="connsiteY77" fmla="*/ 1511207 h 2323145"/>
              <a:gd name="connsiteX78" fmla="*/ 7033438 w 11269336"/>
              <a:gd name="connsiteY78" fmla="*/ 1506772 h 2323145"/>
              <a:gd name="connsiteX79" fmla="*/ 7020886 w 11269336"/>
              <a:gd name="connsiteY79" fmla="*/ 1510764 h 2323145"/>
              <a:gd name="connsiteX80" fmla="*/ 7017033 w 11269336"/>
              <a:gd name="connsiteY80" fmla="*/ 1510650 h 2323145"/>
              <a:gd name="connsiteX81" fmla="*/ 6995460 w 11269336"/>
              <a:gd name="connsiteY81" fmla="*/ 1511173 h 2323145"/>
              <a:gd name="connsiteX82" fmla="*/ 6962144 w 11269336"/>
              <a:gd name="connsiteY82" fmla="*/ 1541508 h 2323145"/>
              <a:gd name="connsiteX83" fmla="*/ 6910674 w 11269336"/>
              <a:gd name="connsiteY83" fmla="*/ 1554793 h 2323145"/>
              <a:gd name="connsiteX84" fmla="*/ 6732152 w 11269336"/>
              <a:gd name="connsiteY84" fmla="*/ 1642538 h 2323145"/>
              <a:gd name="connsiteX85" fmla="*/ 6694106 w 11269336"/>
              <a:gd name="connsiteY85" fmla="*/ 1632377 h 2323145"/>
              <a:gd name="connsiteX86" fmla="*/ 6617223 w 11269336"/>
              <a:gd name="connsiteY86" fmla="*/ 1659889 h 2323145"/>
              <a:gd name="connsiteX87" fmla="*/ 6521138 w 11269336"/>
              <a:gd name="connsiteY87" fmla="*/ 1744340 h 2323145"/>
              <a:gd name="connsiteX88" fmla="*/ 6380677 w 11269336"/>
              <a:gd name="connsiteY88" fmla="*/ 1796883 h 2323145"/>
              <a:gd name="connsiteX89" fmla="*/ 6374897 w 11269336"/>
              <a:gd name="connsiteY89" fmla="*/ 1809910 h 2323145"/>
              <a:gd name="connsiteX90" fmla="*/ 6364545 w 11269336"/>
              <a:gd name="connsiteY90" fmla="*/ 1820090 h 2323145"/>
              <a:gd name="connsiteX91" fmla="*/ 6362126 w 11269336"/>
              <a:gd name="connsiteY91" fmla="*/ 1819991 h 2323145"/>
              <a:gd name="connsiteX92" fmla="*/ 6346673 w 11269336"/>
              <a:gd name="connsiteY92" fmla="*/ 1827824 h 2323145"/>
              <a:gd name="connsiteX93" fmla="*/ 6345588 w 11269336"/>
              <a:gd name="connsiteY93" fmla="*/ 1832232 h 2323145"/>
              <a:gd name="connsiteX94" fmla="*/ 6335708 w 11269336"/>
              <a:gd name="connsiteY94" fmla="*/ 1838451 h 2323145"/>
              <a:gd name="connsiteX95" fmla="*/ 6318182 w 11269336"/>
              <a:gd name="connsiteY95" fmla="*/ 1852975 h 2323145"/>
              <a:gd name="connsiteX96" fmla="*/ 6313084 w 11269336"/>
              <a:gd name="connsiteY96" fmla="*/ 1853561 h 2323145"/>
              <a:gd name="connsiteX97" fmla="*/ 6283816 w 11269336"/>
              <a:gd name="connsiteY97" fmla="*/ 1872148 h 2323145"/>
              <a:gd name="connsiteX98" fmla="*/ 6282550 w 11269336"/>
              <a:gd name="connsiteY98" fmla="*/ 1871392 h 2323145"/>
              <a:gd name="connsiteX99" fmla="*/ 6270527 w 11269336"/>
              <a:gd name="connsiteY99" fmla="*/ 1872208 h 2323145"/>
              <a:gd name="connsiteX100" fmla="*/ 6249518 w 11269336"/>
              <a:gd name="connsiteY100" fmla="*/ 1876079 h 2323145"/>
              <a:gd name="connsiteX101" fmla="*/ 6190386 w 11269336"/>
              <a:gd name="connsiteY101" fmla="*/ 1872478 h 2323145"/>
              <a:gd name="connsiteX102" fmla="*/ 6159777 w 11269336"/>
              <a:gd name="connsiteY102" fmla="*/ 1891745 h 2323145"/>
              <a:gd name="connsiteX103" fmla="*/ 6153131 w 11269336"/>
              <a:gd name="connsiteY103" fmla="*/ 1895079 h 2323145"/>
              <a:gd name="connsiteX104" fmla="*/ 6152798 w 11269336"/>
              <a:gd name="connsiteY104" fmla="*/ 1894920 h 2323145"/>
              <a:gd name="connsiteX105" fmla="*/ 6145388 w 11269336"/>
              <a:gd name="connsiteY105" fmla="*/ 1897990 h 2323145"/>
              <a:gd name="connsiteX106" fmla="*/ 6141014 w 11269336"/>
              <a:gd name="connsiteY106" fmla="*/ 1901155 h 2323145"/>
              <a:gd name="connsiteX107" fmla="*/ 6128122 w 11269336"/>
              <a:gd name="connsiteY107" fmla="*/ 1907623 h 2323145"/>
              <a:gd name="connsiteX108" fmla="*/ 6122351 w 11269336"/>
              <a:gd name="connsiteY108" fmla="*/ 1908359 h 2323145"/>
              <a:gd name="connsiteX109" fmla="*/ 6064750 w 11269336"/>
              <a:gd name="connsiteY109" fmla="*/ 1896394 h 2323145"/>
              <a:gd name="connsiteX110" fmla="*/ 5964230 w 11269336"/>
              <a:gd name="connsiteY110" fmla="*/ 1910038 h 2323145"/>
              <a:gd name="connsiteX111" fmla="*/ 5865399 w 11269336"/>
              <a:gd name="connsiteY111" fmla="*/ 1926966 h 2323145"/>
              <a:gd name="connsiteX112" fmla="*/ 5829951 w 11269336"/>
              <a:gd name="connsiteY112" fmla="*/ 1934755 h 2323145"/>
              <a:gd name="connsiteX113" fmla="*/ 5765285 w 11269336"/>
              <a:gd name="connsiteY113" fmla="*/ 1941322 h 2323145"/>
              <a:gd name="connsiteX114" fmla="*/ 5734750 w 11269336"/>
              <a:gd name="connsiteY114" fmla="*/ 1939793 h 2323145"/>
              <a:gd name="connsiteX115" fmla="*/ 5733569 w 11269336"/>
              <a:gd name="connsiteY115" fmla="*/ 1940505 h 2323145"/>
              <a:gd name="connsiteX116" fmla="*/ 5730329 w 11269336"/>
              <a:gd name="connsiteY116" fmla="*/ 1937845 h 2323145"/>
              <a:gd name="connsiteX117" fmla="*/ 5724661 w 11269336"/>
              <a:gd name="connsiteY117" fmla="*/ 1937455 h 2323145"/>
              <a:gd name="connsiteX118" fmla="*/ 5710186 w 11269336"/>
              <a:gd name="connsiteY118" fmla="*/ 1941370 h 2323145"/>
              <a:gd name="connsiteX119" fmla="*/ 5704910 w 11269336"/>
              <a:gd name="connsiteY119" fmla="*/ 1943663 h 2323145"/>
              <a:gd name="connsiteX120" fmla="*/ 5696836 w 11269336"/>
              <a:gd name="connsiteY120" fmla="*/ 1945271 h 2323145"/>
              <a:gd name="connsiteX121" fmla="*/ 5696583 w 11269336"/>
              <a:gd name="connsiteY121" fmla="*/ 1945050 h 2323145"/>
              <a:gd name="connsiteX122" fmla="*/ 5689123 w 11269336"/>
              <a:gd name="connsiteY122" fmla="*/ 1947067 h 2323145"/>
              <a:gd name="connsiteX123" fmla="*/ 5653291 w 11269336"/>
              <a:gd name="connsiteY123" fmla="*/ 1960245 h 2323145"/>
              <a:gd name="connsiteX124" fmla="*/ 5599385 w 11269336"/>
              <a:gd name="connsiteY124" fmla="*/ 1945198 h 2323145"/>
              <a:gd name="connsiteX125" fmla="*/ 5578300 w 11269336"/>
              <a:gd name="connsiteY125" fmla="*/ 1944963 h 2323145"/>
              <a:gd name="connsiteX126" fmla="*/ 5566758 w 11269336"/>
              <a:gd name="connsiteY126" fmla="*/ 1943441 h 2323145"/>
              <a:gd name="connsiteX127" fmla="*/ 5565857 w 11269336"/>
              <a:gd name="connsiteY127" fmla="*/ 1942445 h 2323145"/>
              <a:gd name="connsiteX128" fmla="*/ 5531534 w 11269336"/>
              <a:gd name="connsiteY128" fmla="*/ 1955208 h 2323145"/>
              <a:gd name="connsiteX129" fmla="*/ 5526552 w 11269336"/>
              <a:gd name="connsiteY129" fmla="*/ 1954799 h 2323145"/>
              <a:gd name="connsiteX130" fmla="*/ 5504723 w 11269336"/>
              <a:gd name="connsiteY130" fmla="*/ 1965811 h 2323145"/>
              <a:gd name="connsiteX131" fmla="*/ 5493156 w 11269336"/>
              <a:gd name="connsiteY131" fmla="*/ 1970063 h 2323145"/>
              <a:gd name="connsiteX132" fmla="*/ 5490486 w 11269336"/>
              <a:gd name="connsiteY132" fmla="*/ 1974227 h 2323145"/>
              <a:gd name="connsiteX133" fmla="*/ 5473107 w 11269336"/>
              <a:gd name="connsiteY133" fmla="*/ 1979001 h 2323145"/>
              <a:gd name="connsiteX134" fmla="*/ 5470885 w 11269336"/>
              <a:gd name="connsiteY134" fmla="*/ 1978432 h 2323145"/>
              <a:gd name="connsiteX135" fmla="*/ 5457393 w 11269336"/>
              <a:gd name="connsiteY135" fmla="*/ 1986525 h 2323145"/>
              <a:gd name="connsiteX136" fmla="*/ 5447102 w 11269336"/>
              <a:gd name="connsiteY136" fmla="*/ 1998329 h 2323145"/>
              <a:gd name="connsiteX137" fmla="*/ 5159151 w 11269336"/>
              <a:gd name="connsiteY137" fmla="*/ 2029640 h 2323145"/>
              <a:gd name="connsiteX138" fmla="*/ 5041688 w 11269336"/>
              <a:gd name="connsiteY138" fmla="*/ 2022334 h 2323145"/>
              <a:gd name="connsiteX139" fmla="*/ 4860988 w 11269336"/>
              <a:gd name="connsiteY139" fmla="*/ 2135698 h 2323145"/>
              <a:gd name="connsiteX140" fmla="*/ 4807902 w 11269336"/>
              <a:gd name="connsiteY140" fmla="*/ 2138894 h 2323145"/>
              <a:gd name="connsiteX141" fmla="*/ 4765388 w 11269336"/>
              <a:gd name="connsiteY141" fmla="*/ 2162525 h 2323145"/>
              <a:gd name="connsiteX142" fmla="*/ 4745033 w 11269336"/>
              <a:gd name="connsiteY142" fmla="*/ 2158859 h 2323145"/>
              <a:gd name="connsiteX143" fmla="*/ 4741475 w 11269336"/>
              <a:gd name="connsiteY143" fmla="*/ 2157998 h 2323145"/>
              <a:gd name="connsiteX144" fmla="*/ 4728247 w 11269336"/>
              <a:gd name="connsiteY144" fmla="*/ 2159526 h 2323145"/>
              <a:gd name="connsiteX145" fmla="*/ 4723263 w 11269336"/>
              <a:gd name="connsiteY145" fmla="*/ 2153742 h 2323145"/>
              <a:gd name="connsiteX146" fmla="*/ 4702453 w 11269336"/>
              <a:gd name="connsiteY146" fmla="*/ 2151586 h 2323145"/>
              <a:gd name="connsiteX147" fmla="*/ 4678455 w 11269336"/>
              <a:gd name="connsiteY147" fmla="*/ 2156131 h 2323145"/>
              <a:gd name="connsiteX148" fmla="*/ 4593061 w 11269336"/>
              <a:gd name="connsiteY148" fmla="*/ 2171597 h 2323145"/>
              <a:gd name="connsiteX149" fmla="*/ 4579902 w 11269336"/>
              <a:gd name="connsiteY149" fmla="*/ 2177927 h 2323145"/>
              <a:gd name="connsiteX150" fmla="*/ 4533444 w 11269336"/>
              <a:gd name="connsiteY150" fmla="*/ 2181200 h 2323145"/>
              <a:gd name="connsiteX151" fmla="*/ 4492832 w 11269336"/>
              <a:gd name="connsiteY151" fmla="*/ 2188033 h 2323145"/>
              <a:gd name="connsiteX152" fmla="*/ 4467257 w 11269336"/>
              <a:gd name="connsiteY152" fmla="*/ 2196121 h 2323145"/>
              <a:gd name="connsiteX153" fmla="*/ 4459937 w 11269336"/>
              <a:gd name="connsiteY153" fmla="*/ 2195182 h 2323145"/>
              <a:gd name="connsiteX154" fmla="*/ 4433312 w 11269336"/>
              <a:gd name="connsiteY154" fmla="*/ 2199004 h 2323145"/>
              <a:gd name="connsiteX155" fmla="*/ 4420601 w 11269336"/>
              <a:gd name="connsiteY155" fmla="*/ 2205158 h 2323145"/>
              <a:gd name="connsiteX156" fmla="*/ 4405765 w 11269336"/>
              <a:gd name="connsiteY156" fmla="*/ 2199902 h 2323145"/>
              <a:gd name="connsiteX157" fmla="*/ 4401354 w 11269336"/>
              <a:gd name="connsiteY157" fmla="*/ 2194745 h 2323145"/>
              <a:gd name="connsiteX158" fmla="*/ 4383151 w 11269336"/>
              <a:gd name="connsiteY158" fmla="*/ 2201140 h 2323145"/>
              <a:gd name="connsiteX159" fmla="*/ 4366646 w 11269336"/>
              <a:gd name="connsiteY159" fmla="*/ 2198564 h 2323145"/>
              <a:gd name="connsiteX160" fmla="*/ 4354009 w 11269336"/>
              <a:gd name="connsiteY160" fmla="*/ 2204984 h 2323145"/>
              <a:gd name="connsiteX161" fmla="*/ 4348284 w 11269336"/>
              <a:gd name="connsiteY161" fmla="*/ 2205270 h 2323145"/>
              <a:gd name="connsiteX162" fmla="*/ 4333906 w 11269336"/>
              <a:gd name="connsiteY162" fmla="*/ 2205251 h 2323145"/>
              <a:gd name="connsiteX163" fmla="*/ 4308819 w 11269336"/>
              <a:gd name="connsiteY163" fmla="*/ 2203822 h 2323145"/>
              <a:gd name="connsiteX164" fmla="*/ 4301210 w 11269336"/>
              <a:gd name="connsiteY164" fmla="*/ 2204456 h 2323145"/>
              <a:gd name="connsiteX165" fmla="*/ 4283095 w 11269336"/>
              <a:gd name="connsiteY165" fmla="*/ 2198177 h 2323145"/>
              <a:gd name="connsiteX166" fmla="*/ 4250119 w 11269336"/>
              <a:gd name="connsiteY166" fmla="*/ 2196342 h 2323145"/>
              <a:gd name="connsiteX167" fmla="*/ 4189203 w 11269336"/>
              <a:gd name="connsiteY167" fmla="*/ 2178994 h 2323145"/>
              <a:gd name="connsiteX168" fmla="*/ 4154035 w 11269336"/>
              <a:gd name="connsiteY168" fmla="*/ 2171950 h 2323145"/>
              <a:gd name="connsiteX169" fmla="*/ 4129569 w 11269336"/>
              <a:gd name="connsiteY169" fmla="*/ 2163850 h 2323145"/>
              <a:gd name="connsiteX170" fmla="*/ 4061250 w 11269336"/>
              <a:gd name="connsiteY170" fmla="*/ 2159236 h 2323145"/>
              <a:gd name="connsiteX171" fmla="*/ 3945480 w 11269336"/>
              <a:gd name="connsiteY171" fmla="*/ 2158279 h 2323145"/>
              <a:gd name="connsiteX172" fmla="*/ 3921468 w 11269336"/>
              <a:gd name="connsiteY172" fmla="*/ 2156588 h 2323145"/>
              <a:gd name="connsiteX173" fmla="*/ 3903348 w 11269336"/>
              <a:gd name="connsiteY173" fmla="*/ 2149220 h 2323145"/>
              <a:gd name="connsiteX174" fmla="*/ 3901342 w 11269336"/>
              <a:gd name="connsiteY174" fmla="*/ 2142355 h 2323145"/>
              <a:gd name="connsiteX175" fmla="*/ 3888539 w 11269336"/>
              <a:gd name="connsiteY175" fmla="*/ 2140476 h 2323145"/>
              <a:gd name="connsiteX176" fmla="*/ 3885662 w 11269336"/>
              <a:gd name="connsiteY176" fmla="*/ 2138740 h 2323145"/>
              <a:gd name="connsiteX177" fmla="*/ 3868627 w 11269336"/>
              <a:gd name="connsiteY177" fmla="*/ 2130023 h 2323145"/>
              <a:gd name="connsiteX178" fmla="*/ 3819177 w 11269336"/>
              <a:gd name="connsiteY178" fmla="*/ 2142111 h 2323145"/>
              <a:gd name="connsiteX179" fmla="*/ 3769100 w 11269336"/>
              <a:gd name="connsiteY179" fmla="*/ 2131731 h 2323145"/>
              <a:gd name="connsiteX180" fmla="*/ 3562752 w 11269336"/>
              <a:gd name="connsiteY180" fmla="*/ 2131785 h 2323145"/>
              <a:gd name="connsiteX181" fmla="*/ 3541402 w 11269336"/>
              <a:gd name="connsiteY181" fmla="*/ 2106821 h 2323145"/>
              <a:gd name="connsiteX182" fmla="*/ 3365341 w 11269336"/>
              <a:gd name="connsiteY182" fmla="*/ 2077638 h 2323145"/>
              <a:gd name="connsiteX183" fmla="*/ 3170922 w 11269336"/>
              <a:gd name="connsiteY183" fmla="*/ 2115957 h 2323145"/>
              <a:gd name="connsiteX184" fmla="*/ 3156256 w 11269336"/>
              <a:gd name="connsiteY184" fmla="*/ 2124773 h 2323145"/>
              <a:gd name="connsiteX185" fmla="*/ 3140298 w 11269336"/>
              <a:gd name="connsiteY185" fmla="*/ 2129182 h 2323145"/>
              <a:gd name="connsiteX186" fmla="*/ 3138514 w 11269336"/>
              <a:gd name="connsiteY186" fmla="*/ 2128069 h 2323145"/>
              <a:gd name="connsiteX187" fmla="*/ 3120467 w 11269336"/>
              <a:gd name="connsiteY187" fmla="*/ 2128281 h 2323145"/>
              <a:gd name="connsiteX188" fmla="*/ 3116175 w 11269336"/>
              <a:gd name="connsiteY188" fmla="*/ 2131633 h 2323145"/>
              <a:gd name="connsiteX189" fmla="*/ 3103685 w 11269336"/>
              <a:gd name="connsiteY189" fmla="*/ 2132814 h 2323145"/>
              <a:gd name="connsiteX190" fmla="*/ 3078794 w 11269336"/>
              <a:gd name="connsiteY190" fmla="*/ 2137935 h 2323145"/>
              <a:gd name="connsiteX191" fmla="*/ 3074407 w 11269336"/>
              <a:gd name="connsiteY191" fmla="*/ 2136274 h 2323145"/>
              <a:gd name="connsiteX192" fmla="*/ 3037285 w 11269336"/>
              <a:gd name="connsiteY192" fmla="*/ 2139919 h 2323145"/>
              <a:gd name="connsiteX193" fmla="*/ 3036901 w 11269336"/>
              <a:gd name="connsiteY193" fmla="*/ 2138726 h 2323145"/>
              <a:gd name="connsiteX194" fmla="*/ 3026996 w 11269336"/>
              <a:gd name="connsiteY194" fmla="*/ 2134322 h 2323145"/>
              <a:gd name="connsiteX195" fmla="*/ 3007772 w 11269336"/>
              <a:gd name="connsiteY195" fmla="*/ 2128742 h 2323145"/>
              <a:gd name="connsiteX196" fmla="*/ 2965030 w 11269336"/>
              <a:gd name="connsiteY196" fmla="*/ 2100494 h 2323145"/>
              <a:gd name="connsiteX197" fmla="*/ 2926342 w 11269336"/>
              <a:gd name="connsiteY197" fmla="*/ 2104155 h 2323145"/>
              <a:gd name="connsiteX198" fmla="*/ 2918608 w 11269336"/>
              <a:gd name="connsiteY198" fmla="*/ 2104215 h 2323145"/>
              <a:gd name="connsiteX199" fmla="*/ 2918475 w 11269336"/>
              <a:gd name="connsiteY199" fmla="*/ 2103937 h 2323145"/>
              <a:gd name="connsiteX200" fmla="*/ 2910360 w 11269336"/>
              <a:gd name="connsiteY200" fmla="*/ 2103444 h 2323145"/>
              <a:gd name="connsiteX201" fmla="*/ 2904507 w 11269336"/>
              <a:gd name="connsiteY201" fmla="*/ 2104326 h 2323145"/>
              <a:gd name="connsiteX202" fmla="*/ 2889503 w 11269336"/>
              <a:gd name="connsiteY202" fmla="*/ 2104443 h 2323145"/>
              <a:gd name="connsiteX203" fmla="*/ 2884480 w 11269336"/>
              <a:gd name="connsiteY203" fmla="*/ 2102626 h 2323145"/>
              <a:gd name="connsiteX204" fmla="*/ 2882689 w 11269336"/>
              <a:gd name="connsiteY204" fmla="*/ 2099228 h 2323145"/>
              <a:gd name="connsiteX205" fmla="*/ 2881291 w 11269336"/>
              <a:gd name="connsiteY205" fmla="*/ 2099618 h 2323145"/>
              <a:gd name="connsiteX206" fmla="*/ 2853979 w 11269336"/>
              <a:gd name="connsiteY206" fmla="*/ 2090388 h 2323145"/>
              <a:gd name="connsiteX207" fmla="*/ 2791790 w 11269336"/>
              <a:gd name="connsiteY207" fmla="*/ 2080332 h 2323145"/>
              <a:gd name="connsiteX208" fmla="*/ 2755844 w 11269336"/>
              <a:gd name="connsiteY208" fmla="*/ 2078874 h 2323145"/>
              <a:gd name="connsiteX209" fmla="*/ 2657742 w 11269336"/>
              <a:gd name="connsiteY209" fmla="*/ 2070179 h 2323145"/>
              <a:gd name="connsiteX210" fmla="*/ 2559549 w 11269336"/>
              <a:gd name="connsiteY210" fmla="*/ 2057873 h 2323145"/>
              <a:gd name="connsiteX211" fmla="*/ 2512054 w 11269336"/>
              <a:gd name="connsiteY211" fmla="*/ 2031671 h 2323145"/>
              <a:gd name="connsiteX212" fmla="*/ 2506437 w 11269336"/>
              <a:gd name="connsiteY212" fmla="*/ 2030918 h 2323145"/>
              <a:gd name="connsiteX213" fmla="*/ 2491752 w 11269336"/>
              <a:gd name="connsiteY213" fmla="*/ 2033906 h 2323145"/>
              <a:gd name="connsiteX214" fmla="*/ 2486338 w 11269336"/>
              <a:gd name="connsiteY214" fmla="*/ 2035862 h 2323145"/>
              <a:gd name="connsiteX215" fmla="*/ 2478186 w 11269336"/>
              <a:gd name="connsiteY215" fmla="*/ 2036953 h 2323145"/>
              <a:gd name="connsiteX216" fmla="*/ 2477950 w 11269336"/>
              <a:gd name="connsiteY216" fmla="*/ 2036715 h 2323145"/>
              <a:gd name="connsiteX217" fmla="*/ 2470381 w 11269336"/>
              <a:gd name="connsiteY217" fmla="*/ 2038256 h 2323145"/>
              <a:gd name="connsiteX218" fmla="*/ 2433781 w 11269336"/>
              <a:gd name="connsiteY218" fmla="*/ 2049140 h 2323145"/>
              <a:gd name="connsiteX219" fmla="*/ 2381172 w 11269336"/>
              <a:gd name="connsiteY219" fmla="*/ 2030645 h 2323145"/>
              <a:gd name="connsiteX220" fmla="*/ 2360198 w 11269336"/>
              <a:gd name="connsiteY220" fmla="*/ 2029059 h 2323145"/>
              <a:gd name="connsiteX221" fmla="*/ 2348815 w 11269336"/>
              <a:gd name="connsiteY221" fmla="*/ 2026798 h 2323145"/>
              <a:gd name="connsiteX222" fmla="*/ 2347988 w 11269336"/>
              <a:gd name="connsiteY222" fmla="*/ 2025745 h 2323145"/>
              <a:gd name="connsiteX223" fmla="*/ 2312920 w 11269336"/>
              <a:gd name="connsiteY223" fmla="*/ 2036311 h 2323145"/>
              <a:gd name="connsiteX224" fmla="*/ 2307986 w 11269336"/>
              <a:gd name="connsiteY224" fmla="*/ 2035583 h 2323145"/>
              <a:gd name="connsiteX225" fmla="*/ 2285481 w 11269336"/>
              <a:gd name="connsiteY225" fmla="*/ 2045197 h 2323145"/>
              <a:gd name="connsiteX226" fmla="*/ 2273666 w 11269336"/>
              <a:gd name="connsiteY226" fmla="*/ 2048710 h 2323145"/>
              <a:gd name="connsiteX227" fmla="*/ 2270719 w 11269336"/>
              <a:gd name="connsiteY227" fmla="*/ 2052702 h 2323145"/>
              <a:gd name="connsiteX228" fmla="*/ 2253080 w 11269336"/>
              <a:gd name="connsiteY228" fmla="*/ 2056363 h 2323145"/>
              <a:gd name="connsiteX229" fmla="*/ 2250906 w 11269336"/>
              <a:gd name="connsiteY229" fmla="*/ 2055654 h 2323145"/>
              <a:gd name="connsiteX230" fmla="*/ 2236905 w 11269336"/>
              <a:gd name="connsiteY230" fmla="*/ 2062882 h 2323145"/>
              <a:gd name="connsiteX231" fmla="*/ 2225830 w 11269336"/>
              <a:gd name="connsiteY231" fmla="*/ 2074027 h 2323145"/>
              <a:gd name="connsiteX232" fmla="*/ 2073776 w 11269336"/>
              <a:gd name="connsiteY232" fmla="*/ 2089244 h 2323145"/>
              <a:gd name="connsiteX233" fmla="*/ 1948256 w 11269336"/>
              <a:gd name="connsiteY233" fmla="*/ 2146616 h 2323145"/>
              <a:gd name="connsiteX234" fmla="*/ 1865582 w 11269336"/>
              <a:gd name="connsiteY234" fmla="*/ 2153738 h 2323145"/>
              <a:gd name="connsiteX235" fmla="*/ 1835210 w 11269336"/>
              <a:gd name="connsiteY235" fmla="*/ 2134244 h 2323145"/>
              <a:gd name="connsiteX236" fmla="*/ 1632661 w 11269336"/>
              <a:gd name="connsiteY236" fmla="*/ 2173882 h 2323145"/>
              <a:gd name="connsiteX237" fmla="*/ 1579590 w 11269336"/>
              <a:gd name="connsiteY237" fmla="*/ 2173680 h 2323145"/>
              <a:gd name="connsiteX238" fmla="*/ 1535601 w 11269336"/>
              <a:gd name="connsiteY238" fmla="*/ 2194590 h 2323145"/>
              <a:gd name="connsiteX239" fmla="*/ 1515594 w 11269336"/>
              <a:gd name="connsiteY239" fmla="*/ 2189622 h 2323145"/>
              <a:gd name="connsiteX240" fmla="*/ 1512113 w 11269336"/>
              <a:gd name="connsiteY240" fmla="*/ 2188534 h 2323145"/>
              <a:gd name="connsiteX241" fmla="*/ 1498838 w 11269336"/>
              <a:gd name="connsiteY241" fmla="*/ 2189213 h 2323145"/>
              <a:gd name="connsiteX242" fmla="*/ 1494279 w 11269336"/>
              <a:gd name="connsiteY242" fmla="*/ 2183112 h 2323145"/>
              <a:gd name="connsiteX243" fmla="*/ 1473714 w 11269336"/>
              <a:gd name="connsiteY243" fmla="*/ 2179625 h 2323145"/>
              <a:gd name="connsiteX244" fmla="*/ 1449503 w 11269336"/>
              <a:gd name="connsiteY244" fmla="*/ 2182633 h 2323145"/>
              <a:gd name="connsiteX245" fmla="*/ 1266687 w 11269336"/>
              <a:gd name="connsiteY245" fmla="*/ 2212688 h 2323145"/>
              <a:gd name="connsiteX246" fmla="*/ 1239614 w 11269336"/>
              <a:gd name="connsiteY246" fmla="*/ 2209727 h 2323145"/>
              <a:gd name="connsiteX247" fmla="*/ 1202436 w 11269336"/>
              <a:gd name="connsiteY247" fmla="*/ 2209817 h 2323145"/>
              <a:gd name="connsiteX248" fmla="*/ 1136097 w 11269336"/>
              <a:gd name="connsiteY248" fmla="*/ 2205112 h 2323145"/>
              <a:gd name="connsiteX249" fmla="*/ 988232 w 11269336"/>
              <a:gd name="connsiteY249" fmla="*/ 2235635 h 2323145"/>
              <a:gd name="connsiteX250" fmla="*/ 981959 w 11269336"/>
              <a:gd name="connsiteY250" fmla="*/ 2231607 h 2323145"/>
              <a:gd name="connsiteX251" fmla="*/ 938600 w 11269336"/>
              <a:gd name="connsiteY251" fmla="*/ 2238113 h 2323145"/>
              <a:gd name="connsiteX252" fmla="*/ 791788 w 11269336"/>
              <a:gd name="connsiteY252" fmla="*/ 2293224 h 2323145"/>
              <a:gd name="connsiteX253" fmla="*/ 706914 w 11269336"/>
              <a:gd name="connsiteY253" fmla="*/ 2305046 h 2323145"/>
              <a:gd name="connsiteX254" fmla="*/ 675971 w 11269336"/>
              <a:gd name="connsiteY254" fmla="*/ 2304030 h 2323145"/>
              <a:gd name="connsiteX255" fmla="*/ 624180 w 11269336"/>
              <a:gd name="connsiteY255" fmla="*/ 2302650 h 2323145"/>
              <a:gd name="connsiteX256" fmla="*/ 583453 w 11269336"/>
              <a:gd name="connsiteY256" fmla="*/ 2288788 h 2323145"/>
              <a:gd name="connsiteX257" fmla="*/ 540946 w 11269336"/>
              <a:gd name="connsiteY257" fmla="*/ 2292721 h 2323145"/>
              <a:gd name="connsiteX258" fmla="*/ 533680 w 11269336"/>
              <a:gd name="connsiteY258" fmla="*/ 2310233 h 2323145"/>
              <a:gd name="connsiteX259" fmla="*/ 487366 w 11269336"/>
              <a:gd name="connsiteY259" fmla="*/ 2309053 h 2323145"/>
              <a:gd name="connsiteX260" fmla="*/ 416820 w 11269336"/>
              <a:gd name="connsiteY260" fmla="*/ 2305443 h 2323145"/>
              <a:gd name="connsiteX261" fmla="*/ 376805 w 11269336"/>
              <a:gd name="connsiteY261" fmla="*/ 2307647 h 2323145"/>
              <a:gd name="connsiteX262" fmla="*/ 266777 w 11269336"/>
              <a:gd name="connsiteY262" fmla="*/ 2309012 h 2323145"/>
              <a:gd name="connsiteX263" fmla="*/ 156013 w 11269336"/>
              <a:gd name="connsiteY263" fmla="*/ 2306832 h 2323145"/>
              <a:gd name="connsiteX264" fmla="*/ 87258 w 11269336"/>
              <a:gd name="connsiteY264" fmla="*/ 2285511 h 2323145"/>
              <a:gd name="connsiteX265" fmla="*/ 23798 w 11269336"/>
              <a:gd name="connsiteY265" fmla="*/ 2281822 h 2323145"/>
              <a:gd name="connsiteX266" fmla="*/ 0 w 11269336"/>
              <a:gd name="connsiteY266" fmla="*/ 2285369 h 2323145"/>
              <a:gd name="connsiteX267" fmla="*/ 0 w 11269336"/>
              <a:gd name="connsiteY267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114263 w 11269336"/>
              <a:gd name="connsiteY21" fmla="*/ 709213 h 2323145"/>
              <a:gd name="connsiteX22" fmla="*/ 9028928 w 11269336"/>
              <a:gd name="connsiteY22" fmla="*/ 745350 h 2323145"/>
              <a:gd name="connsiteX23" fmla="*/ 8977138 w 11269336"/>
              <a:gd name="connsiteY23" fmla="*/ 774970 h 2323145"/>
              <a:gd name="connsiteX24" fmla="*/ 8947030 w 11269336"/>
              <a:gd name="connsiteY24" fmla="*/ 814934 h 2323145"/>
              <a:gd name="connsiteX25" fmla="*/ 8914746 w 11269336"/>
              <a:gd name="connsiteY25" fmla="*/ 826428 h 2323145"/>
              <a:gd name="connsiteX26" fmla="*/ 8917778 w 11269336"/>
              <a:gd name="connsiteY26" fmla="*/ 835198 h 2323145"/>
              <a:gd name="connsiteX27" fmla="*/ 8905560 w 11269336"/>
              <a:gd name="connsiteY27" fmla="*/ 838358 h 2323145"/>
              <a:gd name="connsiteX28" fmla="*/ 8897564 w 11269336"/>
              <a:gd name="connsiteY28" fmla="*/ 834287 h 2323145"/>
              <a:gd name="connsiteX29" fmla="*/ 8878040 w 11269336"/>
              <a:gd name="connsiteY29" fmla="*/ 844150 h 2323145"/>
              <a:gd name="connsiteX30" fmla="*/ 8882654 w 11269336"/>
              <a:gd name="connsiteY30" fmla="*/ 892768 h 2323145"/>
              <a:gd name="connsiteX31" fmla="*/ 8795998 w 11269336"/>
              <a:gd name="connsiteY31" fmla="*/ 863337 h 2323145"/>
              <a:gd name="connsiteX32" fmla="*/ 8776970 w 11269336"/>
              <a:gd name="connsiteY32" fmla="*/ 885177 h 2323145"/>
              <a:gd name="connsiteX33" fmla="*/ 8755719 w 11269336"/>
              <a:gd name="connsiteY33" fmla="*/ 889754 h 2323145"/>
              <a:gd name="connsiteX34" fmla="*/ 8743257 w 11269336"/>
              <a:gd name="connsiteY34" fmla="*/ 904723 h 2323145"/>
              <a:gd name="connsiteX35" fmla="*/ 8721366 w 11269336"/>
              <a:gd name="connsiteY35" fmla="*/ 904711 h 2323145"/>
              <a:gd name="connsiteX36" fmla="*/ 8678353 w 11269336"/>
              <a:gd name="connsiteY36" fmla="*/ 926318 h 2323145"/>
              <a:gd name="connsiteX37" fmla="*/ 8636849 w 11269336"/>
              <a:gd name="connsiteY37" fmla="*/ 937900 h 2323145"/>
              <a:gd name="connsiteX38" fmla="*/ 8620213 w 11269336"/>
              <a:gd name="connsiteY38" fmla="*/ 943068 h 2323145"/>
              <a:gd name="connsiteX39" fmla="*/ 8612581 w 11269336"/>
              <a:gd name="connsiteY39" fmla="*/ 952695 h 2323145"/>
              <a:gd name="connsiteX40" fmla="*/ 8589038 w 11269336"/>
              <a:gd name="connsiteY40" fmla="*/ 963892 h 2323145"/>
              <a:gd name="connsiteX41" fmla="*/ 8579950 w 11269336"/>
              <a:gd name="connsiteY41" fmla="*/ 960899 h 2323145"/>
              <a:gd name="connsiteX42" fmla="*/ 8579319 w 11269336"/>
              <a:gd name="connsiteY42" fmla="*/ 965630 h 2323145"/>
              <a:gd name="connsiteX43" fmla="*/ 8547429 w 11269336"/>
              <a:gd name="connsiteY43" fmla="*/ 984506 h 2323145"/>
              <a:gd name="connsiteX44" fmla="*/ 8478704 w 11269336"/>
              <a:gd name="connsiteY44" fmla="*/ 1025490 h 2323145"/>
              <a:gd name="connsiteX45" fmla="*/ 8461421 w 11269336"/>
              <a:gd name="connsiteY45" fmla="*/ 1035512 h 2323145"/>
              <a:gd name="connsiteX46" fmla="*/ 8445003 w 11269336"/>
              <a:gd name="connsiteY46" fmla="*/ 1036851 h 2323145"/>
              <a:gd name="connsiteX47" fmla="*/ 8357350 w 11269336"/>
              <a:gd name="connsiteY47" fmla="*/ 1060213 h 2323145"/>
              <a:gd name="connsiteX48" fmla="*/ 8335565 w 11269336"/>
              <a:gd name="connsiteY48" fmla="*/ 1061151 h 2323145"/>
              <a:gd name="connsiteX49" fmla="*/ 8325267 w 11269336"/>
              <a:gd name="connsiteY49" fmla="*/ 1055919 h 2323145"/>
              <a:gd name="connsiteX50" fmla="*/ 8293586 w 11269336"/>
              <a:gd name="connsiteY50" fmla="*/ 1076144 h 2323145"/>
              <a:gd name="connsiteX51" fmla="*/ 8242405 w 11269336"/>
              <a:gd name="connsiteY51" fmla="*/ 1095960 h 2323145"/>
              <a:gd name="connsiteX52" fmla="*/ 8197391 w 11269336"/>
              <a:gd name="connsiteY52" fmla="*/ 1107746 h 2323145"/>
              <a:gd name="connsiteX53" fmla="*/ 8081474 w 11269336"/>
              <a:gd name="connsiteY53" fmla="*/ 1130125 h 2323145"/>
              <a:gd name="connsiteX54" fmla="*/ 8053585 w 11269336"/>
              <a:gd name="connsiteY54" fmla="*/ 1129169 h 2323145"/>
              <a:gd name="connsiteX55" fmla="*/ 8038422 w 11269336"/>
              <a:gd name="connsiteY55" fmla="*/ 1119092 h 2323145"/>
              <a:gd name="connsiteX56" fmla="*/ 8029450 w 11269336"/>
              <a:gd name="connsiteY56" fmla="*/ 1125592 h 2323145"/>
              <a:gd name="connsiteX57" fmla="*/ 7959552 w 11269336"/>
              <a:gd name="connsiteY57" fmla="*/ 1140188 h 2323145"/>
              <a:gd name="connsiteX58" fmla="*/ 7914188 w 11269336"/>
              <a:gd name="connsiteY58" fmla="*/ 1150862 h 2323145"/>
              <a:gd name="connsiteX59" fmla="*/ 7914918 w 11269336"/>
              <a:gd name="connsiteY59" fmla="*/ 1168758 h 2323145"/>
              <a:gd name="connsiteX60" fmla="*/ 7875510 w 11269336"/>
              <a:gd name="connsiteY60" fmla="*/ 1183153 h 2323145"/>
              <a:gd name="connsiteX61" fmla="*/ 7829932 w 11269336"/>
              <a:gd name="connsiteY61" fmla="*/ 1180782 h 2323145"/>
              <a:gd name="connsiteX62" fmla="*/ 7779182 w 11269336"/>
              <a:gd name="connsiteY62" fmla="*/ 1192665 h 2323145"/>
              <a:gd name="connsiteX63" fmla="*/ 7748774 w 11269336"/>
              <a:gd name="connsiteY63" fmla="*/ 1199586 h 2323145"/>
              <a:gd name="connsiteX64" fmla="*/ 7671846 w 11269336"/>
              <a:gd name="connsiteY64" fmla="*/ 1231966 h 2323145"/>
              <a:gd name="connsiteX65" fmla="*/ 7554146 w 11269336"/>
              <a:gd name="connsiteY65" fmla="*/ 1319748 h 2323145"/>
              <a:gd name="connsiteX66" fmla="*/ 7515052 w 11269336"/>
              <a:gd name="connsiteY66" fmla="*/ 1336718 h 2323145"/>
              <a:gd name="connsiteX67" fmla="*/ 7507193 w 11269336"/>
              <a:gd name="connsiteY67" fmla="*/ 1334617 h 2323145"/>
              <a:gd name="connsiteX68" fmla="*/ 7461694 w 11269336"/>
              <a:gd name="connsiteY68" fmla="*/ 1375866 h 2323145"/>
              <a:gd name="connsiteX69" fmla="*/ 7377571 w 11269336"/>
              <a:gd name="connsiteY69" fmla="*/ 1400128 h 2323145"/>
              <a:gd name="connsiteX70" fmla="*/ 7311261 w 11269336"/>
              <a:gd name="connsiteY70" fmla="*/ 1412652 h 2323145"/>
              <a:gd name="connsiteX71" fmla="*/ 7275307 w 11269336"/>
              <a:gd name="connsiteY71" fmla="*/ 1422171 h 2323145"/>
              <a:gd name="connsiteX72" fmla="*/ 7247783 w 11269336"/>
              <a:gd name="connsiteY72" fmla="*/ 1426330 h 2323145"/>
              <a:gd name="connsiteX73" fmla="*/ 7185047 w 11269336"/>
              <a:gd name="connsiteY73" fmla="*/ 1451812 h 2323145"/>
              <a:gd name="connsiteX74" fmla="*/ 7084117 w 11269336"/>
              <a:gd name="connsiteY74" fmla="*/ 1500281 h 2323145"/>
              <a:gd name="connsiteX75" fmla="*/ 7062011 w 11269336"/>
              <a:gd name="connsiteY75" fmla="*/ 1509183 h 2323145"/>
              <a:gd name="connsiteX76" fmla="*/ 7040555 w 11269336"/>
              <a:gd name="connsiteY76" fmla="*/ 1511207 h 2323145"/>
              <a:gd name="connsiteX77" fmla="*/ 7033438 w 11269336"/>
              <a:gd name="connsiteY77" fmla="*/ 1506772 h 2323145"/>
              <a:gd name="connsiteX78" fmla="*/ 7020886 w 11269336"/>
              <a:gd name="connsiteY78" fmla="*/ 1510764 h 2323145"/>
              <a:gd name="connsiteX79" fmla="*/ 7017033 w 11269336"/>
              <a:gd name="connsiteY79" fmla="*/ 1510650 h 2323145"/>
              <a:gd name="connsiteX80" fmla="*/ 6995460 w 11269336"/>
              <a:gd name="connsiteY80" fmla="*/ 1511173 h 2323145"/>
              <a:gd name="connsiteX81" fmla="*/ 6962144 w 11269336"/>
              <a:gd name="connsiteY81" fmla="*/ 1541508 h 2323145"/>
              <a:gd name="connsiteX82" fmla="*/ 6910674 w 11269336"/>
              <a:gd name="connsiteY82" fmla="*/ 1554793 h 2323145"/>
              <a:gd name="connsiteX83" fmla="*/ 6732152 w 11269336"/>
              <a:gd name="connsiteY83" fmla="*/ 1642538 h 2323145"/>
              <a:gd name="connsiteX84" fmla="*/ 6694106 w 11269336"/>
              <a:gd name="connsiteY84" fmla="*/ 1632377 h 2323145"/>
              <a:gd name="connsiteX85" fmla="*/ 6617223 w 11269336"/>
              <a:gd name="connsiteY85" fmla="*/ 1659889 h 2323145"/>
              <a:gd name="connsiteX86" fmla="*/ 6521138 w 11269336"/>
              <a:gd name="connsiteY86" fmla="*/ 1744340 h 2323145"/>
              <a:gd name="connsiteX87" fmla="*/ 6380677 w 11269336"/>
              <a:gd name="connsiteY87" fmla="*/ 1796883 h 2323145"/>
              <a:gd name="connsiteX88" fmla="*/ 6374897 w 11269336"/>
              <a:gd name="connsiteY88" fmla="*/ 1809910 h 2323145"/>
              <a:gd name="connsiteX89" fmla="*/ 6364545 w 11269336"/>
              <a:gd name="connsiteY89" fmla="*/ 1820090 h 2323145"/>
              <a:gd name="connsiteX90" fmla="*/ 6362126 w 11269336"/>
              <a:gd name="connsiteY90" fmla="*/ 1819991 h 2323145"/>
              <a:gd name="connsiteX91" fmla="*/ 6346673 w 11269336"/>
              <a:gd name="connsiteY91" fmla="*/ 1827824 h 2323145"/>
              <a:gd name="connsiteX92" fmla="*/ 6345588 w 11269336"/>
              <a:gd name="connsiteY92" fmla="*/ 1832232 h 2323145"/>
              <a:gd name="connsiteX93" fmla="*/ 6335708 w 11269336"/>
              <a:gd name="connsiteY93" fmla="*/ 1838451 h 2323145"/>
              <a:gd name="connsiteX94" fmla="*/ 6318182 w 11269336"/>
              <a:gd name="connsiteY94" fmla="*/ 1852975 h 2323145"/>
              <a:gd name="connsiteX95" fmla="*/ 6313084 w 11269336"/>
              <a:gd name="connsiteY95" fmla="*/ 1853561 h 2323145"/>
              <a:gd name="connsiteX96" fmla="*/ 6283816 w 11269336"/>
              <a:gd name="connsiteY96" fmla="*/ 1872148 h 2323145"/>
              <a:gd name="connsiteX97" fmla="*/ 6282550 w 11269336"/>
              <a:gd name="connsiteY97" fmla="*/ 1871392 h 2323145"/>
              <a:gd name="connsiteX98" fmla="*/ 6270527 w 11269336"/>
              <a:gd name="connsiteY98" fmla="*/ 1872208 h 2323145"/>
              <a:gd name="connsiteX99" fmla="*/ 6249518 w 11269336"/>
              <a:gd name="connsiteY99" fmla="*/ 1876079 h 2323145"/>
              <a:gd name="connsiteX100" fmla="*/ 6190386 w 11269336"/>
              <a:gd name="connsiteY100" fmla="*/ 1872478 h 2323145"/>
              <a:gd name="connsiteX101" fmla="*/ 6159777 w 11269336"/>
              <a:gd name="connsiteY101" fmla="*/ 1891745 h 2323145"/>
              <a:gd name="connsiteX102" fmla="*/ 6153131 w 11269336"/>
              <a:gd name="connsiteY102" fmla="*/ 1895079 h 2323145"/>
              <a:gd name="connsiteX103" fmla="*/ 6152798 w 11269336"/>
              <a:gd name="connsiteY103" fmla="*/ 1894920 h 2323145"/>
              <a:gd name="connsiteX104" fmla="*/ 6145388 w 11269336"/>
              <a:gd name="connsiteY104" fmla="*/ 1897990 h 2323145"/>
              <a:gd name="connsiteX105" fmla="*/ 6141014 w 11269336"/>
              <a:gd name="connsiteY105" fmla="*/ 1901155 h 2323145"/>
              <a:gd name="connsiteX106" fmla="*/ 6128122 w 11269336"/>
              <a:gd name="connsiteY106" fmla="*/ 1907623 h 2323145"/>
              <a:gd name="connsiteX107" fmla="*/ 6122351 w 11269336"/>
              <a:gd name="connsiteY107" fmla="*/ 1908359 h 2323145"/>
              <a:gd name="connsiteX108" fmla="*/ 6064750 w 11269336"/>
              <a:gd name="connsiteY108" fmla="*/ 1896394 h 2323145"/>
              <a:gd name="connsiteX109" fmla="*/ 5964230 w 11269336"/>
              <a:gd name="connsiteY109" fmla="*/ 1910038 h 2323145"/>
              <a:gd name="connsiteX110" fmla="*/ 5865399 w 11269336"/>
              <a:gd name="connsiteY110" fmla="*/ 1926966 h 2323145"/>
              <a:gd name="connsiteX111" fmla="*/ 5829951 w 11269336"/>
              <a:gd name="connsiteY111" fmla="*/ 1934755 h 2323145"/>
              <a:gd name="connsiteX112" fmla="*/ 5765285 w 11269336"/>
              <a:gd name="connsiteY112" fmla="*/ 1941322 h 2323145"/>
              <a:gd name="connsiteX113" fmla="*/ 5734750 w 11269336"/>
              <a:gd name="connsiteY113" fmla="*/ 1939793 h 2323145"/>
              <a:gd name="connsiteX114" fmla="*/ 5733569 w 11269336"/>
              <a:gd name="connsiteY114" fmla="*/ 1940505 h 2323145"/>
              <a:gd name="connsiteX115" fmla="*/ 5730329 w 11269336"/>
              <a:gd name="connsiteY115" fmla="*/ 1937845 h 2323145"/>
              <a:gd name="connsiteX116" fmla="*/ 5724661 w 11269336"/>
              <a:gd name="connsiteY116" fmla="*/ 1937455 h 2323145"/>
              <a:gd name="connsiteX117" fmla="*/ 5710186 w 11269336"/>
              <a:gd name="connsiteY117" fmla="*/ 1941370 h 2323145"/>
              <a:gd name="connsiteX118" fmla="*/ 5704910 w 11269336"/>
              <a:gd name="connsiteY118" fmla="*/ 1943663 h 2323145"/>
              <a:gd name="connsiteX119" fmla="*/ 5696836 w 11269336"/>
              <a:gd name="connsiteY119" fmla="*/ 1945271 h 2323145"/>
              <a:gd name="connsiteX120" fmla="*/ 5696583 w 11269336"/>
              <a:gd name="connsiteY120" fmla="*/ 1945050 h 2323145"/>
              <a:gd name="connsiteX121" fmla="*/ 5689123 w 11269336"/>
              <a:gd name="connsiteY121" fmla="*/ 1947067 h 2323145"/>
              <a:gd name="connsiteX122" fmla="*/ 5653291 w 11269336"/>
              <a:gd name="connsiteY122" fmla="*/ 1960245 h 2323145"/>
              <a:gd name="connsiteX123" fmla="*/ 5599385 w 11269336"/>
              <a:gd name="connsiteY123" fmla="*/ 1945198 h 2323145"/>
              <a:gd name="connsiteX124" fmla="*/ 5578300 w 11269336"/>
              <a:gd name="connsiteY124" fmla="*/ 1944963 h 2323145"/>
              <a:gd name="connsiteX125" fmla="*/ 5566758 w 11269336"/>
              <a:gd name="connsiteY125" fmla="*/ 1943441 h 2323145"/>
              <a:gd name="connsiteX126" fmla="*/ 5565857 w 11269336"/>
              <a:gd name="connsiteY126" fmla="*/ 1942445 h 2323145"/>
              <a:gd name="connsiteX127" fmla="*/ 5531534 w 11269336"/>
              <a:gd name="connsiteY127" fmla="*/ 1955208 h 2323145"/>
              <a:gd name="connsiteX128" fmla="*/ 5526552 w 11269336"/>
              <a:gd name="connsiteY128" fmla="*/ 1954799 h 2323145"/>
              <a:gd name="connsiteX129" fmla="*/ 5504723 w 11269336"/>
              <a:gd name="connsiteY129" fmla="*/ 1965811 h 2323145"/>
              <a:gd name="connsiteX130" fmla="*/ 5493156 w 11269336"/>
              <a:gd name="connsiteY130" fmla="*/ 1970063 h 2323145"/>
              <a:gd name="connsiteX131" fmla="*/ 5490486 w 11269336"/>
              <a:gd name="connsiteY131" fmla="*/ 1974227 h 2323145"/>
              <a:gd name="connsiteX132" fmla="*/ 5473107 w 11269336"/>
              <a:gd name="connsiteY132" fmla="*/ 1979001 h 2323145"/>
              <a:gd name="connsiteX133" fmla="*/ 5470885 w 11269336"/>
              <a:gd name="connsiteY133" fmla="*/ 1978432 h 2323145"/>
              <a:gd name="connsiteX134" fmla="*/ 5457393 w 11269336"/>
              <a:gd name="connsiteY134" fmla="*/ 1986525 h 2323145"/>
              <a:gd name="connsiteX135" fmla="*/ 5447102 w 11269336"/>
              <a:gd name="connsiteY135" fmla="*/ 1998329 h 2323145"/>
              <a:gd name="connsiteX136" fmla="*/ 5159151 w 11269336"/>
              <a:gd name="connsiteY136" fmla="*/ 2029640 h 2323145"/>
              <a:gd name="connsiteX137" fmla="*/ 5041688 w 11269336"/>
              <a:gd name="connsiteY137" fmla="*/ 2022334 h 2323145"/>
              <a:gd name="connsiteX138" fmla="*/ 4860988 w 11269336"/>
              <a:gd name="connsiteY138" fmla="*/ 2135698 h 2323145"/>
              <a:gd name="connsiteX139" fmla="*/ 4807902 w 11269336"/>
              <a:gd name="connsiteY139" fmla="*/ 2138894 h 2323145"/>
              <a:gd name="connsiteX140" fmla="*/ 4765388 w 11269336"/>
              <a:gd name="connsiteY140" fmla="*/ 2162525 h 2323145"/>
              <a:gd name="connsiteX141" fmla="*/ 4745033 w 11269336"/>
              <a:gd name="connsiteY141" fmla="*/ 2158859 h 2323145"/>
              <a:gd name="connsiteX142" fmla="*/ 4741475 w 11269336"/>
              <a:gd name="connsiteY142" fmla="*/ 2157998 h 2323145"/>
              <a:gd name="connsiteX143" fmla="*/ 4728247 w 11269336"/>
              <a:gd name="connsiteY143" fmla="*/ 2159526 h 2323145"/>
              <a:gd name="connsiteX144" fmla="*/ 4723263 w 11269336"/>
              <a:gd name="connsiteY144" fmla="*/ 2153742 h 2323145"/>
              <a:gd name="connsiteX145" fmla="*/ 4702453 w 11269336"/>
              <a:gd name="connsiteY145" fmla="*/ 2151586 h 2323145"/>
              <a:gd name="connsiteX146" fmla="*/ 4678455 w 11269336"/>
              <a:gd name="connsiteY146" fmla="*/ 2156131 h 2323145"/>
              <a:gd name="connsiteX147" fmla="*/ 4593061 w 11269336"/>
              <a:gd name="connsiteY147" fmla="*/ 2171597 h 2323145"/>
              <a:gd name="connsiteX148" fmla="*/ 4579902 w 11269336"/>
              <a:gd name="connsiteY148" fmla="*/ 2177927 h 2323145"/>
              <a:gd name="connsiteX149" fmla="*/ 4533444 w 11269336"/>
              <a:gd name="connsiteY149" fmla="*/ 2181200 h 2323145"/>
              <a:gd name="connsiteX150" fmla="*/ 4492832 w 11269336"/>
              <a:gd name="connsiteY150" fmla="*/ 2188033 h 2323145"/>
              <a:gd name="connsiteX151" fmla="*/ 4467257 w 11269336"/>
              <a:gd name="connsiteY151" fmla="*/ 2196121 h 2323145"/>
              <a:gd name="connsiteX152" fmla="*/ 4459937 w 11269336"/>
              <a:gd name="connsiteY152" fmla="*/ 2195182 h 2323145"/>
              <a:gd name="connsiteX153" fmla="*/ 4433312 w 11269336"/>
              <a:gd name="connsiteY153" fmla="*/ 2199004 h 2323145"/>
              <a:gd name="connsiteX154" fmla="*/ 4420601 w 11269336"/>
              <a:gd name="connsiteY154" fmla="*/ 2205158 h 2323145"/>
              <a:gd name="connsiteX155" fmla="*/ 4405765 w 11269336"/>
              <a:gd name="connsiteY155" fmla="*/ 2199902 h 2323145"/>
              <a:gd name="connsiteX156" fmla="*/ 4401354 w 11269336"/>
              <a:gd name="connsiteY156" fmla="*/ 2194745 h 2323145"/>
              <a:gd name="connsiteX157" fmla="*/ 4383151 w 11269336"/>
              <a:gd name="connsiteY157" fmla="*/ 2201140 h 2323145"/>
              <a:gd name="connsiteX158" fmla="*/ 4366646 w 11269336"/>
              <a:gd name="connsiteY158" fmla="*/ 2198564 h 2323145"/>
              <a:gd name="connsiteX159" fmla="*/ 4354009 w 11269336"/>
              <a:gd name="connsiteY159" fmla="*/ 2204984 h 2323145"/>
              <a:gd name="connsiteX160" fmla="*/ 4348284 w 11269336"/>
              <a:gd name="connsiteY160" fmla="*/ 2205270 h 2323145"/>
              <a:gd name="connsiteX161" fmla="*/ 4333906 w 11269336"/>
              <a:gd name="connsiteY161" fmla="*/ 2205251 h 2323145"/>
              <a:gd name="connsiteX162" fmla="*/ 4308819 w 11269336"/>
              <a:gd name="connsiteY162" fmla="*/ 2203822 h 2323145"/>
              <a:gd name="connsiteX163" fmla="*/ 4301210 w 11269336"/>
              <a:gd name="connsiteY163" fmla="*/ 2204456 h 2323145"/>
              <a:gd name="connsiteX164" fmla="*/ 4283095 w 11269336"/>
              <a:gd name="connsiteY164" fmla="*/ 2198177 h 2323145"/>
              <a:gd name="connsiteX165" fmla="*/ 4250119 w 11269336"/>
              <a:gd name="connsiteY165" fmla="*/ 2196342 h 2323145"/>
              <a:gd name="connsiteX166" fmla="*/ 4189203 w 11269336"/>
              <a:gd name="connsiteY166" fmla="*/ 2178994 h 2323145"/>
              <a:gd name="connsiteX167" fmla="*/ 4154035 w 11269336"/>
              <a:gd name="connsiteY167" fmla="*/ 2171950 h 2323145"/>
              <a:gd name="connsiteX168" fmla="*/ 4129569 w 11269336"/>
              <a:gd name="connsiteY168" fmla="*/ 2163850 h 2323145"/>
              <a:gd name="connsiteX169" fmla="*/ 4061250 w 11269336"/>
              <a:gd name="connsiteY169" fmla="*/ 2159236 h 2323145"/>
              <a:gd name="connsiteX170" fmla="*/ 3945480 w 11269336"/>
              <a:gd name="connsiteY170" fmla="*/ 2158279 h 2323145"/>
              <a:gd name="connsiteX171" fmla="*/ 3921468 w 11269336"/>
              <a:gd name="connsiteY171" fmla="*/ 2156588 h 2323145"/>
              <a:gd name="connsiteX172" fmla="*/ 3903348 w 11269336"/>
              <a:gd name="connsiteY172" fmla="*/ 2149220 h 2323145"/>
              <a:gd name="connsiteX173" fmla="*/ 3901342 w 11269336"/>
              <a:gd name="connsiteY173" fmla="*/ 2142355 h 2323145"/>
              <a:gd name="connsiteX174" fmla="*/ 3888539 w 11269336"/>
              <a:gd name="connsiteY174" fmla="*/ 2140476 h 2323145"/>
              <a:gd name="connsiteX175" fmla="*/ 3885662 w 11269336"/>
              <a:gd name="connsiteY175" fmla="*/ 2138740 h 2323145"/>
              <a:gd name="connsiteX176" fmla="*/ 3868627 w 11269336"/>
              <a:gd name="connsiteY176" fmla="*/ 2130023 h 2323145"/>
              <a:gd name="connsiteX177" fmla="*/ 3819177 w 11269336"/>
              <a:gd name="connsiteY177" fmla="*/ 2142111 h 2323145"/>
              <a:gd name="connsiteX178" fmla="*/ 3769100 w 11269336"/>
              <a:gd name="connsiteY178" fmla="*/ 2131731 h 2323145"/>
              <a:gd name="connsiteX179" fmla="*/ 3562752 w 11269336"/>
              <a:gd name="connsiteY179" fmla="*/ 2131785 h 2323145"/>
              <a:gd name="connsiteX180" fmla="*/ 3541402 w 11269336"/>
              <a:gd name="connsiteY180" fmla="*/ 2106821 h 2323145"/>
              <a:gd name="connsiteX181" fmla="*/ 3365341 w 11269336"/>
              <a:gd name="connsiteY181" fmla="*/ 2077638 h 2323145"/>
              <a:gd name="connsiteX182" fmla="*/ 3170922 w 11269336"/>
              <a:gd name="connsiteY182" fmla="*/ 2115957 h 2323145"/>
              <a:gd name="connsiteX183" fmla="*/ 3156256 w 11269336"/>
              <a:gd name="connsiteY183" fmla="*/ 2124773 h 2323145"/>
              <a:gd name="connsiteX184" fmla="*/ 3140298 w 11269336"/>
              <a:gd name="connsiteY184" fmla="*/ 2129182 h 2323145"/>
              <a:gd name="connsiteX185" fmla="*/ 3138514 w 11269336"/>
              <a:gd name="connsiteY185" fmla="*/ 2128069 h 2323145"/>
              <a:gd name="connsiteX186" fmla="*/ 3120467 w 11269336"/>
              <a:gd name="connsiteY186" fmla="*/ 2128281 h 2323145"/>
              <a:gd name="connsiteX187" fmla="*/ 3116175 w 11269336"/>
              <a:gd name="connsiteY187" fmla="*/ 2131633 h 2323145"/>
              <a:gd name="connsiteX188" fmla="*/ 3103685 w 11269336"/>
              <a:gd name="connsiteY188" fmla="*/ 2132814 h 2323145"/>
              <a:gd name="connsiteX189" fmla="*/ 3078794 w 11269336"/>
              <a:gd name="connsiteY189" fmla="*/ 2137935 h 2323145"/>
              <a:gd name="connsiteX190" fmla="*/ 3074407 w 11269336"/>
              <a:gd name="connsiteY190" fmla="*/ 2136274 h 2323145"/>
              <a:gd name="connsiteX191" fmla="*/ 3037285 w 11269336"/>
              <a:gd name="connsiteY191" fmla="*/ 2139919 h 2323145"/>
              <a:gd name="connsiteX192" fmla="*/ 3036901 w 11269336"/>
              <a:gd name="connsiteY192" fmla="*/ 2138726 h 2323145"/>
              <a:gd name="connsiteX193" fmla="*/ 3026996 w 11269336"/>
              <a:gd name="connsiteY193" fmla="*/ 2134322 h 2323145"/>
              <a:gd name="connsiteX194" fmla="*/ 3007772 w 11269336"/>
              <a:gd name="connsiteY194" fmla="*/ 2128742 h 2323145"/>
              <a:gd name="connsiteX195" fmla="*/ 2965030 w 11269336"/>
              <a:gd name="connsiteY195" fmla="*/ 2100494 h 2323145"/>
              <a:gd name="connsiteX196" fmla="*/ 2926342 w 11269336"/>
              <a:gd name="connsiteY196" fmla="*/ 2104155 h 2323145"/>
              <a:gd name="connsiteX197" fmla="*/ 2918608 w 11269336"/>
              <a:gd name="connsiteY197" fmla="*/ 2104215 h 2323145"/>
              <a:gd name="connsiteX198" fmla="*/ 2918475 w 11269336"/>
              <a:gd name="connsiteY198" fmla="*/ 2103937 h 2323145"/>
              <a:gd name="connsiteX199" fmla="*/ 2910360 w 11269336"/>
              <a:gd name="connsiteY199" fmla="*/ 2103444 h 2323145"/>
              <a:gd name="connsiteX200" fmla="*/ 2904507 w 11269336"/>
              <a:gd name="connsiteY200" fmla="*/ 2104326 h 2323145"/>
              <a:gd name="connsiteX201" fmla="*/ 2889503 w 11269336"/>
              <a:gd name="connsiteY201" fmla="*/ 2104443 h 2323145"/>
              <a:gd name="connsiteX202" fmla="*/ 2884480 w 11269336"/>
              <a:gd name="connsiteY202" fmla="*/ 2102626 h 2323145"/>
              <a:gd name="connsiteX203" fmla="*/ 2882689 w 11269336"/>
              <a:gd name="connsiteY203" fmla="*/ 2099228 h 2323145"/>
              <a:gd name="connsiteX204" fmla="*/ 2881291 w 11269336"/>
              <a:gd name="connsiteY204" fmla="*/ 2099618 h 2323145"/>
              <a:gd name="connsiteX205" fmla="*/ 2853979 w 11269336"/>
              <a:gd name="connsiteY205" fmla="*/ 2090388 h 2323145"/>
              <a:gd name="connsiteX206" fmla="*/ 2791790 w 11269336"/>
              <a:gd name="connsiteY206" fmla="*/ 2080332 h 2323145"/>
              <a:gd name="connsiteX207" fmla="*/ 2755844 w 11269336"/>
              <a:gd name="connsiteY207" fmla="*/ 2078874 h 2323145"/>
              <a:gd name="connsiteX208" fmla="*/ 2657742 w 11269336"/>
              <a:gd name="connsiteY208" fmla="*/ 2070179 h 2323145"/>
              <a:gd name="connsiteX209" fmla="*/ 2559549 w 11269336"/>
              <a:gd name="connsiteY209" fmla="*/ 2057873 h 2323145"/>
              <a:gd name="connsiteX210" fmla="*/ 2512054 w 11269336"/>
              <a:gd name="connsiteY210" fmla="*/ 2031671 h 2323145"/>
              <a:gd name="connsiteX211" fmla="*/ 2506437 w 11269336"/>
              <a:gd name="connsiteY211" fmla="*/ 2030918 h 2323145"/>
              <a:gd name="connsiteX212" fmla="*/ 2491752 w 11269336"/>
              <a:gd name="connsiteY212" fmla="*/ 2033906 h 2323145"/>
              <a:gd name="connsiteX213" fmla="*/ 2486338 w 11269336"/>
              <a:gd name="connsiteY213" fmla="*/ 2035862 h 2323145"/>
              <a:gd name="connsiteX214" fmla="*/ 2478186 w 11269336"/>
              <a:gd name="connsiteY214" fmla="*/ 2036953 h 2323145"/>
              <a:gd name="connsiteX215" fmla="*/ 2477950 w 11269336"/>
              <a:gd name="connsiteY215" fmla="*/ 2036715 h 2323145"/>
              <a:gd name="connsiteX216" fmla="*/ 2470381 w 11269336"/>
              <a:gd name="connsiteY216" fmla="*/ 2038256 h 2323145"/>
              <a:gd name="connsiteX217" fmla="*/ 2433781 w 11269336"/>
              <a:gd name="connsiteY217" fmla="*/ 2049140 h 2323145"/>
              <a:gd name="connsiteX218" fmla="*/ 2381172 w 11269336"/>
              <a:gd name="connsiteY218" fmla="*/ 2030645 h 2323145"/>
              <a:gd name="connsiteX219" fmla="*/ 2360198 w 11269336"/>
              <a:gd name="connsiteY219" fmla="*/ 2029059 h 2323145"/>
              <a:gd name="connsiteX220" fmla="*/ 2348815 w 11269336"/>
              <a:gd name="connsiteY220" fmla="*/ 2026798 h 2323145"/>
              <a:gd name="connsiteX221" fmla="*/ 2347988 w 11269336"/>
              <a:gd name="connsiteY221" fmla="*/ 2025745 h 2323145"/>
              <a:gd name="connsiteX222" fmla="*/ 2312920 w 11269336"/>
              <a:gd name="connsiteY222" fmla="*/ 2036311 h 2323145"/>
              <a:gd name="connsiteX223" fmla="*/ 2307986 w 11269336"/>
              <a:gd name="connsiteY223" fmla="*/ 2035583 h 2323145"/>
              <a:gd name="connsiteX224" fmla="*/ 2285481 w 11269336"/>
              <a:gd name="connsiteY224" fmla="*/ 2045197 h 2323145"/>
              <a:gd name="connsiteX225" fmla="*/ 2273666 w 11269336"/>
              <a:gd name="connsiteY225" fmla="*/ 2048710 h 2323145"/>
              <a:gd name="connsiteX226" fmla="*/ 2270719 w 11269336"/>
              <a:gd name="connsiteY226" fmla="*/ 2052702 h 2323145"/>
              <a:gd name="connsiteX227" fmla="*/ 2253080 w 11269336"/>
              <a:gd name="connsiteY227" fmla="*/ 2056363 h 2323145"/>
              <a:gd name="connsiteX228" fmla="*/ 2250906 w 11269336"/>
              <a:gd name="connsiteY228" fmla="*/ 2055654 h 2323145"/>
              <a:gd name="connsiteX229" fmla="*/ 2236905 w 11269336"/>
              <a:gd name="connsiteY229" fmla="*/ 2062882 h 2323145"/>
              <a:gd name="connsiteX230" fmla="*/ 2225830 w 11269336"/>
              <a:gd name="connsiteY230" fmla="*/ 2074027 h 2323145"/>
              <a:gd name="connsiteX231" fmla="*/ 2073776 w 11269336"/>
              <a:gd name="connsiteY231" fmla="*/ 2089244 h 2323145"/>
              <a:gd name="connsiteX232" fmla="*/ 1948256 w 11269336"/>
              <a:gd name="connsiteY232" fmla="*/ 2146616 h 2323145"/>
              <a:gd name="connsiteX233" fmla="*/ 1865582 w 11269336"/>
              <a:gd name="connsiteY233" fmla="*/ 2153738 h 2323145"/>
              <a:gd name="connsiteX234" fmla="*/ 1835210 w 11269336"/>
              <a:gd name="connsiteY234" fmla="*/ 2134244 h 2323145"/>
              <a:gd name="connsiteX235" fmla="*/ 1632661 w 11269336"/>
              <a:gd name="connsiteY235" fmla="*/ 2173882 h 2323145"/>
              <a:gd name="connsiteX236" fmla="*/ 1579590 w 11269336"/>
              <a:gd name="connsiteY236" fmla="*/ 2173680 h 2323145"/>
              <a:gd name="connsiteX237" fmla="*/ 1535601 w 11269336"/>
              <a:gd name="connsiteY237" fmla="*/ 2194590 h 2323145"/>
              <a:gd name="connsiteX238" fmla="*/ 1515594 w 11269336"/>
              <a:gd name="connsiteY238" fmla="*/ 2189622 h 2323145"/>
              <a:gd name="connsiteX239" fmla="*/ 1512113 w 11269336"/>
              <a:gd name="connsiteY239" fmla="*/ 2188534 h 2323145"/>
              <a:gd name="connsiteX240" fmla="*/ 1498838 w 11269336"/>
              <a:gd name="connsiteY240" fmla="*/ 2189213 h 2323145"/>
              <a:gd name="connsiteX241" fmla="*/ 1494279 w 11269336"/>
              <a:gd name="connsiteY241" fmla="*/ 2183112 h 2323145"/>
              <a:gd name="connsiteX242" fmla="*/ 1473714 w 11269336"/>
              <a:gd name="connsiteY242" fmla="*/ 2179625 h 2323145"/>
              <a:gd name="connsiteX243" fmla="*/ 1449503 w 11269336"/>
              <a:gd name="connsiteY243" fmla="*/ 2182633 h 2323145"/>
              <a:gd name="connsiteX244" fmla="*/ 1266687 w 11269336"/>
              <a:gd name="connsiteY244" fmla="*/ 2212688 h 2323145"/>
              <a:gd name="connsiteX245" fmla="*/ 1239614 w 11269336"/>
              <a:gd name="connsiteY245" fmla="*/ 2209727 h 2323145"/>
              <a:gd name="connsiteX246" fmla="*/ 1202436 w 11269336"/>
              <a:gd name="connsiteY246" fmla="*/ 2209817 h 2323145"/>
              <a:gd name="connsiteX247" fmla="*/ 1136097 w 11269336"/>
              <a:gd name="connsiteY247" fmla="*/ 2205112 h 2323145"/>
              <a:gd name="connsiteX248" fmla="*/ 988232 w 11269336"/>
              <a:gd name="connsiteY248" fmla="*/ 2235635 h 2323145"/>
              <a:gd name="connsiteX249" fmla="*/ 981959 w 11269336"/>
              <a:gd name="connsiteY249" fmla="*/ 2231607 h 2323145"/>
              <a:gd name="connsiteX250" fmla="*/ 938600 w 11269336"/>
              <a:gd name="connsiteY250" fmla="*/ 2238113 h 2323145"/>
              <a:gd name="connsiteX251" fmla="*/ 791788 w 11269336"/>
              <a:gd name="connsiteY251" fmla="*/ 2293224 h 2323145"/>
              <a:gd name="connsiteX252" fmla="*/ 706914 w 11269336"/>
              <a:gd name="connsiteY252" fmla="*/ 2305046 h 2323145"/>
              <a:gd name="connsiteX253" fmla="*/ 675971 w 11269336"/>
              <a:gd name="connsiteY253" fmla="*/ 2304030 h 2323145"/>
              <a:gd name="connsiteX254" fmla="*/ 624180 w 11269336"/>
              <a:gd name="connsiteY254" fmla="*/ 2302650 h 2323145"/>
              <a:gd name="connsiteX255" fmla="*/ 583453 w 11269336"/>
              <a:gd name="connsiteY255" fmla="*/ 2288788 h 2323145"/>
              <a:gd name="connsiteX256" fmla="*/ 540946 w 11269336"/>
              <a:gd name="connsiteY256" fmla="*/ 2292721 h 2323145"/>
              <a:gd name="connsiteX257" fmla="*/ 533680 w 11269336"/>
              <a:gd name="connsiteY257" fmla="*/ 2310233 h 2323145"/>
              <a:gd name="connsiteX258" fmla="*/ 487366 w 11269336"/>
              <a:gd name="connsiteY258" fmla="*/ 2309053 h 2323145"/>
              <a:gd name="connsiteX259" fmla="*/ 416820 w 11269336"/>
              <a:gd name="connsiteY259" fmla="*/ 2305443 h 2323145"/>
              <a:gd name="connsiteX260" fmla="*/ 376805 w 11269336"/>
              <a:gd name="connsiteY260" fmla="*/ 2307647 h 2323145"/>
              <a:gd name="connsiteX261" fmla="*/ 266777 w 11269336"/>
              <a:gd name="connsiteY261" fmla="*/ 2309012 h 2323145"/>
              <a:gd name="connsiteX262" fmla="*/ 156013 w 11269336"/>
              <a:gd name="connsiteY262" fmla="*/ 2306832 h 2323145"/>
              <a:gd name="connsiteX263" fmla="*/ 87258 w 11269336"/>
              <a:gd name="connsiteY263" fmla="*/ 2285511 h 2323145"/>
              <a:gd name="connsiteX264" fmla="*/ 23798 w 11269336"/>
              <a:gd name="connsiteY264" fmla="*/ 2281822 h 2323145"/>
              <a:gd name="connsiteX265" fmla="*/ 0 w 11269336"/>
              <a:gd name="connsiteY265" fmla="*/ 2285369 h 2323145"/>
              <a:gd name="connsiteX266" fmla="*/ 0 w 11269336"/>
              <a:gd name="connsiteY26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114263 w 11269336"/>
              <a:gd name="connsiteY21" fmla="*/ 709213 h 2323145"/>
              <a:gd name="connsiteX22" fmla="*/ 9028928 w 11269336"/>
              <a:gd name="connsiteY22" fmla="*/ 745350 h 2323145"/>
              <a:gd name="connsiteX23" fmla="*/ 8977138 w 11269336"/>
              <a:gd name="connsiteY23" fmla="*/ 774970 h 2323145"/>
              <a:gd name="connsiteX24" fmla="*/ 8947030 w 11269336"/>
              <a:gd name="connsiteY24" fmla="*/ 814934 h 2323145"/>
              <a:gd name="connsiteX25" fmla="*/ 8914746 w 11269336"/>
              <a:gd name="connsiteY25" fmla="*/ 826428 h 2323145"/>
              <a:gd name="connsiteX26" fmla="*/ 8917778 w 11269336"/>
              <a:gd name="connsiteY26" fmla="*/ 835198 h 2323145"/>
              <a:gd name="connsiteX27" fmla="*/ 8905560 w 11269336"/>
              <a:gd name="connsiteY27" fmla="*/ 838358 h 2323145"/>
              <a:gd name="connsiteX28" fmla="*/ 8897564 w 11269336"/>
              <a:gd name="connsiteY28" fmla="*/ 834287 h 2323145"/>
              <a:gd name="connsiteX29" fmla="*/ 8878040 w 11269336"/>
              <a:gd name="connsiteY29" fmla="*/ 844150 h 2323145"/>
              <a:gd name="connsiteX30" fmla="*/ 8882654 w 11269336"/>
              <a:gd name="connsiteY30" fmla="*/ 892768 h 2323145"/>
              <a:gd name="connsiteX31" fmla="*/ 8795998 w 11269336"/>
              <a:gd name="connsiteY31" fmla="*/ 863337 h 2323145"/>
              <a:gd name="connsiteX32" fmla="*/ 8776970 w 11269336"/>
              <a:gd name="connsiteY32" fmla="*/ 885177 h 2323145"/>
              <a:gd name="connsiteX33" fmla="*/ 8755719 w 11269336"/>
              <a:gd name="connsiteY33" fmla="*/ 889754 h 2323145"/>
              <a:gd name="connsiteX34" fmla="*/ 8743257 w 11269336"/>
              <a:gd name="connsiteY34" fmla="*/ 904723 h 2323145"/>
              <a:gd name="connsiteX35" fmla="*/ 8721366 w 11269336"/>
              <a:gd name="connsiteY35" fmla="*/ 904711 h 2323145"/>
              <a:gd name="connsiteX36" fmla="*/ 8678353 w 11269336"/>
              <a:gd name="connsiteY36" fmla="*/ 926318 h 2323145"/>
              <a:gd name="connsiteX37" fmla="*/ 8636849 w 11269336"/>
              <a:gd name="connsiteY37" fmla="*/ 937900 h 2323145"/>
              <a:gd name="connsiteX38" fmla="*/ 8620213 w 11269336"/>
              <a:gd name="connsiteY38" fmla="*/ 943068 h 2323145"/>
              <a:gd name="connsiteX39" fmla="*/ 8612581 w 11269336"/>
              <a:gd name="connsiteY39" fmla="*/ 952695 h 2323145"/>
              <a:gd name="connsiteX40" fmla="*/ 8589038 w 11269336"/>
              <a:gd name="connsiteY40" fmla="*/ 963892 h 2323145"/>
              <a:gd name="connsiteX41" fmla="*/ 8579950 w 11269336"/>
              <a:gd name="connsiteY41" fmla="*/ 960899 h 2323145"/>
              <a:gd name="connsiteX42" fmla="*/ 8579319 w 11269336"/>
              <a:gd name="connsiteY42" fmla="*/ 965630 h 2323145"/>
              <a:gd name="connsiteX43" fmla="*/ 8547429 w 11269336"/>
              <a:gd name="connsiteY43" fmla="*/ 984506 h 2323145"/>
              <a:gd name="connsiteX44" fmla="*/ 8478704 w 11269336"/>
              <a:gd name="connsiteY44" fmla="*/ 1025490 h 2323145"/>
              <a:gd name="connsiteX45" fmla="*/ 8461421 w 11269336"/>
              <a:gd name="connsiteY45" fmla="*/ 1035512 h 2323145"/>
              <a:gd name="connsiteX46" fmla="*/ 8445003 w 11269336"/>
              <a:gd name="connsiteY46" fmla="*/ 1036851 h 2323145"/>
              <a:gd name="connsiteX47" fmla="*/ 8357350 w 11269336"/>
              <a:gd name="connsiteY47" fmla="*/ 1060213 h 2323145"/>
              <a:gd name="connsiteX48" fmla="*/ 8335565 w 11269336"/>
              <a:gd name="connsiteY48" fmla="*/ 1061151 h 2323145"/>
              <a:gd name="connsiteX49" fmla="*/ 8325267 w 11269336"/>
              <a:gd name="connsiteY49" fmla="*/ 1055919 h 2323145"/>
              <a:gd name="connsiteX50" fmla="*/ 8293586 w 11269336"/>
              <a:gd name="connsiteY50" fmla="*/ 1076144 h 2323145"/>
              <a:gd name="connsiteX51" fmla="*/ 8242405 w 11269336"/>
              <a:gd name="connsiteY51" fmla="*/ 1095960 h 2323145"/>
              <a:gd name="connsiteX52" fmla="*/ 8197391 w 11269336"/>
              <a:gd name="connsiteY52" fmla="*/ 1107746 h 2323145"/>
              <a:gd name="connsiteX53" fmla="*/ 8081474 w 11269336"/>
              <a:gd name="connsiteY53" fmla="*/ 1130125 h 2323145"/>
              <a:gd name="connsiteX54" fmla="*/ 8053585 w 11269336"/>
              <a:gd name="connsiteY54" fmla="*/ 1129169 h 2323145"/>
              <a:gd name="connsiteX55" fmla="*/ 8038422 w 11269336"/>
              <a:gd name="connsiteY55" fmla="*/ 1119092 h 2323145"/>
              <a:gd name="connsiteX56" fmla="*/ 8029450 w 11269336"/>
              <a:gd name="connsiteY56" fmla="*/ 1125592 h 2323145"/>
              <a:gd name="connsiteX57" fmla="*/ 7959552 w 11269336"/>
              <a:gd name="connsiteY57" fmla="*/ 1140188 h 2323145"/>
              <a:gd name="connsiteX58" fmla="*/ 7914188 w 11269336"/>
              <a:gd name="connsiteY58" fmla="*/ 1150862 h 2323145"/>
              <a:gd name="connsiteX59" fmla="*/ 7914918 w 11269336"/>
              <a:gd name="connsiteY59" fmla="*/ 1168758 h 2323145"/>
              <a:gd name="connsiteX60" fmla="*/ 7875510 w 11269336"/>
              <a:gd name="connsiteY60" fmla="*/ 1183153 h 2323145"/>
              <a:gd name="connsiteX61" fmla="*/ 7829932 w 11269336"/>
              <a:gd name="connsiteY61" fmla="*/ 1180782 h 2323145"/>
              <a:gd name="connsiteX62" fmla="*/ 7779182 w 11269336"/>
              <a:gd name="connsiteY62" fmla="*/ 1192665 h 2323145"/>
              <a:gd name="connsiteX63" fmla="*/ 7748774 w 11269336"/>
              <a:gd name="connsiteY63" fmla="*/ 1199586 h 2323145"/>
              <a:gd name="connsiteX64" fmla="*/ 7671846 w 11269336"/>
              <a:gd name="connsiteY64" fmla="*/ 1231966 h 2323145"/>
              <a:gd name="connsiteX65" fmla="*/ 7554146 w 11269336"/>
              <a:gd name="connsiteY65" fmla="*/ 1319748 h 2323145"/>
              <a:gd name="connsiteX66" fmla="*/ 7515052 w 11269336"/>
              <a:gd name="connsiteY66" fmla="*/ 1336718 h 2323145"/>
              <a:gd name="connsiteX67" fmla="*/ 7507193 w 11269336"/>
              <a:gd name="connsiteY67" fmla="*/ 1334617 h 2323145"/>
              <a:gd name="connsiteX68" fmla="*/ 7461694 w 11269336"/>
              <a:gd name="connsiteY68" fmla="*/ 1375866 h 2323145"/>
              <a:gd name="connsiteX69" fmla="*/ 7377571 w 11269336"/>
              <a:gd name="connsiteY69" fmla="*/ 1400128 h 2323145"/>
              <a:gd name="connsiteX70" fmla="*/ 7311261 w 11269336"/>
              <a:gd name="connsiteY70" fmla="*/ 1412652 h 2323145"/>
              <a:gd name="connsiteX71" fmla="*/ 7275307 w 11269336"/>
              <a:gd name="connsiteY71" fmla="*/ 1422171 h 2323145"/>
              <a:gd name="connsiteX72" fmla="*/ 7247783 w 11269336"/>
              <a:gd name="connsiteY72" fmla="*/ 1426330 h 2323145"/>
              <a:gd name="connsiteX73" fmla="*/ 7185047 w 11269336"/>
              <a:gd name="connsiteY73" fmla="*/ 1451812 h 2323145"/>
              <a:gd name="connsiteX74" fmla="*/ 7084117 w 11269336"/>
              <a:gd name="connsiteY74" fmla="*/ 1500281 h 2323145"/>
              <a:gd name="connsiteX75" fmla="*/ 7062011 w 11269336"/>
              <a:gd name="connsiteY75" fmla="*/ 1509183 h 2323145"/>
              <a:gd name="connsiteX76" fmla="*/ 7040555 w 11269336"/>
              <a:gd name="connsiteY76" fmla="*/ 1511207 h 2323145"/>
              <a:gd name="connsiteX77" fmla="*/ 7033438 w 11269336"/>
              <a:gd name="connsiteY77" fmla="*/ 1506772 h 2323145"/>
              <a:gd name="connsiteX78" fmla="*/ 7020886 w 11269336"/>
              <a:gd name="connsiteY78" fmla="*/ 1510764 h 2323145"/>
              <a:gd name="connsiteX79" fmla="*/ 7017033 w 11269336"/>
              <a:gd name="connsiteY79" fmla="*/ 1510650 h 2323145"/>
              <a:gd name="connsiteX80" fmla="*/ 6995460 w 11269336"/>
              <a:gd name="connsiteY80" fmla="*/ 1511173 h 2323145"/>
              <a:gd name="connsiteX81" fmla="*/ 6962144 w 11269336"/>
              <a:gd name="connsiteY81" fmla="*/ 1541508 h 2323145"/>
              <a:gd name="connsiteX82" fmla="*/ 6910674 w 11269336"/>
              <a:gd name="connsiteY82" fmla="*/ 1554793 h 2323145"/>
              <a:gd name="connsiteX83" fmla="*/ 6732152 w 11269336"/>
              <a:gd name="connsiteY83" fmla="*/ 1642538 h 2323145"/>
              <a:gd name="connsiteX84" fmla="*/ 6694106 w 11269336"/>
              <a:gd name="connsiteY84" fmla="*/ 1632377 h 2323145"/>
              <a:gd name="connsiteX85" fmla="*/ 6617223 w 11269336"/>
              <a:gd name="connsiteY85" fmla="*/ 1659889 h 2323145"/>
              <a:gd name="connsiteX86" fmla="*/ 6521138 w 11269336"/>
              <a:gd name="connsiteY86" fmla="*/ 1744340 h 2323145"/>
              <a:gd name="connsiteX87" fmla="*/ 6380677 w 11269336"/>
              <a:gd name="connsiteY87" fmla="*/ 1796883 h 2323145"/>
              <a:gd name="connsiteX88" fmla="*/ 6374897 w 11269336"/>
              <a:gd name="connsiteY88" fmla="*/ 1809910 h 2323145"/>
              <a:gd name="connsiteX89" fmla="*/ 6364545 w 11269336"/>
              <a:gd name="connsiteY89" fmla="*/ 1820090 h 2323145"/>
              <a:gd name="connsiteX90" fmla="*/ 6362126 w 11269336"/>
              <a:gd name="connsiteY90" fmla="*/ 1819991 h 2323145"/>
              <a:gd name="connsiteX91" fmla="*/ 6346673 w 11269336"/>
              <a:gd name="connsiteY91" fmla="*/ 1827824 h 2323145"/>
              <a:gd name="connsiteX92" fmla="*/ 6345588 w 11269336"/>
              <a:gd name="connsiteY92" fmla="*/ 1832232 h 2323145"/>
              <a:gd name="connsiteX93" fmla="*/ 6335708 w 11269336"/>
              <a:gd name="connsiteY93" fmla="*/ 1838451 h 2323145"/>
              <a:gd name="connsiteX94" fmla="*/ 6318182 w 11269336"/>
              <a:gd name="connsiteY94" fmla="*/ 1852975 h 2323145"/>
              <a:gd name="connsiteX95" fmla="*/ 6313084 w 11269336"/>
              <a:gd name="connsiteY95" fmla="*/ 1853561 h 2323145"/>
              <a:gd name="connsiteX96" fmla="*/ 6283816 w 11269336"/>
              <a:gd name="connsiteY96" fmla="*/ 1872148 h 2323145"/>
              <a:gd name="connsiteX97" fmla="*/ 6282550 w 11269336"/>
              <a:gd name="connsiteY97" fmla="*/ 1871392 h 2323145"/>
              <a:gd name="connsiteX98" fmla="*/ 6270527 w 11269336"/>
              <a:gd name="connsiteY98" fmla="*/ 1872208 h 2323145"/>
              <a:gd name="connsiteX99" fmla="*/ 6249518 w 11269336"/>
              <a:gd name="connsiteY99" fmla="*/ 1876079 h 2323145"/>
              <a:gd name="connsiteX100" fmla="*/ 6190386 w 11269336"/>
              <a:gd name="connsiteY100" fmla="*/ 1872478 h 2323145"/>
              <a:gd name="connsiteX101" fmla="*/ 6159777 w 11269336"/>
              <a:gd name="connsiteY101" fmla="*/ 1891745 h 2323145"/>
              <a:gd name="connsiteX102" fmla="*/ 6153131 w 11269336"/>
              <a:gd name="connsiteY102" fmla="*/ 1895079 h 2323145"/>
              <a:gd name="connsiteX103" fmla="*/ 6152798 w 11269336"/>
              <a:gd name="connsiteY103" fmla="*/ 1894920 h 2323145"/>
              <a:gd name="connsiteX104" fmla="*/ 6145388 w 11269336"/>
              <a:gd name="connsiteY104" fmla="*/ 1897990 h 2323145"/>
              <a:gd name="connsiteX105" fmla="*/ 6141014 w 11269336"/>
              <a:gd name="connsiteY105" fmla="*/ 1901155 h 2323145"/>
              <a:gd name="connsiteX106" fmla="*/ 6128122 w 11269336"/>
              <a:gd name="connsiteY106" fmla="*/ 1907623 h 2323145"/>
              <a:gd name="connsiteX107" fmla="*/ 6122351 w 11269336"/>
              <a:gd name="connsiteY107" fmla="*/ 1908359 h 2323145"/>
              <a:gd name="connsiteX108" fmla="*/ 6064750 w 11269336"/>
              <a:gd name="connsiteY108" fmla="*/ 1896394 h 2323145"/>
              <a:gd name="connsiteX109" fmla="*/ 5964230 w 11269336"/>
              <a:gd name="connsiteY109" fmla="*/ 1910038 h 2323145"/>
              <a:gd name="connsiteX110" fmla="*/ 5865399 w 11269336"/>
              <a:gd name="connsiteY110" fmla="*/ 1926966 h 2323145"/>
              <a:gd name="connsiteX111" fmla="*/ 5829951 w 11269336"/>
              <a:gd name="connsiteY111" fmla="*/ 1934755 h 2323145"/>
              <a:gd name="connsiteX112" fmla="*/ 5765285 w 11269336"/>
              <a:gd name="connsiteY112" fmla="*/ 1941322 h 2323145"/>
              <a:gd name="connsiteX113" fmla="*/ 5734750 w 11269336"/>
              <a:gd name="connsiteY113" fmla="*/ 1939793 h 2323145"/>
              <a:gd name="connsiteX114" fmla="*/ 5733569 w 11269336"/>
              <a:gd name="connsiteY114" fmla="*/ 1940505 h 2323145"/>
              <a:gd name="connsiteX115" fmla="*/ 5730329 w 11269336"/>
              <a:gd name="connsiteY115" fmla="*/ 1937845 h 2323145"/>
              <a:gd name="connsiteX116" fmla="*/ 5724661 w 11269336"/>
              <a:gd name="connsiteY116" fmla="*/ 1937455 h 2323145"/>
              <a:gd name="connsiteX117" fmla="*/ 5710186 w 11269336"/>
              <a:gd name="connsiteY117" fmla="*/ 1941370 h 2323145"/>
              <a:gd name="connsiteX118" fmla="*/ 5704910 w 11269336"/>
              <a:gd name="connsiteY118" fmla="*/ 1943663 h 2323145"/>
              <a:gd name="connsiteX119" fmla="*/ 5696836 w 11269336"/>
              <a:gd name="connsiteY119" fmla="*/ 1945271 h 2323145"/>
              <a:gd name="connsiteX120" fmla="*/ 5696583 w 11269336"/>
              <a:gd name="connsiteY120" fmla="*/ 1945050 h 2323145"/>
              <a:gd name="connsiteX121" fmla="*/ 5689123 w 11269336"/>
              <a:gd name="connsiteY121" fmla="*/ 1947067 h 2323145"/>
              <a:gd name="connsiteX122" fmla="*/ 5653291 w 11269336"/>
              <a:gd name="connsiteY122" fmla="*/ 1960245 h 2323145"/>
              <a:gd name="connsiteX123" fmla="*/ 5599385 w 11269336"/>
              <a:gd name="connsiteY123" fmla="*/ 1945198 h 2323145"/>
              <a:gd name="connsiteX124" fmla="*/ 5578300 w 11269336"/>
              <a:gd name="connsiteY124" fmla="*/ 1944963 h 2323145"/>
              <a:gd name="connsiteX125" fmla="*/ 5566758 w 11269336"/>
              <a:gd name="connsiteY125" fmla="*/ 1943441 h 2323145"/>
              <a:gd name="connsiteX126" fmla="*/ 5565857 w 11269336"/>
              <a:gd name="connsiteY126" fmla="*/ 1942445 h 2323145"/>
              <a:gd name="connsiteX127" fmla="*/ 5531534 w 11269336"/>
              <a:gd name="connsiteY127" fmla="*/ 1955208 h 2323145"/>
              <a:gd name="connsiteX128" fmla="*/ 5526552 w 11269336"/>
              <a:gd name="connsiteY128" fmla="*/ 1954799 h 2323145"/>
              <a:gd name="connsiteX129" fmla="*/ 5504723 w 11269336"/>
              <a:gd name="connsiteY129" fmla="*/ 1965811 h 2323145"/>
              <a:gd name="connsiteX130" fmla="*/ 5493156 w 11269336"/>
              <a:gd name="connsiteY130" fmla="*/ 1970063 h 2323145"/>
              <a:gd name="connsiteX131" fmla="*/ 5490486 w 11269336"/>
              <a:gd name="connsiteY131" fmla="*/ 1974227 h 2323145"/>
              <a:gd name="connsiteX132" fmla="*/ 5473107 w 11269336"/>
              <a:gd name="connsiteY132" fmla="*/ 1979001 h 2323145"/>
              <a:gd name="connsiteX133" fmla="*/ 5470885 w 11269336"/>
              <a:gd name="connsiteY133" fmla="*/ 1978432 h 2323145"/>
              <a:gd name="connsiteX134" fmla="*/ 5457393 w 11269336"/>
              <a:gd name="connsiteY134" fmla="*/ 1986525 h 2323145"/>
              <a:gd name="connsiteX135" fmla="*/ 5447102 w 11269336"/>
              <a:gd name="connsiteY135" fmla="*/ 1998329 h 2323145"/>
              <a:gd name="connsiteX136" fmla="*/ 5159151 w 11269336"/>
              <a:gd name="connsiteY136" fmla="*/ 2029640 h 2323145"/>
              <a:gd name="connsiteX137" fmla="*/ 5041688 w 11269336"/>
              <a:gd name="connsiteY137" fmla="*/ 2022334 h 2323145"/>
              <a:gd name="connsiteX138" fmla="*/ 4860988 w 11269336"/>
              <a:gd name="connsiteY138" fmla="*/ 2135698 h 2323145"/>
              <a:gd name="connsiteX139" fmla="*/ 4807902 w 11269336"/>
              <a:gd name="connsiteY139" fmla="*/ 2138894 h 2323145"/>
              <a:gd name="connsiteX140" fmla="*/ 4765388 w 11269336"/>
              <a:gd name="connsiteY140" fmla="*/ 2162525 h 2323145"/>
              <a:gd name="connsiteX141" fmla="*/ 4745033 w 11269336"/>
              <a:gd name="connsiteY141" fmla="*/ 2158859 h 2323145"/>
              <a:gd name="connsiteX142" fmla="*/ 4741475 w 11269336"/>
              <a:gd name="connsiteY142" fmla="*/ 2157998 h 2323145"/>
              <a:gd name="connsiteX143" fmla="*/ 4728247 w 11269336"/>
              <a:gd name="connsiteY143" fmla="*/ 2159526 h 2323145"/>
              <a:gd name="connsiteX144" fmla="*/ 4723263 w 11269336"/>
              <a:gd name="connsiteY144" fmla="*/ 2153742 h 2323145"/>
              <a:gd name="connsiteX145" fmla="*/ 4702453 w 11269336"/>
              <a:gd name="connsiteY145" fmla="*/ 2151586 h 2323145"/>
              <a:gd name="connsiteX146" fmla="*/ 4678455 w 11269336"/>
              <a:gd name="connsiteY146" fmla="*/ 2156131 h 2323145"/>
              <a:gd name="connsiteX147" fmla="*/ 4593061 w 11269336"/>
              <a:gd name="connsiteY147" fmla="*/ 2171597 h 2323145"/>
              <a:gd name="connsiteX148" fmla="*/ 4579902 w 11269336"/>
              <a:gd name="connsiteY148" fmla="*/ 2177927 h 2323145"/>
              <a:gd name="connsiteX149" fmla="*/ 4533444 w 11269336"/>
              <a:gd name="connsiteY149" fmla="*/ 2181200 h 2323145"/>
              <a:gd name="connsiteX150" fmla="*/ 4492832 w 11269336"/>
              <a:gd name="connsiteY150" fmla="*/ 2188033 h 2323145"/>
              <a:gd name="connsiteX151" fmla="*/ 4467257 w 11269336"/>
              <a:gd name="connsiteY151" fmla="*/ 2196121 h 2323145"/>
              <a:gd name="connsiteX152" fmla="*/ 4459937 w 11269336"/>
              <a:gd name="connsiteY152" fmla="*/ 2195182 h 2323145"/>
              <a:gd name="connsiteX153" fmla="*/ 4433312 w 11269336"/>
              <a:gd name="connsiteY153" fmla="*/ 2199004 h 2323145"/>
              <a:gd name="connsiteX154" fmla="*/ 4420601 w 11269336"/>
              <a:gd name="connsiteY154" fmla="*/ 2205158 h 2323145"/>
              <a:gd name="connsiteX155" fmla="*/ 4405765 w 11269336"/>
              <a:gd name="connsiteY155" fmla="*/ 2199902 h 2323145"/>
              <a:gd name="connsiteX156" fmla="*/ 4401354 w 11269336"/>
              <a:gd name="connsiteY156" fmla="*/ 2194745 h 2323145"/>
              <a:gd name="connsiteX157" fmla="*/ 4383151 w 11269336"/>
              <a:gd name="connsiteY157" fmla="*/ 2201140 h 2323145"/>
              <a:gd name="connsiteX158" fmla="*/ 4366646 w 11269336"/>
              <a:gd name="connsiteY158" fmla="*/ 2198564 h 2323145"/>
              <a:gd name="connsiteX159" fmla="*/ 4354009 w 11269336"/>
              <a:gd name="connsiteY159" fmla="*/ 2204984 h 2323145"/>
              <a:gd name="connsiteX160" fmla="*/ 4348284 w 11269336"/>
              <a:gd name="connsiteY160" fmla="*/ 2205270 h 2323145"/>
              <a:gd name="connsiteX161" fmla="*/ 4333906 w 11269336"/>
              <a:gd name="connsiteY161" fmla="*/ 2205251 h 2323145"/>
              <a:gd name="connsiteX162" fmla="*/ 4308819 w 11269336"/>
              <a:gd name="connsiteY162" fmla="*/ 2203822 h 2323145"/>
              <a:gd name="connsiteX163" fmla="*/ 4301210 w 11269336"/>
              <a:gd name="connsiteY163" fmla="*/ 2204456 h 2323145"/>
              <a:gd name="connsiteX164" fmla="*/ 4283095 w 11269336"/>
              <a:gd name="connsiteY164" fmla="*/ 2198177 h 2323145"/>
              <a:gd name="connsiteX165" fmla="*/ 4250119 w 11269336"/>
              <a:gd name="connsiteY165" fmla="*/ 2196342 h 2323145"/>
              <a:gd name="connsiteX166" fmla="*/ 4189203 w 11269336"/>
              <a:gd name="connsiteY166" fmla="*/ 2178994 h 2323145"/>
              <a:gd name="connsiteX167" fmla="*/ 4154035 w 11269336"/>
              <a:gd name="connsiteY167" fmla="*/ 2171950 h 2323145"/>
              <a:gd name="connsiteX168" fmla="*/ 4129569 w 11269336"/>
              <a:gd name="connsiteY168" fmla="*/ 2163850 h 2323145"/>
              <a:gd name="connsiteX169" fmla="*/ 4061250 w 11269336"/>
              <a:gd name="connsiteY169" fmla="*/ 2159236 h 2323145"/>
              <a:gd name="connsiteX170" fmla="*/ 3945480 w 11269336"/>
              <a:gd name="connsiteY170" fmla="*/ 2158279 h 2323145"/>
              <a:gd name="connsiteX171" fmla="*/ 3921468 w 11269336"/>
              <a:gd name="connsiteY171" fmla="*/ 2156588 h 2323145"/>
              <a:gd name="connsiteX172" fmla="*/ 3903348 w 11269336"/>
              <a:gd name="connsiteY172" fmla="*/ 2149220 h 2323145"/>
              <a:gd name="connsiteX173" fmla="*/ 3901342 w 11269336"/>
              <a:gd name="connsiteY173" fmla="*/ 2142355 h 2323145"/>
              <a:gd name="connsiteX174" fmla="*/ 3888539 w 11269336"/>
              <a:gd name="connsiteY174" fmla="*/ 2140476 h 2323145"/>
              <a:gd name="connsiteX175" fmla="*/ 3885662 w 11269336"/>
              <a:gd name="connsiteY175" fmla="*/ 2138740 h 2323145"/>
              <a:gd name="connsiteX176" fmla="*/ 3868627 w 11269336"/>
              <a:gd name="connsiteY176" fmla="*/ 2130023 h 2323145"/>
              <a:gd name="connsiteX177" fmla="*/ 3819177 w 11269336"/>
              <a:gd name="connsiteY177" fmla="*/ 2142111 h 2323145"/>
              <a:gd name="connsiteX178" fmla="*/ 3769100 w 11269336"/>
              <a:gd name="connsiteY178" fmla="*/ 2131731 h 2323145"/>
              <a:gd name="connsiteX179" fmla="*/ 3562752 w 11269336"/>
              <a:gd name="connsiteY179" fmla="*/ 2131785 h 2323145"/>
              <a:gd name="connsiteX180" fmla="*/ 3541402 w 11269336"/>
              <a:gd name="connsiteY180" fmla="*/ 2106821 h 2323145"/>
              <a:gd name="connsiteX181" fmla="*/ 3365341 w 11269336"/>
              <a:gd name="connsiteY181" fmla="*/ 2077638 h 2323145"/>
              <a:gd name="connsiteX182" fmla="*/ 3170922 w 11269336"/>
              <a:gd name="connsiteY182" fmla="*/ 2115957 h 2323145"/>
              <a:gd name="connsiteX183" fmla="*/ 3156256 w 11269336"/>
              <a:gd name="connsiteY183" fmla="*/ 2124773 h 2323145"/>
              <a:gd name="connsiteX184" fmla="*/ 3140298 w 11269336"/>
              <a:gd name="connsiteY184" fmla="*/ 2129182 h 2323145"/>
              <a:gd name="connsiteX185" fmla="*/ 3138514 w 11269336"/>
              <a:gd name="connsiteY185" fmla="*/ 2128069 h 2323145"/>
              <a:gd name="connsiteX186" fmla="*/ 3120467 w 11269336"/>
              <a:gd name="connsiteY186" fmla="*/ 2128281 h 2323145"/>
              <a:gd name="connsiteX187" fmla="*/ 3116175 w 11269336"/>
              <a:gd name="connsiteY187" fmla="*/ 2131633 h 2323145"/>
              <a:gd name="connsiteX188" fmla="*/ 3103685 w 11269336"/>
              <a:gd name="connsiteY188" fmla="*/ 2132814 h 2323145"/>
              <a:gd name="connsiteX189" fmla="*/ 3078794 w 11269336"/>
              <a:gd name="connsiteY189" fmla="*/ 2137935 h 2323145"/>
              <a:gd name="connsiteX190" fmla="*/ 3074407 w 11269336"/>
              <a:gd name="connsiteY190" fmla="*/ 2136274 h 2323145"/>
              <a:gd name="connsiteX191" fmla="*/ 3037285 w 11269336"/>
              <a:gd name="connsiteY191" fmla="*/ 2139919 h 2323145"/>
              <a:gd name="connsiteX192" fmla="*/ 3036901 w 11269336"/>
              <a:gd name="connsiteY192" fmla="*/ 2138726 h 2323145"/>
              <a:gd name="connsiteX193" fmla="*/ 3026996 w 11269336"/>
              <a:gd name="connsiteY193" fmla="*/ 2134322 h 2323145"/>
              <a:gd name="connsiteX194" fmla="*/ 3007772 w 11269336"/>
              <a:gd name="connsiteY194" fmla="*/ 2128742 h 2323145"/>
              <a:gd name="connsiteX195" fmla="*/ 2965030 w 11269336"/>
              <a:gd name="connsiteY195" fmla="*/ 2100494 h 2323145"/>
              <a:gd name="connsiteX196" fmla="*/ 2926342 w 11269336"/>
              <a:gd name="connsiteY196" fmla="*/ 2104155 h 2323145"/>
              <a:gd name="connsiteX197" fmla="*/ 2918608 w 11269336"/>
              <a:gd name="connsiteY197" fmla="*/ 2104215 h 2323145"/>
              <a:gd name="connsiteX198" fmla="*/ 2918475 w 11269336"/>
              <a:gd name="connsiteY198" fmla="*/ 2103937 h 2323145"/>
              <a:gd name="connsiteX199" fmla="*/ 2910360 w 11269336"/>
              <a:gd name="connsiteY199" fmla="*/ 2103444 h 2323145"/>
              <a:gd name="connsiteX200" fmla="*/ 2904507 w 11269336"/>
              <a:gd name="connsiteY200" fmla="*/ 2104326 h 2323145"/>
              <a:gd name="connsiteX201" fmla="*/ 2889503 w 11269336"/>
              <a:gd name="connsiteY201" fmla="*/ 2104443 h 2323145"/>
              <a:gd name="connsiteX202" fmla="*/ 2884480 w 11269336"/>
              <a:gd name="connsiteY202" fmla="*/ 2102626 h 2323145"/>
              <a:gd name="connsiteX203" fmla="*/ 2882689 w 11269336"/>
              <a:gd name="connsiteY203" fmla="*/ 2099228 h 2323145"/>
              <a:gd name="connsiteX204" fmla="*/ 2881291 w 11269336"/>
              <a:gd name="connsiteY204" fmla="*/ 2099618 h 2323145"/>
              <a:gd name="connsiteX205" fmla="*/ 2853979 w 11269336"/>
              <a:gd name="connsiteY205" fmla="*/ 2090388 h 2323145"/>
              <a:gd name="connsiteX206" fmla="*/ 2791790 w 11269336"/>
              <a:gd name="connsiteY206" fmla="*/ 2080332 h 2323145"/>
              <a:gd name="connsiteX207" fmla="*/ 2755844 w 11269336"/>
              <a:gd name="connsiteY207" fmla="*/ 2078874 h 2323145"/>
              <a:gd name="connsiteX208" fmla="*/ 2657742 w 11269336"/>
              <a:gd name="connsiteY208" fmla="*/ 2070179 h 2323145"/>
              <a:gd name="connsiteX209" fmla="*/ 2559549 w 11269336"/>
              <a:gd name="connsiteY209" fmla="*/ 2057873 h 2323145"/>
              <a:gd name="connsiteX210" fmla="*/ 2512054 w 11269336"/>
              <a:gd name="connsiteY210" fmla="*/ 2031671 h 2323145"/>
              <a:gd name="connsiteX211" fmla="*/ 2506437 w 11269336"/>
              <a:gd name="connsiteY211" fmla="*/ 2030918 h 2323145"/>
              <a:gd name="connsiteX212" fmla="*/ 2491752 w 11269336"/>
              <a:gd name="connsiteY212" fmla="*/ 2033906 h 2323145"/>
              <a:gd name="connsiteX213" fmla="*/ 2486338 w 11269336"/>
              <a:gd name="connsiteY213" fmla="*/ 2035862 h 2323145"/>
              <a:gd name="connsiteX214" fmla="*/ 2478186 w 11269336"/>
              <a:gd name="connsiteY214" fmla="*/ 2036953 h 2323145"/>
              <a:gd name="connsiteX215" fmla="*/ 2477950 w 11269336"/>
              <a:gd name="connsiteY215" fmla="*/ 2036715 h 2323145"/>
              <a:gd name="connsiteX216" fmla="*/ 2470381 w 11269336"/>
              <a:gd name="connsiteY216" fmla="*/ 2038256 h 2323145"/>
              <a:gd name="connsiteX217" fmla="*/ 2433781 w 11269336"/>
              <a:gd name="connsiteY217" fmla="*/ 2049140 h 2323145"/>
              <a:gd name="connsiteX218" fmla="*/ 2381172 w 11269336"/>
              <a:gd name="connsiteY218" fmla="*/ 2030645 h 2323145"/>
              <a:gd name="connsiteX219" fmla="*/ 2360198 w 11269336"/>
              <a:gd name="connsiteY219" fmla="*/ 2029059 h 2323145"/>
              <a:gd name="connsiteX220" fmla="*/ 2348815 w 11269336"/>
              <a:gd name="connsiteY220" fmla="*/ 2026798 h 2323145"/>
              <a:gd name="connsiteX221" fmla="*/ 2347988 w 11269336"/>
              <a:gd name="connsiteY221" fmla="*/ 2025745 h 2323145"/>
              <a:gd name="connsiteX222" fmla="*/ 2312920 w 11269336"/>
              <a:gd name="connsiteY222" fmla="*/ 2036311 h 2323145"/>
              <a:gd name="connsiteX223" fmla="*/ 2307986 w 11269336"/>
              <a:gd name="connsiteY223" fmla="*/ 2035583 h 2323145"/>
              <a:gd name="connsiteX224" fmla="*/ 2285481 w 11269336"/>
              <a:gd name="connsiteY224" fmla="*/ 2045197 h 2323145"/>
              <a:gd name="connsiteX225" fmla="*/ 2273666 w 11269336"/>
              <a:gd name="connsiteY225" fmla="*/ 2048710 h 2323145"/>
              <a:gd name="connsiteX226" fmla="*/ 2270719 w 11269336"/>
              <a:gd name="connsiteY226" fmla="*/ 2052702 h 2323145"/>
              <a:gd name="connsiteX227" fmla="*/ 2253080 w 11269336"/>
              <a:gd name="connsiteY227" fmla="*/ 2056363 h 2323145"/>
              <a:gd name="connsiteX228" fmla="*/ 2250906 w 11269336"/>
              <a:gd name="connsiteY228" fmla="*/ 2055654 h 2323145"/>
              <a:gd name="connsiteX229" fmla="*/ 2236905 w 11269336"/>
              <a:gd name="connsiteY229" fmla="*/ 2062882 h 2323145"/>
              <a:gd name="connsiteX230" fmla="*/ 2225830 w 11269336"/>
              <a:gd name="connsiteY230" fmla="*/ 2074027 h 2323145"/>
              <a:gd name="connsiteX231" fmla="*/ 2073776 w 11269336"/>
              <a:gd name="connsiteY231" fmla="*/ 2089244 h 2323145"/>
              <a:gd name="connsiteX232" fmla="*/ 1948256 w 11269336"/>
              <a:gd name="connsiteY232" fmla="*/ 2146616 h 2323145"/>
              <a:gd name="connsiteX233" fmla="*/ 1865582 w 11269336"/>
              <a:gd name="connsiteY233" fmla="*/ 2153738 h 2323145"/>
              <a:gd name="connsiteX234" fmla="*/ 1835210 w 11269336"/>
              <a:gd name="connsiteY234" fmla="*/ 2134244 h 2323145"/>
              <a:gd name="connsiteX235" fmla="*/ 1632661 w 11269336"/>
              <a:gd name="connsiteY235" fmla="*/ 2173882 h 2323145"/>
              <a:gd name="connsiteX236" fmla="*/ 1579590 w 11269336"/>
              <a:gd name="connsiteY236" fmla="*/ 2173680 h 2323145"/>
              <a:gd name="connsiteX237" fmla="*/ 1535601 w 11269336"/>
              <a:gd name="connsiteY237" fmla="*/ 2194590 h 2323145"/>
              <a:gd name="connsiteX238" fmla="*/ 1515594 w 11269336"/>
              <a:gd name="connsiteY238" fmla="*/ 2189622 h 2323145"/>
              <a:gd name="connsiteX239" fmla="*/ 1512113 w 11269336"/>
              <a:gd name="connsiteY239" fmla="*/ 2188534 h 2323145"/>
              <a:gd name="connsiteX240" fmla="*/ 1498838 w 11269336"/>
              <a:gd name="connsiteY240" fmla="*/ 2189213 h 2323145"/>
              <a:gd name="connsiteX241" fmla="*/ 1494279 w 11269336"/>
              <a:gd name="connsiteY241" fmla="*/ 2183112 h 2323145"/>
              <a:gd name="connsiteX242" fmla="*/ 1473714 w 11269336"/>
              <a:gd name="connsiteY242" fmla="*/ 2179625 h 2323145"/>
              <a:gd name="connsiteX243" fmla="*/ 1449503 w 11269336"/>
              <a:gd name="connsiteY243" fmla="*/ 2182633 h 2323145"/>
              <a:gd name="connsiteX244" fmla="*/ 1266687 w 11269336"/>
              <a:gd name="connsiteY244" fmla="*/ 2212688 h 2323145"/>
              <a:gd name="connsiteX245" fmla="*/ 1239614 w 11269336"/>
              <a:gd name="connsiteY245" fmla="*/ 2209727 h 2323145"/>
              <a:gd name="connsiteX246" fmla="*/ 1202436 w 11269336"/>
              <a:gd name="connsiteY246" fmla="*/ 2209817 h 2323145"/>
              <a:gd name="connsiteX247" fmla="*/ 1136097 w 11269336"/>
              <a:gd name="connsiteY247" fmla="*/ 2205112 h 2323145"/>
              <a:gd name="connsiteX248" fmla="*/ 988232 w 11269336"/>
              <a:gd name="connsiteY248" fmla="*/ 2235635 h 2323145"/>
              <a:gd name="connsiteX249" fmla="*/ 981959 w 11269336"/>
              <a:gd name="connsiteY249" fmla="*/ 2231607 h 2323145"/>
              <a:gd name="connsiteX250" fmla="*/ 938600 w 11269336"/>
              <a:gd name="connsiteY250" fmla="*/ 2238113 h 2323145"/>
              <a:gd name="connsiteX251" fmla="*/ 791788 w 11269336"/>
              <a:gd name="connsiteY251" fmla="*/ 2293224 h 2323145"/>
              <a:gd name="connsiteX252" fmla="*/ 706914 w 11269336"/>
              <a:gd name="connsiteY252" fmla="*/ 2305046 h 2323145"/>
              <a:gd name="connsiteX253" fmla="*/ 675971 w 11269336"/>
              <a:gd name="connsiteY253" fmla="*/ 2304030 h 2323145"/>
              <a:gd name="connsiteX254" fmla="*/ 624180 w 11269336"/>
              <a:gd name="connsiteY254" fmla="*/ 2302650 h 2323145"/>
              <a:gd name="connsiteX255" fmla="*/ 583453 w 11269336"/>
              <a:gd name="connsiteY255" fmla="*/ 2288788 h 2323145"/>
              <a:gd name="connsiteX256" fmla="*/ 540946 w 11269336"/>
              <a:gd name="connsiteY256" fmla="*/ 2292721 h 2323145"/>
              <a:gd name="connsiteX257" fmla="*/ 533680 w 11269336"/>
              <a:gd name="connsiteY257" fmla="*/ 2310233 h 2323145"/>
              <a:gd name="connsiteX258" fmla="*/ 487366 w 11269336"/>
              <a:gd name="connsiteY258" fmla="*/ 2309053 h 2323145"/>
              <a:gd name="connsiteX259" fmla="*/ 416820 w 11269336"/>
              <a:gd name="connsiteY259" fmla="*/ 2305443 h 2323145"/>
              <a:gd name="connsiteX260" fmla="*/ 376805 w 11269336"/>
              <a:gd name="connsiteY260" fmla="*/ 2307647 h 2323145"/>
              <a:gd name="connsiteX261" fmla="*/ 266777 w 11269336"/>
              <a:gd name="connsiteY261" fmla="*/ 2309012 h 2323145"/>
              <a:gd name="connsiteX262" fmla="*/ 156013 w 11269336"/>
              <a:gd name="connsiteY262" fmla="*/ 2306832 h 2323145"/>
              <a:gd name="connsiteX263" fmla="*/ 87258 w 11269336"/>
              <a:gd name="connsiteY263" fmla="*/ 2285511 h 2323145"/>
              <a:gd name="connsiteX264" fmla="*/ 23798 w 11269336"/>
              <a:gd name="connsiteY264" fmla="*/ 2281822 h 2323145"/>
              <a:gd name="connsiteX265" fmla="*/ 0 w 11269336"/>
              <a:gd name="connsiteY265" fmla="*/ 2285369 h 2323145"/>
              <a:gd name="connsiteX266" fmla="*/ 0 w 11269336"/>
              <a:gd name="connsiteY26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028928 w 11269336"/>
              <a:gd name="connsiteY21" fmla="*/ 745350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028928 w 11269336"/>
              <a:gd name="connsiteY21" fmla="*/ 745350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9070855 w 11269336"/>
              <a:gd name="connsiteY23" fmla="*/ 794621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9070855 w 11269336"/>
              <a:gd name="connsiteY23" fmla="*/ 794621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795998 w 11269336"/>
              <a:gd name="connsiteY29" fmla="*/ 863337 h 2323145"/>
              <a:gd name="connsiteX30" fmla="*/ 8776970 w 11269336"/>
              <a:gd name="connsiteY30" fmla="*/ 885177 h 2323145"/>
              <a:gd name="connsiteX31" fmla="*/ 8755719 w 11269336"/>
              <a:gd name="connsiteY31" fmla="*/ 889754 h 2323145"/>
              <a:gd name="connsiteX32" fmla="*/ 8743257 w 11269336"/>
              <a:gd name="connsiteY32" fmla="*/ 904723 h 2323145"/>
              <a:gd name="connsiteX33" fmla="*/ 8721366 w 11269336"/>
              <a:gd name="connsiteY33" fmla="*/ 904711 h 2323145"/>
              <a:gd name="connsiteX34" fmla="*/ 8678353 w 11269336"/>
              <a:gd name="connsiteY34" fmla="*/ 926318 h 2323145"/>
              <a:gd name="connsiteX35" fmla="*/ 8636849 w 11269336"/>
              <a:gd name="connsiteY35" fmla="*/ 937900 h 2323145"/>
              <a:gd name="connsiteX36" fmla="*/ 8620213 w 11269336"/>
              <a:gd name="connsiteY36" fmla="*/ 943068 h 2323145"/>
              <a:gd name="connsiteX37" fmla="*/ 8612581 w 11269336"/>
              <a:gd name="connsiteY37" fmla="*/ 952695 h 2323145"/>
              <a:gd name="connsiteX38" fmla="*/ 8589038 w 11269336"/>
              <a:gd name="connsiteY38" fmla="*/ 963892 h 2323145"/>
              <a:gd name="connsiteX39" fmla="*/ 8579950 w 11269336"/>
              <a:gd name="connsiteY39" fmla="*/ 960899 h 2323145"/>
              <a:gd name="connsiteX40" fmla="*/ 8579319 w 11269336"/>
              <a:gd name="connsiteY40" fmla="*/ 965630 h 2323145"/>
              <a:gd name="connsiteX41" fmla="*/ 8547429 w 11269336"/>
              <a:gd name="connsiteY41" fmla="*/ 984506 h 2323145"/>
              <a:gd name="connsiteX42" fmla="*/ 8478704 w 11269336"/>
              <a:gd name="connsiteY42" fmla="*/ 1025490 h 2323145"/>
              <a:gd name="connsiteX43" fmla="*/ 8461421 w 11269336"/>
              <a:gd name="connsiteY43" fmla="*/ 1035512 h 2323145"/>
              <a:gd name="connsiteX44" fmla="*/ 8445003 w 11269336"/>
              <a:gd name="connsiteY44" fmla="*/ 1036851 h 2323145"/>
              <a:gd name="connsiteX45" fmla="*/ 8357350 w 11269336"/>
              <a:gd name="connsiteY45" fmla="*/ 1060213 h 2323145"/>
              <a:gd name="connsiteX46" fmla="*/ 8335565 w 11269336"/>
              <a:gd name="connsiteY46" fmla="*/ 1061151 h 2323145"/>
              <a:gd name="connsiteX47" fmla="*/ 8325267 w 11269336"/>
              <a:gd name="connsiteY47" fmla="*/ 1055919 h 2323145"/>
              <a:gd name="connsiteX48" fmla="*/ 8293586 w 11269336"/>
              <a:gd name="connsiteY48" fmla="*/ 1076144 h 2323145"/>
              <a:gd name="connsiteX49" fmla="*/ 8242405 w 11269336"/>
              <a:gd name="connsiteY49" fmla="*/ 1095960 h 2323145"/>
              <a:gd name="connsiteX50" fmla="*/ 8197391 w 11269336"/>
              <a:gd name="connsiteY50" fmla="*/ 1107746 h 2323145"/>
              <a:gd name="connsiteX51" fmla="*/ 8081474 w 11269336"/>
              <a:gd name="connsiteY51" fmla="*/ 1130125 h 2323145"/>
              <a:gd name="connsiteX52" fmla="*/ 8053585 w 11269336"/>
              <a:gd name="connsiteY52" fmla="*/ 1129169 h 2323145"/>
              <a:gd name="connsiteX53" fmla="*/ 8038422 w 11269336"/>
              <a:gd name="connsiteY53" fmla="*/ 1119092 h 2323145"/>
              <a:gd name="connsiteX54" fmla="*/ 8029450 w 11269336"/>
              <a:gd name="connsiteY54" fmla="*/ 1125592 h 2323145"/>
              <a:gd name="connsiteX55" fmla="*/ 7959552 w 11269336"/>
              <a:gd name="connsiteY55" fmla="*/ 1140188 h 2323145"/>
              <a:gd name="connsiteX56" fmla="*/ 7914188 w 11269336"/>
              <a:gd name="connsiteY56" fmla="*/ 1150862 h 2323145"/>
              <a:gd name="connsiteX57" fmla="*/ 7914918 w 11269336"/>
              <a:gd name="connsiteY57" fmla="*/ 1168758 h 2323145"/>
              <a:gd name="connsiteX58" fmla="*/ 7875510 w 11269336"/>
              <a:gd name="connsiteY58" fmla="*/ 1183153 h 2323145"/>
              <a:gd name="connsiteX59" fmla="*/ 7829932 w 11269336"/>
              <a:gd name="connsiteY59" fmla="*/ 1180782 h 2323145"/>
              <a:gd name="connsiteX60" fmla="*/ 7779182 w 11269336"/>
              <a:gd name="connsiteY60" fmla="*/ 1192665 h 2323145"/>
              <a:gd name="connsiteX61" fmla="*/ 7748774 w 11269336"/>
              <a:gd name="connsiteY61" fmla="*/ 1199586 h 2323145"/>
              <a:gd name="connsiteX62" fmla="*/ 7671846 w 11269336"/>
              <a:gd name="connsiteY62" fmla="*/ 1231966 h 2323145"/>
              <a:gd name="connsiteX63" fmla="*/ 7554146 w 11269336"/>
              <a:gd name="connsiteY63" fmla="*/ 1319748 h 2323145"/>
              <a:gd name="connsiteX64" fmla="*/ 7515052 w 11269336"/>
              <a:gd name="connsiteY64" fmla="*/ 1336718 h 2323145"/>
              <a:gd name="connsiteX65" fmla="*/ 7507193 w 11269336"/>
              <a:gd name="connsiteY65" fmla="*/ 1334617 h 2323145"/>
              <a:gd name="connsiteX66" fmla="*/ 7461694 w 11269336"/>
              <a:gd name="connsiteY66" fmla="*/ 1375866 h 2323145"/>
              <a:gd name="connsiteX67" fmla="*/ 7377571 w 11269336"/>
              <a:gd name="connsiteY67" fmla="*/ 1400128 h 2323145"/>
              <a:gd name="connsiteX68" fmla="*/ 7311261 w 11269336"/>
              <a:gd name="connsiteY68" fmla="*/ 1412652 h 2323145"/>
              <a:gd name="connsiteX69" fmla="*/ 7275307 w 11269336"/>
              <a:gd name="connsiteY69" fmla="*/ 1422171 h 2323145"/>
              <a:gd name="connsiteX70" fmla="*/ 7247783 w 11269336"/>
              <a:gd name="connsiteY70" fmla="*/ 1426330 h 2323145"/>
              <a:gd name="connsiteX71" fmla="*/ 7185047 w 11269336"/>
              <a:gd name="connsiteY71" fmla="*/ 1451812 h 2323145"/>
              <a:gd name="connsiteX72" fmla="*/ 7084117 w 11269336"/>
              <a:gd name="connsiteY72" fmla="*/ 1500281 h 2323145"/>
              <a:gd name="connsiteX73" fmla="*/ 7062011 w 11269336"/>
              <a:gd name="connsiteY73" fmla="*/ 1509183 h 2323145"/>
              <a:gd name="connsiteX74" fmla="*/ 7040555 w 11269336"/>
              <a:gd name="connsiteY74" fmla="*/ 1511207 h 2323145"/>
              <a:gd name="connsiteX75" fmla="*/ 7033438 w 11269336"/>
              <a:gd name="connsiteY75" fmla="*/ 1506772 h 2323145"/>
              <a:gd name="connsiteX76" fmla="*/ 7020886 w 11269336"/>
              <a:gd name="connsiteY76" fmla="*/ 1510764 h 2323145"/>
              <a:gd name="connsiteX77" fmla="*/ 7017033 w 11269336"/>
              <a:gd name="connsiteY77" fmla="*/ 1510650 h 2323145"/>
              <a:gd name="connsiteX78" fmla="*/ 6995460 w 11269336"/>
              <a:gd name="connsiteY78" fmla="*/ 1511173 h 2323145"/>
              <a:gd name="connsiteX79" fmla="*/ 6962144 w 11269336"/>
              <a:gd name="connsiteY79" fmla="*/ 1541508 h 2323145"/>
              <a:gd name="connsiteX80" fmla="*/ 6910674 w 11269336"/>
              <a:gd name="connsiteY80" fmla="*/ 1554793 h 2323145"/>
              <a:gd name="connsiteX81" fmla="*/ 6732152 w 11269336"/>
              <a:gd name="connsiteY81" fmla="*/ 1642538 h 2323145"/>
              <a:gd name="connsiteX82" fmla="*/ 6694106 w 11269336"/>
              <a:gd name="connsiteY82" fmla="*/ 1632377 h 2323145"/>
              <a:gd name="connsiteX83" fmla="*/ 6617223 w 11269336"/>
              <a:gd name="connsiteY83" fmla="*/ 1659889 h 2323145"/>
              <a:gd name="connsiteX84" fmla="*/ 6521138 w 11269336"/>
              <a:gd name="connsiteY84" fmla="*/ 1744340 h 2323145"/>
              <a:gd name="connsiteX85" fmla="*/ 6380677 w 11269336"/>
              <a:gd name="connsiteY85" fmla="*/ 1796883 h 2323145"/>
              <a:gd name="connsiteX86" fmla="*/ 6374897 w 11269336"/>
              <a:gd name="connsiteY86" fmla="*/ 1809910 h 2323145"/>
              <a:gd name="connsiteX87" fmla="*/ 6364545 w 11269336"/>
              <a:gd name="connsiteY87" fmla="*/ 1820090 h 2323145"/>
              <a:gd name="connsiteX88" fmla="*/ 6362126 w 11269336"/>
              <a:gd name="connsiteY88" fmla="*/ 1819991 h 2323145"/>
              <a:gd name="connsiteX89" fmla="*/ 6346673 w 11269336"/>
              <a:gd name="connsiteY89" fmla="*/ 1827824 h 2323145"/>
              <a:gd name="connsiteX90" fmla="*/ 6345588 w 11269336"/>
              <a:gd name="connsiteY90" fmla="*/ 1832232 h 2323145"/>
              <a:gd name="connsiteX91" fmla="*/ 6335708 w 11269336"/>
              <a:gd name="connsiteY91" fmla="*/ 1838451 h 2323145"/>
              <a:gd name="connsiteX92" fmla="*/ 6318182 w 11269336"/>
              <a:gd name="connsiteY92" fmla="*/ 1852975 h 2323145"/>
              <a:gd name="connsiteX93" fmla="*/ 6313084 w 11269336"/>
              <a:gd name="connsiteY93" fmla="*/ 1853561 h 2323145"/>
              <a:gd name="connsiteX94" fmla="*/ 6283816 w 11269336"/>
              <a:gd name="connsiteY94" fmla="*/ 1872148 h 2323145"/>
              <a:gd name="connsiteX95" fmla="*/ 6282550 w 11269336"/>
              <a:gd name="connsiteY95" fmla="*/ 1871392 h 2323145"/>
              <a:gd name="connsiteX96" fmla="*/ 6270527 w 11269336"/>
              <a:gd name="connsiteY96" fmla="*/ 1872208 h 2323145"/>
              <a:gd name="connsiteX97" fmla="*/ 6249518 w 11269336"/>
              <a:gd name="connsiteY97" fmla="*/ 1876079 h 2323145"/>
              <a:gd name="connsiteX98" fmla="*/ 6190386 w 11269336"/>
              <a:gd name="connsiteY98" fmla="*/ 1872478 h 2323145"/>
              <a:gd name="connsiteX99" fmla="*/ 6159777 w 11269336"/>
              <a:gd name="connsiteY99" fmla="*/ 1891745 h 2323145"/>
              <a:gd name="connsiteX100" fmla="*/ 6153131 w 11269336"/>
              <a:gd name="connsiteY100" fmla="*/ 1895079 h 2323145"/>
              <a:gd name="connsiteX101" fmla="*/ 6152798 w 11269336"/>
              <a:gd name="connsiteY101" fmla="*/ 1894920 h 2323145"/>
              <a:gd name="connsiteX102" fmla="*/ 6145388 w 11269336"/>
              <a:gd name="connsiteY102" fmla="*/ 1897990 h 2323145"/>
              <a:gd name="connsiteX103" fmla="*/ 6141014 w 11269336"/>
              <a:gd name="connsiteY103" fmla="*/ 1901155 h 2323145"/>
              <a:gd name="connsiteX104" fmla="*/ 6128122 w 11269336"/>
              <a:gd name="connsiteY104" fmla="*/ 1907623 h 2323145"/>
              <a:gd name="connsiteX105" fmla="*/ 6122351 w 11269336"/>
              <a:gd name="connsiteY105" fmla="*/ 1908359 h 2323145"/>
              <a:gd name="connsiteX106" fmla="*/ 6064750 w 11269336"/>
              <a:gd name="connsiteY106" fmla="*/ 1896394 h 2323145"/>
              <a:gd name="connsiteX107" fmla="*/ 5964230 w 11269336"/>
              <a:gd name="connsiteY107" fmla="*/ 1910038 h 2323145"/>
              <a:gd name="connsiteX108" fmla="*/ 5865399 w 11269336"/>
              <a:gd name="connsiteY108" fmla="*/ 1926966 h 2323145"/>
              <a:gd name="connsiteX109" fmla="*/ 5829951 w 11269336"/>
              <a:gd name="connsiteY109" fmla="*/ 1934755 h 2323145"/>
              <a:gd name="connsiteX110" fmla="*/ 5765285 w 11269336"/>
              <a:gd name="connsiteY110" fmla="*/ 1941322 h 2323145"/>
              <a:gd name="connsiteX111" fmla="*/ 5734750 w 11269336"/>
              <a:gd name="connsiteY111" fmla="*/ 1939793 h 2323145"/>
              <a:gd name="connsiteX112" fmla="*/ 5733569 w 11269336"/>
              <a:gd name="connsiteY112" fmla="*/ 1940505 h 2323145"/>
              <a:gd name="connsiteX113" fmla="*/ 5730329 w 11269336"/>
              <a:gd name="connsiteY113" fmla="*/ 1937845 h 2323145"/>
              <a:gd name="connsiteX114" fmla="*/ 5724661 w 11269336"/>
              <a:gd name="connsiteY114" fmla="*/ 1937455 h 2323145"/>
              <a:gd name="connsiteX115" fmla="*/ 5710186 w 11269336"/>
              <a:gd name="connsiteY115" fmla="*/ 1941370 h 2323145"/>
              <a:gd name="connsiteX116" fmla="*/ 5704910 w 11269336"/>
              <a:gd name="connsiteY116" fmla="*/ 1943663 h 2323145"/>
              <a:gd name="connsiteX117" fmla="*/ 5696836 w 11269336"/>
              <a:gd name="connsiteY117" fmla="*/ 1945271 h 2323145"/>
              <a:gd name="connsiteX118" fmla="*/ 5696583 w 11269336"/>
              <a:gd name="connsiteY118" fmla="*/ 1945050 h 2323145"/>
              <a:gd name="connsiteX119" fmla="*/ 5689123 w 11269336"/>
              <a:gd name="connsiteY119" fmla="*/ 1947067 h 2323145"/>
              <a:gd name="connsiteX120" fmla="*/ 5653291 w 11269336"/>
              <a:gd name="connsiteY120" fmla="*/ 1960245 h 2323145"/>
              <a:gd name="connsiteX121" fmla="*/ 5599385 w 11269336"/>
              <a:gd name="connsiteY121" fmla="*/ 1945198 h 2323145"/>
              <a:gd name="connsiteX122" fmla="*/ 5578300 w 11269336"/>
              <a:gd name="connsiteY122" fmla="*/ 1944963 h 2323145"/>
              <a:gd name="connsiteX123" fmla="*/ 5566758 w 11269336"/>
              <a:gd name="connsiteY123" fmla="*/ 1943441 h 2323145"/>
              <a:gd name="connsiteX124" fmla="*/ 5565857 w 11269336"/>
              <a:gd name="connsiteY124" fmla="*/ 1942445 h 2323145"/>
              <a:gd name="connsiteX125" fmla="*/ 5531534 w 11269336"/>
              <a:gd name="connsiteY125" fmla="*/ 1955208 h 2323145"/>
              <a:gd name="connsiteX126" fmla="*/ 5526552 w 11269336"/>
              <a:gd name="connsiteY126" fmla="*/ 1954799 h 2323145"/>
              <a:gd name="connsiteX127" fmla="*/ 5504723 w 11269336"/>
              <a:gd name="connsiteY127" fmla="*/ 1965811 h 2323145"/>
              <a:gd name="connsiteX128" fmla="*/ 5493156 w 11269336"/>
              <a:gd name="connsiteY128" fmla="*/ 1970063 h 2323145"/>
              <a:gd name="connsiteX129" fmla="*/ 5490486 w 11269336"/>
              <a:gd name="connsiteY129" fmla="*/ 1974227 h 2323145"/>
              <a:gd name="connsiteX130" fmla="*/ 5473107 w 11269336"/>
              <a:gd name="connsiteY130" fmla="*/ 1979001 h 2323145"/>
              <a:gd name="connsiteX131" fmla="*/ 5470885 w 11269336"/>
              <a:gd name="connsiteY131" fmla="*/ 1978432 h 2323145"/>
              <a:gd name="connsiteX132" fmla="*/ 5457393 w 11269336"/>
              <a:gd name="connsiteY132" fmla="*/ 1986525 h 2323145"/>
              <a:gd name="connsiteX133" fmla="*/ 5447102 w 11269336"/>
              <a:gd name="connsiteY133" fmla="*/ 1998329 h 2323145"/>
              <a:gd name="connsiteX134" fmla="*/ 5159151 w 11269336"/>
              <a:gd name="connsiteY134" fmla="*/ 2029640 h 2323145"/>
              <a:gd name="connsiteX135" fmla="*/ 5041688 w 11269336"/>
              <a:gd name="connsiteY135" fmla="*/ 2022334 h 2323145"/>
              <a:gd name="connsiteX136" fmla="*/ 4860988 w 11269336"/>
              <a:gd name="connsiteY136" fmla="*/ 2135698 h 2323145"/>
              <a:gd name="connsiteX137" fmla="*/ 4807902 w 11269336"/>
              <a:gd name="connsiteY137" fmla="*/ 2138894 h 2323145"/>
              <a:gd name="connsiteX138" fmla="*/ 4765388 w 11269336"/>
              <a:gd name="connsiteY138" fmla="*/ 2162525 h 2323145"/>
              <a:gd name="connsiteX139" fmla="*/ 4745033 w 11269336"/>
              <a:gd name="connsiteY139" fmla="*/ 2158859 h 2323145"/>
              <a:gd name="connsiteX140" fmla="*/ 4741475 w 11269336"/>
              <a:gd name="connsiteY140" fmla="*/ 2157998 h 2323145"/>
              <a:gd name="connsiteX141" fmla="*/ 4728247 w 11269336"/>
              <a:gd name="connsiteY141" fmla="*/ 2159526 h 2323145"/>
              <a:gd name="connsiteX142" fmla="*/ 4723263 w 11269336"/>
              <a:gd name="connsiteY142" fmla="*/ 2153742 h 2323145"/>
              <a:gd name="connsiteX143" fmla="*/ 4702453 w 11269336"/>
              <a:gd name="connsiteY143" fmla="*/ 2151586 h 2323145"/>
              <a:gd name="connsiteX144" fmla="*/ 4678455 w 11269336"/>
              <a:gd name="connsiteY144" fmla="*/ 2156131 h 2323145"/>
              <a:gd name="connsiteX145" fmla="*/ 4593061 w 11269336"/>
              <a:gd name="connsiteY145" fmla="*/ 2171597 h 2323145"/>
              <a:gd name="connsiteX146" fmla="*/ 4579902 w 11269336"/>
              <a:gd name="connsiteY146" fmla="*/ 2177927 h 2323145"/>
              <a:gd name="connsiteX147" fmla="*/ 4533444 w 11269336"/>
              <a:gd name="connsiteY147" fmla="*/ 2181200 h 2323145"/>
              <a:gd name="connsiteX148" fmla="*/ 4492832 w 11269336"/>
              <a:gd name="connsiteY148" fmla="*/ 2188033 h 2323145"/>
              <a:gd name="connsiteX149" fmla="*/ 4467257 w 11269336"/>
              <a:gd name="connsiteY149" fmla="*/ 2196121 h 2323145"/>
              <a:gd name="connsiteX150" fmla="*/ 4459937 w 11269336"/>
              <a:gd name="connsiteY150" fmla="*/ 2195182 h 2323145"/>
              <a:gd name="connsiteX151" fmla="*/ 4433312 w 11269336"/>
              <a:gd name="connsiteY151" fmla="*/ 2199004 h 2323145"/>
              <a:gd name="connsiteX152" fmla="*/ 4420601 w 11269336"/>
              <a:gd name="connsiteY152" fmla="*/ 2205158 h 2323145"/>
              <a:gd name="connsiteX153" fmla="*/ 4405765 w 11269336"/>
              <a:gd name="connsiteY153" fmla="*/ 2199902 h 2323145"/>
              <a:gd name="connsiteX154" fmla="*/ 4401354 w 11269336"/>
              <a:gd name="connsiteY154" fmla="*/ 2194745 h 2323145"/>
              <a:gd name="connsiteX155" fmla="*/ 4383151 w 11269336"/>
              <a:gd name="connsiteY155" fmla="*/ 2201140 h 2323145"/>
              <a:gd name="connsiteX156" fmla="*/ 4366646 w 11269336"/>
              <a:gd name="connsiteY156" fmla="*/ 2198564 h 2323145"/>
              <a:gd name="connsiteX157" fmla="*/ 4354009 w 11269336"/>
              <a:gd name="connsiteY157" fmla="*/ 2204984 h 2323145"/>
              <a:gd name="connsiteX158" fmla="*/ 4348284 w 11269336"/>
              <a:gd name="connsiteY158" fmla="*/ 2205270 h 2323145"/>
              <a:gd name="connsiteX159" fmla="*/ 4333906 w 11269336"/>
              <a:gd name="connsiteY159" fmla="*/ 2205251 h 2323145"/>
              <a:gd name="connsiteX160" fmla="*/ 4308819 w 11269336"/>
              <a:gd name="connsiteY160" fmla="*/ 2203822 h 2323145"/>
              <a:gd name="connsiteX161" fmla="*/ 4301210 w 11269336"/>
              <a:gd name="connsiteY161" fmla="*/ 2204456 h 2323145"/>
              <a:gd name="connsiteX162" fmla="*/ 4283095 w 11269336"/>
              <a:gd name="connsiteY162" fmla="*/ 2198177 h 2323145"/>
              <a:gd name="connsiteX163" fmla="*/ 4250119 w 11269336"/>
              <a:gd name="connsiteY163" fmla="*/ 2196342 h 2323145"/>
              <a:gd name="connsiteX164" fmla="*/ 4189203 w 11269336"/>
              <a:gd name="connsiteY164" fmla="*/ 2178994 h 2323145"/>
              <a:gd name="connsiteX165" fmla="*/ 4154035 w 11269336"/>
              <a:gd name="connsiteY165" fmla="*/ 2171950 h 2323145"/>
              <a:gd name="connsiteX166" fmla="*/ 4129569 w 11269336"/>
              <a:gd name="connsiteY166" fmla="*/ 2163850 h 2323145"/>
              <a:gd name="connsiteX167" fmla="*/ 4061250 w 11269336"/>
              <a:gd name="connsiteY167" fmla="*/ 2159236 h 2323145"/>
              <a:gd name="connsiteX168" fmla="*/ 3945480 w 11269336"/>
              <a:gd name="connsiteY168" fmla="*/ 2158279 h 2323145"/>
              <a:gd name="connsiteX169" fmla="*/ 3921468 w 11269336"/>
              <a:gd name="connsiteY169" fmla="*/ 2156588 h 2323145"/>
              <a:gd name="connsiteX170" fmla="*/ 3903348 w 11269336"/>
              <a:gd name="connsiteY170" fmla="*/ 2149220 h 2323145"/>
              <a:gd name="connsiteX171" fmla="*/ 3901342 w 11269336"/>
              <a:gd name="connsiteY171" fmla="*/ 2142355 h 2323145"/>
              <a:gd name="connsiteX172" fmla="*/ 3888539 w 11269336"/>
              <a:gd name="connsiteY172" fmla="*/ 2140476 h 2323145"/>
              <a:gd name="connsiteX173" fmla="*/ 3885662 w 11269336"/>
              <a:gd name="connsiteY173" fmla="*/ 2138740 h 2323145"/>
              <a:gd name="connsiteX174" fmla="*/ 3868627 w 11269336"/>
              <a:gd name="connsiteY174" fmla="*/ 2130023 h 2323145"/>
              <a:gd name="connsiteX175" fmla="*/ 3819177 w 11269336"/>
              <a:gd name="connsiteY175" fmla="*/ 2142111 h 2323145"/>
              <a:gd name="connsiteX176" fmla="*/ 3769100 w 11269336"/>
              <a:gd name="connsiteY176" fmla="*/ 2131731 h 2323145"/>
              <a:gd name="connsiteX177" fmla="*/ 3562752 w 11269336"/>
              <a:gd name="connsiteY177" fmla="*/ 2131785 h 2323145"/>
              <a:gd name="connsiteX178" fmla="*/ 3541402 w 11269336"/>
              <a:gd name="connsiteY178" fmla="*/ 2106821 h 2323145"/>
              <a:gd name="connsiteX179" fmla="*/ 3365341 w 11269336"/>
              <a:gd name="connsiteY179" fmla="*/ 2077638 h 2323145"/>
              <a:gd name="connsiteX180" fmla="*/ 3170922 w 11269336"/>
              <a:gd name="connsiteY180" fmla="*/ 2115957 h 2323145"/>
              <a:gd name="connsiteX181" fmla="*/ 3156256 w 11269336"/>
              <a:gd name="connsiteY181" fmla="*/ 2124773 h 2323145"/>
              <a:gd name="connsiteX182" fmla="*/ 3140298 w 11269336"/>
              <a:gd name="connsiteY182" fmla="*/ 2129182 h 2323145"/>
              <a:gd name="connsiteX183" fmla="*/ 3138514 w 11269336"/>
              <a:gd name="connsiteY183" fmla="*/ 2128069 h 2323145"/>
              <a:gd name="connsiteX184" fmla="*/ 3120467 w 11269336"/>
              <a:gd name="connsiteY184" fmla="*/ 2128281 h 2323145"/>
              <a:gd name="connsiteX185" fmla="*/ 3116175 w 11269336"/>
              <a:gd name="connsiteY185" fmla="*/ 2131633 h 2323145"/>
              <a:gd name="connsiteX186" fmla="*/ 3103685 w 11269336"/>
              <a:gd name="connsiteY186" fmla="*/ 2132814 h 2323145"/>
              <a:gd name="connsiteX187" fmla="*/ 3078794 w 11269336"/>
              <a:gd name="connsiteY187" fmla="*/ 2137935 h 2323145"/>
              <a:gd name="connsiteX188" fmla="*/ 3074407 w 11269336"/>
              <a:gd name="connsiteY188" fmla="*/ 2136274 h 2323145"/>
              <a:gd name="connsiteX189" fmla="*/ 3037285 w 11269336"/>
              <a:gd name="connsiteY189" fmla="*/ 2139919 h 2323145"/>
              <a:gd name="connsiteX190" fmla="*/ 3036901 w 11269336"/>
              <a:gd name="connsiteY190" fmla="*/ 2138726 h 2323145"/>
              <a:gd name="connsiteX191" fmla="*/ 3026996 w 11269336"/>
              <a:gd name="connsiteY191" fmla="*/ 2134322 h 2323145"/>
              <a:gd name="connsiteX192" fmla="*/ 3007772 w 11269336"/>
              <a:gd name="connsiteY192" fmla="*/ 2128742 h 2323145"/>
              <a:gd name="connsiteX193" fmla="*/ 2965030 w 11269336"/>
              <a:gd name="connsiteY193" fmla="*/ 2100494 h 2323145"/>
              <a:gd name="connsiteX194" fmla="*/ 2926342 w 11269336"/>
              <a:gd name="connsiteY194" fmla="*/ 2104155 h 2323145"/>
              <a:gd name="connsiteX195" fmla="*/ 2918608 w 11269336"/>
              <a:gd name="connsiteY195" fmla="*/ 2104215 h 2323145"/>
              <a:gd name="connsiteX196" fmla="*/ 2918475 w 11269336"/>
              <a:gd name="connsiteY196" fmla="*/ 2103937 h 2323145"/>
              <a:gd name="connsiteX197" fmla="*/ 2910360 w 11269336"/>
              <a:gd name="connsiteY197" fmla="*/ 2103444 h 2323145"/>
              <a:gd name="connsiteX198" fmla="*/ 2904507 w 11269336"/>
              <a:gd name="connsiteY198" fmla="*/ 2104326 h 2323145"/>
              <a:gd name="connsiteX199" fmla="*/ 2889503 w 11269336"/>
              <a:gd name="connsiteY199" fmla="*/ 2104443 h 2323145"/>
              <a:gd name="connsiteX200" fmla="*/ 2884480 w 11269336"/>
              <a:gd name="connsiteY200" fmla="*/ 2102626 h 2323145"/>
              <a:gd name="connsiteX201" fmla="*/ 2882689 w 11269336"/>
              <a:gd name="connsiteY201" fmla="*/ 2099228 h 2323145"/>
              <a:gd name="connsiteX202" fmla="*/ 2881291 w 11269336"/>
              <a:gd name="connsiteY202" fmla="*/ 2099618 h 2323145"/>
              <a:gd name="connsiteX203" fmla="*/ 2853979 w 11269336"/>
              <a:gd name="connsiteY203" fmla="*/ 2090388 h 2323145"/>
              <a:gd name="connsiteX204" fmla="*/ 2791790 w 11269336"/>
              <a:gd name="connsiteY204" fmla="*/ 2080332 h 2323145"/>
              <a:gd name="connsiteX205" fmla="*/ 2755844 w 11269336"/>
              <a:gd name="connsiteY205" fmla="*/ 2078874 h 2323145"/>
              <a:gd name="connsiteX206" fmla="*/ 2657742 w 11269336"/>
              <a:gd name="connsiteY206" fmla="*/ 2070179 h 2323145"/>
              <a:gd name="connsiteX207" fmla="*/ 2559549 w 11269336"/>
              <a:gd name="connsiteY207" fmla="*/ 2057873 h 2323145"/>
              <a:gd name="connsiteX208" fmla="*/ 2512054 w 11269336"/>
              <a:gd name="connsiteY208" fmla="*/ 2031671 h 2323145"/>
              <a:gd name="connsiteX209" fmla="*/ 2506437 w 11269336"/>
              <a:gd name="connsiteY209" fmla="*/ 2030918 h 2323145"/>
              <a:gd name="connsiteX210" fmla="*/ 2491752 w 11269336"/>
              <a:gd name="connsiteY210" fmla="*/ 2033906 h 2323145"/>
              <a:gd name="connsiteX211" fmla="*/ 2486338 w 11269336"/>
              <a:gd name="connsiteY211" fmla="*/ 2035862 h 2323145"/>
              <a:gd name="connsiteX212" fmla="*/ 2478186 w 11269336"/>
              <a:gd name="connsiteY212" fmla="*/ 2036953 h 2323145"/>
              <a:gd name="connsiteX213" fmla="*/ 2477950 w 11269336"/>
              <a:gd name="connsiteY213" fmla="*/ 2036715 h 2323145"/>
              <a:gd name="connsiteX214" fmla="*/ 2470381 w 11269336"/>
              <a:gd name="connsiteY214" fmla="*/ 2038256 h 2323145"/>
              <a:gd name="connsiteX215" fmla="*/ 2433781 w 11269336"/>
              <a:gd name="connsiteY215" fmla="*/ 2049140 h 2323145"/>
              <a:gd name="connsiteX216" fmla="*/ 2381172 w 11269336"/>
              <a:gd name="connsiteY216" fmla="*/ 2030645 h 2323145"/>
              <a:gd name="connsiteX217" fmla="*/ 2360198 w 11269336"/>
              <a:gd name="connsiteY217" fmla="*/ 2029059 h 2323145"/>
              <a:gd name="connsiteX218" fmla="*/ 2348815 w 11269336"/>
              <a:gd name="connsiteY218" fmla="*/ 2026798 h 2323145"/>
              <a:gd name="connsiteX219" fmla="*/ 2347988 w 11269336"/>
              <a:gd name="connsiteY219" fmla="*/ 2025745 h 2323145"/>
              <a:gd name="connsiteX220" fmla="*/ 2312920 w 11269336"/>
              <a:gd name="connsiteY220" fmla="*/ 2036311 h 2323145"/>
              <a:gd name="connsiteX221" fmla="*/ 2307986 w 11269336"/>
              <a:gd name="connsiteY221" fmla="*/ 2035583 h 2323145"/>
              <a:gd name="connsiteX222" fmla="*/ 2285481 w 11269336"/>
              <a:gd name="connsiteY222" fmla="*/ 2045197 h 2323145"/>
              <a:gd name="connsiteX223" fmla="*/ 2273666 w 11269336"/>
              <a:gd name="connsiteY223" fmla="*/ 2048710 h 2323145"/>
              <a:gd name="connsiteX224" fmla="*/ 2270719 w 11269336"/>
              <a:gd name="connsiteY224" fmla="*/ 2052702 h 2323145"/>
              <a:gd name="connsiteX225" fmla="*/ 2253080 w 11269336"/>
              <a:gd name="connsiteY225" fmla="*/ 2056363 h 2323145"/>
              <a:gd name="connsiteX226" fmla="*/ 2250906 w 11269336"/>
              <a:gd name="connsiteY226" fmla="*/ 2055654 h 2323145"/>
              <a:gd name="connsiteX227" fmla="*/ 2236905 w 11269336"/>
              <a:gd name="connsiteY227" fmla="*/ 2062882 h 2323145"/>
              <a:gd name="connsiteX228" fmla="*/ 2225830 w 11269336"/>
              <a:gd name="connsiteY228" fmla="*/ 2074027 h 2323145"/>
              <a:gd name="connsiteX229" fmla="*/ 2073776 w 11269336"/>
              <a:gd name="connsiteY229" fmla="*/ 2089244 h 2323145"/>
              <a:gd name="connsiteX230" fmla="*/ 1948256 w 11269336"/>
              <a:gd name="connsiteY230" fmla="*/ 2146616 h 2323145"/>
              <a:gd name="connsiteX231" fmla="*/ 1865582 w 11269336"/>
              <a:gd name="connsiteY231" fmla="*/ 2153738 h 2323145"/>
              <a:gd name="connsiteX232" fmla="*/ 1835210 w 11269336"/>
              <a:gd name="connsiteY232" fmla="*/ 2134244 h 2323145"/>
              <a:gd name="connsiteX233" fmla="*/ 1632661 w 11269336"/>
              <a:gd name="connsiteY233" fmla="*/ 2173882 h 2323145"/>
              <a:gd name="connsiteX234" fmla="*/ 1579590 w 11269336"/>
              <a:gd name="connsiteY234" fmla="*/ 2173680 h 2323145"/>
              <a:gd name="connsiteX235" fmla="*/ 1535601 w 11269336"/>
              <a:gd name="connsiteY235" fmla="*/ 2194590 h 2323145"/>
              <a:gd name="connsiteX236" fmla="*/ 1515594 w 11269336"/>
              <a:gd name="connsiteY236" fmla="*/ 2189622 h 2323145"/>
              <a:gd name="connsiteX237" fmla="*/ 1512113 w 11269336"/>
              <a:gd name="connsiteY237" fmla="*/ 2188534 h 2323145"/>
              <a:gd name="connsiteX238" fmla="*/ 1498838 w 11269336"/>
              <a:gd name="connsiteY238" fmla="*/ 2189213 h 2323145"/>
              <a:gd name="connsiteX239" fmla="*/ 1494279 w 11269336"/>
              <a:gd name="connsiteY239" fmla="*/ 2183112 h 2323145"/>
              <a:gd name="connsiteX240" fmla="*/ 1473714 w 11269336"/>
              <a:gd name="connsiteY240" fmla="*/ 2179625 h 2323145"/>
              <a:gd name="connsiteX241" fmla="*/ 1449503 w 11269336"/>
              <a:gd name="connsiteY241" fmla="*/ 2182633 h 2323145"/>
              <a:gd name="connsiteX242" fmla="*/ 1266687 w 11269336"/>
              <a:gd name="connsiteY242" fmla="*/ 2212688 h 2323145"/>
              <a:gd name="connsiteX243" fmla="*/ 1239614 w 11269336"/>
              <a:gd name="connsiteY243" fmla="*/ 2209727 h 2323145"/>
              <a:gd name="connsiteX244" fmla="*/ 1202436 w 11269336"/>
              <a:gd name="connsiteY244" fmla="*/ 2209817 h 2323145"/>
              <a:gd name="connsiteX245" fmla="*/ 1136097 w 11269336"/>
              <a:gd name="connsiteY245" fmla="*/ 2205112 h 2323145"/>
              <a:gd name="connsiteX246" fmla="*/ 988232 w 11269336"/>
              <a:gd name="connsiteY246" fmla="*/ 2235635 h 2323145"/>
              <a:gd name="connsiteX247" fmla="*/ 981959 w 11269336"/>
              <a:gd name="connsiteY247" fmla="*/ 2231607 h 2323145"/>
              <a:gd name="connsiteX248" fmla="*/ 938600 w 11269336"/>
              <a:gd name="connsiteY248" fmla="*/ 2238113 h 2323145"/>
              <a:gd name="connsiteX249" fmla="*/ 791788 w 11269336"/>
              <a:gd name="connsiteY249" fmla="*/ 2293224 h 2323145"/>
              <a:gd name="connsiteX250" fmla="*/ 706914 w 11269336"/>
              <a:gd name="connsiteY250" fmla="*/ 2305046 h 2323145"/>
              <a:gd name="connsiteX251" fmla="*/ 675971 w 11269336"/>
              <a:gd name="connsiteY251" fmla="*/ 2304030 h 2323145"/>
              <a:gd name="connsiteX252" fmla="*/ 624180 w 11269336"/>
              <a:gd name="connsiteY252" fmla="*/ 2302650 h 2323145"/>
              <a:gd name="connsiteX253" fmla="*/ 583453 w 11269336"/>
              <a:gd name="connsiteY253" fmla="*/ 2288788 h 2323145"/>
              <a:gd name="connsiteX254" fmla="*/ 540946 w 11269336"/>
              <a:gd name="connsiteY254" fmla="*/ 2292721 h 2323145"/>
              <a:gd name="connsiteX255" fmla="*/ 533680 w 11269336"/>
              <a:gd name="connsiteY255" fmla="*/ 2310233 h 2323145"/>
              <a:gd name="connsiteX256" fmla="*/ 487366 w 11269336"/>
              <a:gd name="connsiteY256" fmla="*/ 2309053 h 2323145"/>
              <a:gd name="connsiteX257" fmla="*/ 416820 w 11269336"/>
              <a:gd name="connsiteY257" fmla="*/ 2305443 h 2323145"/>
              <a:gd name="connsiteX258" fmla="*/ 376805 w 11269336"/>
              <a:gd name="connsiteY258" fmla="*/ 2307647 h 2323145"/>
              <a:gd name="connsiteX259" fmla="*/ 266777 w 11269336"/>
              <a:gd name="connsiteY259" fmla="*/ 2309012 h 2323145"/>
              <a:gd name="connsiteX260" fmla="*/ 156013 w 11269336"/>
              <a:gd name="connsiteY260" fmla="*/ 2306832 h 2323145"/>
              <a:gd name="connsiteX261" fmla="*/ 87258 w 11269336"/>
              <a:gd name="connsiteY261" fmla="*/ 2285511 h 2323145"/>
              <a:gd name="connsiteX262" fmla="*/ 23798 w 11269336"/>
              <a:gd name="connsiteY262" fmla="*/ 2281822 h 2323145"/>
              <a:gd name="connsiteX263" fmla="*/ 0 w 11269336"/>
              <a:gd name="connsiteY263" fmla="*/ 2285369 h 2323145"/>
              <a:gd name="connsiteX264" fmla="*/ 0 w 11269336"/>
              <a:gd name="connsiteY264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8914746 w 11269336"/>
              <a:gd name="connsiteY23" fmla="*/ 826428 h 2323145"/>
              <a:gd name="connsiteX24" fmla="*/ 8917778 w 11269336"/>
              <a:gd name="connsiteY24" fmla="*/ 835198 h 2323145"/>
              <a:gd name="connsiteX25" fmla="*/ 8905560 w 11269336"/>
              <a:gd name="connsiteY25" fmla="*/ 838358 h 2323145"/>
              <a:gd name="connsiteX26" fmla="*/ 8897564 w 11269336"/>
              <a:gd name="connsiteY26" fmla="*/ 834287 h 2323145"/>
              <a:gd name="connsiteX27" fmla="*/ 8878040 w 11269336"/>
              <a:gd name="connsiteY27" fmla="*/ 844150 h 2323145"/>
              <a:gd name="connsiteX28" fmla="*/ 8795998 w 11269336"/>
              <a:gd name="connsiteY28" fmla="*/ 863337 h 2323145"/>
              <a:gd name="connsiteX29" fmla="*/ 8776970 w 11269336"/>
              <a:gd name="connsiteY29" fmla="*/ 885177 h 2323145"/>
              <a:gd name="connsiteX30" fmla="*/ 8755719 w 11269336"/>
              <a:gd name="connsiteY30" fmla="*/ 889754 h 2323145"/>
              <a:gd name="connsiteX31" fmla="*/ 8743257 w 11269336"/>
              <a:gd name="connsiteY31" fmla="*/ 904723 h 2323145"/>
              <a:gd name="connsiteX32" fmla="*/ 8721366 w 11269336"/>
              <a:gd name="connsiteY32" fmla="*/ 904711 h 2323145"/>
              <a:gd name="connsiteX33" fmla="*/ 8678353 w 11269336"/>
              <a:gd name="connsiteY33" fmla="*/ 926318 h 2323145"/>
              <a:gd name="connsiteX34" fmla="*/ 8636849 w 11269336"/>
              <a:gd name="connsiteY34" fmla="*/ 937900 h 2323145"/>
              <a:gd name="connsiteX35" fmla="*/ 8620213 w 11269336"/>
              <a:gd name="connsiteY35" fmla="*/ 943068 h 2323145"/>
              <a:gd name="connsiteX36" fmla="*/ 8612581 w 11269336"/>
              <a:gd name="connsiteY36" fmla="*/ 952695 h 2323145"/>
              <a:gd name="connsiteX37" fmla="*/ 8589038 w 11269336"/>
              <a:gd name="connsiteY37" fmla="*/ 963892 h 2323145"/>
              <a:gd name="connsiteX38" fmla="*/ 8579950 w 11269336"/>
              <a:gd name="connsiteY38" fmla="*/ 960899 h 2323145"/>
              <a:gd name="connsiteX39" fmla="*/ 8579319 w 11269336"/>
              <a:gd name="connsiteY39" fmla="*/ 965630 h 2323145"/>
              <a:gd name="connsiteX40" fmla="*/ 8547429 w 11269336"/>
              <a:gd name="connsiteY40" fmla="*/ 984506 h 2323145"/>
              <a:gd name="connsiteX41" fmla="*/ 8478704 w 11269336"/>
              <a:gd name="connsiteY41" fmla="*/ 1025490 h 2323145"/>
              <a:gd name="connsiteX42" fmla="*/ 8461421 w 11269336"/>
              <a:gd name="connsiteY42" fmla="*/ 1035512 h 2323145"/>
              <a:gd name="connsiteX43" fmla="*/ 8445003 w 11269336"/>
              <a:gd name="connsiteY43" fmla="*/ 1036851 h 2323145"/>
              <a:gd name="connsiteX44" fmla="*/ 8357350 w 11269336"/>
              <a:gd name="connsiteY44" fmla="*/ 1060213 h 2323145"/>
              <a:gd name="connsiteX45" fmla="*/ 8335565 w 11269336"/>
              <a:gd name="connsiteY45" fmla="*/ 1061151 h 2323145"/>
              <a:gd name="connsiteX46" fmla="*/ 8325267 w 11269336"/>
              <a:gd name="connsiteY46" fmla="*/ 1055919 h 2323145"/>
              <a:gd name="connsiteX47" fmla="*/ 8293586 w 11269336"/>
              <a:gd name="connsiteY47" fmla="*/ 1076144 h 2323145"/>
              <a:gd name="connsiteX48" fmla="*/ 8242405 w 11269336"/>
              <a:gd name="connsiteY48" fmla="*/ 1095960 h 2323145"/>
              <a:gd name="connsiteX49" fmla="*/ 8197391 w 11269336"/>
              <a:gd name="connsiteY49" fmla="*/ 1107746 h 2323145"/>
              <a:gd name="connsiteX50" fmla="*/ 8081474 w 11269336"/>
              <a:gd name="connsiteY50" fmla="*/ 1130125 h 2323145"/>
              <a:gd name="connsiteX51" fmla="*/ 8053585 w 11269336"/>
              <a:gd name="connsiteY51" fmla="*/ 1129169 h 2323145"/>
              <a:gd name="connsiteX52" fmla="*/ 8038422 w 11269336"/>
              <a:gd name="connsiteY52" fmla="*/ 1119092 h 2323145"/>
              <a:gd name="connsiteX53" fmla="*/ 8029450 w 11269336"/>
              <a:gd name="connsiteY53" fmla="*/ 1125592 h 2323145"/>
              <a:gd name="connsiteX54" fmla="*/ 7959552 w 11269336"/>
              <a:gd name="connsiteY54" fmla="*/ 1140188 h 2323145"/>
              <a:gd name="connsiteX55" fmla="*/ 7914188 w 11269336"/>
              <a:gd name="connsiteY55" fmla="*/ 1150862 h 2323145"/>
              <a:gd name="connsiteX56" fmla="*/ 7914918 w 11269336"/>
              <a:gd name="connsiteY56" fmla="*/ 1168758 h 2323145"/>
              <a:gd name="connsiteX57" fmla="*/ 7875510 w 11269336"/>
              <a:gd name="connsiteY57" fmla="*/ 1183153 h 2323145"/>
              <a:gd name="connsiteX58" fmla="*/ 7829932 w 11269336"/>
              <a:gd name="connsiteY58" fmla="*/ 1180782 h 2323145"/>
              <a:gd name="connsiteX59" fmla="*/ 7779182 w 11269336"/>
              <a:gd name="connsiteY59" fmla="*/ 1192665 h 2323145"/>
              <a:gd name="connsiteX60" fmla="*/ 7748774 w 11269336"/>
              <a:gd name="connsiteY60" fmla="*/ 1199586 h 2323145"/>
              <a:gd name="connsiteX61" fmla="*/ 7671846 w 11269336"/>
              <a:gd name="connsiteY61" fmla="*/ 1231966 h 2323145"/>
              <a:gd name="connsiteX62" fmla="*/ 7554146 w 11269336"/>
              <a:gd name="connsiteY62" fmla="*/ 1319748 h 2323145"/>
              <a:gd name="connsiteX63" fmla="*/ 7515052 w 11269336"/>
              <a:gd name="connsiteY63" fmla="*/ 1336718 h 2323145"/>
              <a:gd name="connsiteX64" fmla="*/ 7507193 w 11269336"/>
              <a:gd name="connsiteY64" fmla="*/ 1334617 h 2323145"/>
              <a:gd name="connsiteX65" fmla="*/ 7461694 w 11269336"/>
              <a:gd name="connsiteY65" fmla="*/ 1375866 h 2323145"/>
              <a:gd name="connsiteX66" fmla="*/ 7377571 w 11269336"/>
              <a:gd name="connsiteY66" fmla="*/ 1400128 h 2323145"/>
              <a:gd name="connsiteX67" fmla="*/ 7311261 w 11269336"/>
              <a:gd name="connsiteY67" fmla="*/ 1412652 h 2323145"/>
              <a:gd name="connsiteX68" fmla="*/ 7275307 w 11269336"/>
              <a:gd name="connsiteY68" fmla="*/ 1422171 h 2323145"/>
              <a:gd name="connsiteX69" fmla="*/ 7247783 w 11269336"/>
              <a:gd name="connsiteY69" fmla="*/ 1426330 h 2323145"/>
              <a:gd name="connsiteX70" fmla="*/ 7185047 w 11269336"/>
              <a:gd name="connsiteY70" fmla="*/ 1451812 h 2323145"/>
              <a:gd name="connsiteX71" fmla="*/ 7084117 w 11269336"/>
              <a:gd name="connsiteY71" fmla="*/ 1500281 h 2323145"/>
              <a:gd name="connsiteX72" fmla="*/ 7062011 w 11269336"/>
              <a:gd name="connsiteY72" fmla="*/ 1509183 h 2323145"/>
              <a:gd name="connsiteX73" fmla="*/ 7040555 w 11269336"/>
              <a:gd name="connsiteY73" fmla="*/ 1511207 h 2323145"/>
              <a:gd name="connsiteX74" fmla="*/ 7033438 w 11269336"/>
              <a:gd name="connsiteY74" fmla="*/ 1506772 h 2323145"/>
              <a:gd name="connsiteX75" fmla="*/ 7020886 w 11269336"/>
              <a:gd name="connsiteY75" fmla="*/ 1510764 h 2323145"/>
              <a:gd name="connsiteX76" fmla="*/ 7017033 w 11269336"/>
              <a:gd name="connsiteY76" fmla="*/ 1510650 h 2323145"/>
              <a:gd name="connsiteX77" fmla="*/ 6995460 w 11269336"/>
              <a:gd name="connsiteY77" fmla="*/ 1511173 h 2323145"/>
              <a:gd name="connsiteX78" fmla="*/ 6962144 w 11269336"/>
              <a:gd name="connsiteY78" fmla="*/ 1541508 h 2323145"/>
              <a:gd name="connsiteX79" fmla="*/ 6910674 w 11269336"/>
              <a:gd name="connsiteY79" fmla="*/ 1554793 h 2323145"/>
              <a:gd name="connsiteX80" fmla="*/ 6732152 w 11269336"/>
              <a:gd name="connsiteY80" fmla="*/ 1642538 h 2323145"/>
              <a:gd name="connsiteX81" fmla="*/ 6694106 w 11269336"/>
              <a:gd name="connsiteY81" fmla="*/ 1632377 h 2323145"/>
              <a:gd name="connsiteX82" fmla="*/ 6617223 w 11269336"/>
              <a:gd name="connsiteY82" fmla="*/ 1659889 h 2323145"/>
              <a:gd name="connsiteX83" fmla="*/ 6521138 w 11269336"/>
              <a:gd name="connsiteY83" fmla="*/ 1744340 h 2323145"/>
              <a:gd name="connsiteX84" fmla="*/ 6380677 w 11269336"/>
              <a:gd name="connsiteY84" fmla="*/ 1796883 h 2323145"/>
              <a:gd name="connsiteX85" fmla="*/ 6374897 w 11269336"/>
              <a:gd name="connsiteY85" fmla="*/ 1809910 h 2323145"/>
              <a:gd name="connsiteX86" fmla="*/ 6364545 w 11269336"/>
              <a:gd name="connsiteY86" fmla="*/ 1820090 h 2323145"/>
              <a:gd name="connsiteX87" fmla="*/ 6362126 w 11269336"/>
              <a:gd name="connsiteY87" fmla="*/ 1819991 h 2323145"/>
              <a:gd name="connsiteX88" fmla="*/ 6346673 w 11269336"/>
              <a:gd name="connsiteY88" fmla="*/ 1827824 h 2323145"/>
              <a:gd name="connsiteX89" fmla="*/ 6345588 w 11269336"/>
              <a:gd name="connsiteY89" fmla="*/ 1832232 h 2323145"/>
              <a:gd name="connsiteX90" fmla="*/ 6335708 w 11269336"/>
              <a:gd name="connsiteY90" fmla="*/ 1838451 h 2323145"/>
              <a:gd name="connsiteX91" fmla="*/ 6318182 w 11269336"/>
              <a:gd name="connsiteY91" fmla="*/ 1852975 h 2323145"/>
              <a:gd name="connsiteX92" fmla="*/ 6313084 w 11269336"/>
              <a:gd name="connsiteY92" fmla="*/ 1853561 h 2323145"/>
              <a:gd name="connsiteX93" fmla="*/ 6283816 w 11269336"/>
              <a:gd name="connsiteY93" fmla="*/ 1872148 h 2323145"/>
              <a:gd name="connsiteX94" fmla="*/ 6282550 w 11269336"/>
              <a:gd name="connsiteY94" fmla="*/ 1871392 h 2323145"/>
              <a:gd name="connsiteX95" fmla="*/ 6270527 w 11269336"/>
              <a:gd name="connsiteY95" fmla="*/ 1872208 h 2323145"/>
              <a:gd name="connsiteX96" fmla="*/ 6249518 w 11269336"/>
              <a:gd name="connsiteY96" fmla="*/ 1876079 h 2323145"/>
              <a:gd name="connsiteX97" fmla="*/ 6190386 w 11269336"/>
              <a:gd name="connsiteY97" fmla="*/ 1872478 h 2323145"/>
              <a:gd name="connsiteX98" fmla="*/ 6159777 w 11269336"/>
              <a:gd name="connsiteY98" fmla="*/ 1891745 h 2323145"/>
              <a:gd name="connsiteX99" fmla="*/ 6153131 w 11269336"/>
              <a:gd name="connsiteY99" fmla="*/ 1895079 h 2323145"/>
              <a:gd name="connsiteX100" fmla="*/ 6152798 w 11269336"/>
              <a:gd name="connsiteY100" fmla="*/ 1894920 h 2323145"/>
              <a:gd name="connsiteX101" fmla="*/ 6145388 w 11269336"/>
              <a:gd name="connsiteY101" fmla="*/ 1897990 h 2323145"/>
              <a:gd name="connsiteX102" fmla="*/ 6141014 w 11269336"/>
              <a:gd name="connsiteY102" fmla="*/ 1901155 h 2323145"/>
              <a:gd name="connsiteX103" fmla="*/ 6128122 w 11269336"/>
              <a:gd name="connsiteY103" fmla="*/ 1907623 h 2323145"/>
              <a:gd name="connsiteX104" fmla="*/ 6122351 w 11269336"/>
              <a:gd name="connsiteY104" fmla="*/ 1908359 h 2323145"/>
              <a:gd name="connsiteX105" fmla="*/ 6064750 w 11269336"/>
              <a:gd name="connsiteY105" fmla="*/ 1896394 h 2323145"/>
              <a:gd name="connsiteX106" fmla="*/ 5964230 w 11269336"/>
              <a:gd name="connsiteY106" fmla="*/ 1910038 h 2323145"/>
              <a:gd name="connsiteX107" fmla="*/ 5865399 w 11269336"/>
              <a:gd name="connsiteY107" fmla="*/ 1926966 h 2323145"/>
              <a:gd name="connsiteX108" fmla="*/ 5829951 w 11269336"/>
              <a:gd name="connsiteY108" fmla="*/ 1934755 h 2323145"/>
              <a:gd name="connsiteX109" fmla="*/ 5765285 w 11269336"/>
              <a:gd name="connsiteY109" fmla="*/ 1941322 h 2323145"/>
              <a:gd name="connsiteX110" fmla="*/ 5734750 w 11269336"/>
              <a:gd name="connsiteY110" fmla="*/ 1939793 h 2323145"/>
              <a:gd name="connsiteX111" fmla="*/ 5733569 w 11269336"/>
              <a:gd name="connsiteY111" fmla="*/ 1940505 h 2323145"/>
              <a:gd name="connsiteX112" fmla="*/ 5730329 w 11269336"/>
              <a:gd name="connsiteY112" fmla="*/ 1937845 h 2323145"/>
              <a:gd name="connsiteX113" fmla="*/ 5724661 w 11269336"/>
              <a:gd name="connsiteY113" fmla="*/ 1937455 h 2323145"/>
              <a:gd name="connsiteX114" fmla="*/ 5710186 w 11269336"/>
              <a:gd name="connsiteY114" fmla="*/ 1941370 h 2323145"/>
              <a:gd name="connsiteX115" fmla="*/ 5704910 w 11269336"/>
              <a:gd name="connsiteY115" fmla="*/ 1943663 h 2323145"/>
              <a:gd name="connsiteX116" fmla="*/ 5696836 w 11269336"/>
              <a:gd name="connsiteY116" fmla="*/ 1945271 h 2323145"/>
              <a:gd name="connsiteX117" fmla="*/ 5696583 w 11269336"/>
              <a:gd name="connsiteY117" fmla="*/ 1945050 h 2323145"/>
              <a:gd name="connsiteX118" fmla="*/ 5689123 w 11269336"/>
              <a:gd name="connsiteY118" fmla="*/ 1947067 h 2323145"/>
              <a:gd name="connsiteX119" fmla="*/ 5653291 w 11269336"/>
              <a:gd name="connsiteY119" fmla="*/ 1960245 h 2323145"/>
              <a:gd name="connsiteX120" fmla="*/ 5599385 w 11269336"/>
              <a:gd name="connsiteY120" fmla="*/ 1945198 h 2323145"/>
              <a:gd name="connsiteX121" fmla="*/ 5578300 w 11269336"/>
              <a:gd name="connsiteY121" fmla="*/ 1944963 h 2323145"/>
              <a:gd name="connsiteX122" fmla="*/ 5566758 w 11269336"/>
              <a:gd name="connsiteY122" fmla="*/ 1943441 h 2323145"/>
              <a:gd name="connsiteX123" fmla="*/ 5565857 w 11269336"/>
              <a:gd name="connsiteY123" fmla="*/ 1942445 h 2323145"/>
              <a:gd name="connsiteX124" fmla="*/ 5531534 w 11269336"/>
              <a:gd name="connsiteY124" fmla="*/ 1955208 h 2323145"/>
              <a:gd name="connsiteX125" fmla="*/ 5526552 w 11269336"/>
              <a:gd name="connsiteY125" fmla="*/ 1954799 h 2323145"/>
              <a:gd name="connsiteX126" fmla="*/ 5504723 w 11269336"/>
              <a:gd name="connsiteY126" fmla="*/ 1965811 h 2323145"/>
              <a:gd name="connsiteX127" fmla="*/ 5493156 w 11269336"/>
              <a:gd name="connsiteY127" fmla="*/ 1970063 h 2323145"/>
              <a:gd name="connsiteX128" fmla="*/ 5490486 w 11269336"/>
              <a:gd name="connsiteY128" fmla="*/ 1974227 h 2323145"/>
              <a:gd name="connsiteX129" fmla="*/ 5473107 w 11269336"/>
              <a:gd name="connsiteY129" fmla="*/ 1979001 h 2323145"/>
              <a:gd name="connsiteX130" fmla="*/ 5470885 w 11269336"/>
              <a:gd name="connsiteY130" fmla="*/ 1978432 h 2323145"/>
              <a:gd name="connsiteX131" fmla="*/ 5457393 w 11269336"/>
              <a:gd name="connsiteY131" fmla="*/ 1986525 h 2323145"/>
              <a:gd name="connsiteX132" fmla="*/ 5447102 w 11269336"/>
              <a:gd name="connsiteY132" fmla="*/ 1998329 h 2323145"/>
              <a:gd name="connsiteX133" fmla="*/ 5159151 w 11269336"/>
              <a:gd name="connsiteY133" fmla="*/ 2029640 h 2323145"/>
              <a:gd name="connsiteX134" fmla="*/ 5041688 w 11269336"/>
              <a:gd name="connsiteY134" fmla="*/ 2022334 h 2323145"/>
              <a:gd name="connsiteX135" fmla="*/ 4860988 w 11269336"/>
              <a:gd name="connsiteY135" fmla="*/ 2135698 h 2323145"/>
              <a:gd name="connsiteX136" fmla="*/ 4807902 w 11269336"/>
              <a:gd name="connsiteY136" fmla="*/ 2138894 h 2323145"/>
              <a:gd name="connsiteX137" fmla="*/ 4765388 w 11269336"/>
              <a:gd name="connsiteY137" fmla="*/ 2162525 h 2323145"/>
              <a:gd name="connsiteX138" fmla="*/ 4745033 w 11269336"/>
              <a:gd name="connsiteY138" fmla="*/ 2158859 h 2323145"/>
              <a:gd name="connsiteX139" fmla="*/ 4741475 w 11269336"/>
              <a:gd name="connsiteY139" fmla="*/ 2157998 h 2323145"/>
              <a:gd name="connsiteX140" fmla="*/ 4728247 w 11269336"/>
              <a:gd name="connsiteY140" fmla="*/ 2159526 h 2323145"/>
              <a:gd name="connsiteX141" fmla="*/ 4723263 w 11269336"/>
              <a:gd name="connsiteY141" fmla="*/ 2153742 h 2323145"/>
              <a:gd name="connsiteX142" fmla="*/ 4702453 w 11269336"/>
              <a:gd name="connsiteY142" fmla="*/ 2151586 h 2323145"/>
              <a:gd name="connsiteX143" fmla="*/ 4678455 w 11269336"/>
              <a:gd name="connsiteY143" fmla="*/ 2156131 h 2323145"/>
              <a:gd name="connsiteX144" fmla="*/ 4593061 w 11269336"/>
              <a:gd name="connsiteY144" fmla="*/ 2171597 h 2323145"/>
              <a:gd name="connsiteX145" fmla="*/ 4579902 w 11269336"/>
              <a:gd name="connsiteY145" fmla="*/ 2177927 h 2323145"/>
              <a:gd name="connsiteX146" fmla="*/ 4533444 w 11269336"/>
              <a:gd name="connsiteY146" fmla="*/ 2181200 h 2323145"/>
              <a:gd name="connsiteX147" fmla="*/ 4492832 w 11269336"/>
              <a:gd name="connsiteY147" fmla="*/ 2188033 h 2323145"/>
              <a:gd name="connsiteX148" fmla="*/ 4467257 w 11269336"/>
              <a:gd name="connsiteY148" fmla="*/ 2196121 h 2323145"/>
              <a:gd name="connsiteX149" fmla="*/ 4459937 w 11269336"/>
              <a:gd name="connsiteY149" fmla="*/ 2195182 h 2323145"/>
              <a:gd name="connsiteX150" fmla="*/ 4433312 w 11269336"/>
              <a:gd name="connsiteY150" fmla="*/ 2199004 h 2323145"/>
              <a:gd name="connsiteX151" fmla="*/ 4420601 w 11269336"/>
              <a:gd name="connsiteY151" fmla="*/ 2205158 h 2323145"/>
              <a:gd name="connsiteX152" fmla="*/ 4405765 w 11269336"/>
              <a:gd name="connsiteY152" fmla="*/ 2199902 h 2323145"/>
              <a:gd name="connsiteX153" fmla="*/ 4401354 w 11269336"/>
              <a:gd name="connsiteY153" fmla="*/ 2194745 h 2323145"/>
              <a:gd name="connsiteX154" fmla="*/ 4383151 w 11269336"/>
              <a:gd name="connsiteY154" fmla="*/ 2201140 h 2323145"/>
              <a:gd name="connsiteX155" fmla="*/ 4366646 w 11269336"/>
              <a:gd name="connsiteY155" fmla="*/ 2198564 h 2323145"/>
              <a:gd name="connsiteX156" fmla="*/ 4354009 w 11269336"/>
              <a:gd name="connsiteY156" fmla="*/ 2204984 h 2323145"/>
              <a:gd name="connsiteX157" fmla="*/ 4348284 w 11269336"/>
              <a:gd name="connsiteY157" fmla="*/ 2205270 h 2323145"/>
              <a:gd name="connsiteX158" fmla="*/ 4333906 w 11269336"/>
              <a:gd name="connsiteY158" fmla="*/ 2205251 h 2323145"/>
              <a:gd name="connsiteX159" fmla="*/ 4308819 w 11269336"/>
              <a:gd name="connsiteY159" fmla="*/ 2203822 h 2323145"/>
              <a:gd name="connsiteX160" fmla="*/ 4301210 w 11269336"/>
              <a:gd name="connsiteY160" fmla="*/ 2204456 h 2323145"/>
              <a:gd name="connsiteX161" fmla="*/ 4283095 w 11269336"/>
              <a:gd name="connsiteY161" fmla="*/ 2198177 h 2323145"/>
              <a:gd name="connsiteX162" fmla="*/ 4250119 w 11269336"/>
              <a:gd name="connsiteY162" fmla="*/ 2196342 h 2323145"/>
              <a:gd name="connsiteX163" fmla="*/ 4189203 w 11269336"/>
              <a:gd name="connsiteY163" fmla="*/ 2178994 h 2323145"/>
              <a:gd name="connsiteX164" fmla="*/ 4154035 w 11269336"/>
              <a:gd name="connsiteY164" fmla="*/ 2171950 h 2323145"/>
              <a:gd name="connsiteX165" fmla="*/ 4129569 w 11269336"/>
              <a:gd name="connsiteY165" fmla="*/ 2163850 h 2323145"/>
              <a:gd name="connsiteX166" fmla="*/ 4061250 w 11269336"/>
              <a:gd name="connsiteY166" fmla="*/ 2159236 h 2323145"/>
              <a:gd name="connsiteX167" fmla="*/ 3945480 w 11269336"/>
              <a:gd name="connsiteY167" fmla="*/ 2158279 h 2323145"/>
              <a:gd name="connsiteX168" fmla="*/ 3921468 w 11269336"/>
              <a:gd name="connsiteY168" fmla="*/ 2156588 h 2323145"/>
              <a:gd name="connsiteX169" fmla="*/ 3903348 w 11269336"/>
              <a:gd name="connsiteY169" fmla="*/ 2149220 h 2323145"/>
              <a:gd name="connsiteX170" fmla="*/ 3901342 w 11269336"/>
              <a:gd name="connsiteY170" fmla="*/ 2142355 h 2323145"/>
              <a:gd name="connsiteX171" fmla="*/ 3888539 w 11269336"/>
              <a:gd name="connsiteY171" fmla="*/ 2140476 h 2323145"/>
              <a:gd name="connsiteX172" fmla="*/ 3885662 w 11269336"/>
              <a:gd name="connsiteY172" fmla="*/ 2138740 h 2323145"/>
              <a:gd name="connsiteX173" fmla="*/ 3868627 w 11269336"/>
              <a:gd name="connsiteY173" fmla="*/ 2130023 h 2323145"/>
              <a:gd name="connsiteX174" fmla="*/ 3819177 w 11269336"/>
              <a:gd name="connsiteY174" fmla="*/ 2142111 h 2323145"/>
              <a:gd name="connsiteX175" fmla="*/ 3769100 w 11269336"/>
              <a:gd name="connsiteY175" fmla="*/ 2131731 h 2323145"/>
              <a:gd name="connsiteX176" fmla="*/ 3562752 w 11269336"/>
              <a:gd name="connsiteY176" fmla="*/ 2131785 h 2323145"/>
              <a:gd name="connsiteX177" fmla="*/ 3541402 w 11269336"/>
              <a:gd name="connsiteY177" fmla="*/ 2106821 h 2323145"/>
              <a:gd name="connsiteX178" fmla="*/ 3365341 w 11269336"/>
              <a:gd name="connsiteY178" fmla="*/ 2077638 h 2323145"/>
              <a:gd name="connsiteX179" fmla="*/ 3170922 w 11269336"/>
              <a:gd name="connsiteY179" fmla="*/ 2115957 h 2323145"/>
              <a:gd name="connsiteX180" fmla="*/ 3156256 w 11269336"/>
              <a:gd name="connsiteY180" fmla="*/ 2124773 h 2323145"/>
              <a:gd name="connsiteX181" fmla="*/ 3140298 w 11269336"/>
              <a:gd name="connsiteY181" fmla="*/ 2129182 h 2323145"/>
              <a:gd name="connsiteX182" fmla="*/ 3138514 w 11269336"/>
              <a:gd name="connsiteY182" fmla="*/ 2128069 h 2323145"/>
              <a:gd name="connsiteX183" fmla="*/ 3120467 w 11269336"/>
              <a:gd name="connsiteY183" fmla="*/ 2128281 h 2323145"/>
              <a:gd name="connsiteX184" fmla="*/ 3116175 w 11269336"/>
              <a:gd name="connsiteY184" fmla="*/ 2131633 h 2323145"/>
              <a:gd name="connsiteX185" fmla="*/ 3103685 w 11269336"/>
              <a:gd name="connsiteY185" fmla="*/ 2132814 h 2323145"/>
              <a:gd name="connsiteX186" fmla="*/ 3078794 w 11269336"/>
              <a:gd name="connsiteY186" fmla="*/ 2137935 h 2323145"/>
              <a:gd name="connsiteX187" fmla="*/ 3074407 w 11269336"/>
              <a:gd name="connsiteY187" fmla="*/ 2136274 h 2323145"/>
              <a:gd name="connsiteX188" fmla="*/ 3037285 w 11269336"/>
              <a:gd name="connsiteY188" fmla="*/ 2139919 h 2323145"/>
              <a:gd name="connsiteX189" fmla="*/ 3036901 w 11269336"/>
              <a:gd name="connsiteY189" fmla="*/ 2138726 h 2323145"/>
              <a:gd name="connsiteX190" fmla="*/ 3026996 w 11269336"/>
              <a:gd name="connsiteY190" fmla="*/ 2134322 h 2323145"/>
              <a:gd name="connsiteX191" fmla="*/ 3007772 w 11269336"/>
              <a:gd name="connsiteY191" fmla="*/ 2128742 h 2323145"/>
              <a:gd name="connsiteX192" fmla="*/ 2965030 w 11269336"/>
              <a:gd name="connsiteY192" fmla="*/ 2100494 h 2323145"/>
              <a:gd name="connsiteX193" fmla="*/ 2926342 w 11269336"/>
              <a:gd name="connsiteY193" fmla="*/ 2104155 h 2323145"/>
              <a:gd name="connsiteX194" fmla="*/ 2918608 w 11269336"/>
              <a:gd name="connsiteY194" fmla="*/ 2104215 h 2323145"/>
              <a:gd name="connsiteX195" fmla="*/ 2918475 w 11269336"/>
              <a:gd name="connsiteY195" fmla="*/ 2103937 h 2323145"/>
              <a:gd name="connsiteX196" fmla="*/ 2910360 w 11269336"/>
              <a:gd name="connsiteY196" fmla="*/ 2103444 h 2323145"/>
              <a:gd name="connsiteX197" fmla="*/ 2904507 w 11269336"/>
              <a:gd name="connsiteY197" fmla="*/ 2104326 h 2323145"/>
              <a:gd name="connsiteX198" fmla="*/ 2889503 w 11269336"/>
              <a:gd name="connsiteY198" fmla="*/ 2104443 h 2323145"/>
              <a:gd name="connsiteX199" fmla="*/ 2884480 w 11269336"/>
              <a:gd name="connsiteY199" fmla="*/ 2102626 h 2323145"/>
              <a:gd name="connsiteX200" fmla="*/ 2882689 w 11269336"/>
              <a:gd name="connsiteY200" fmla="*/ 2099228 h 2323145"/>
              <a:gd name="connsiteX201" fmla="*/ 2881291 w 11269336"/>
              <a:gd name="connsiteY201" fmla="*/ 2099618 h 2323145"/>
              <a:gd name="connsiteX202" fmla="*/ 2853979 w 11269336"/>
              <a:gd name="connsiteY202" fmla="*/ 2090388 h 2323145"/>
              <a:gd name="connsiteX203" fmla="*/ 2791790 w 11269336"/>
              <a:gd name="connsiteY203" fmla="*/ 2080332 h 2323145"/>
              <a:gd name="connsiteX204" fmla="*/ 2755844 w 11269336"/>
              <a:gd name="connsiteY204" fmla="*/ 2078874 h 2323145"/>
              <a:gd name="connsiteX205" fmla="*/ 2657742 w 11269336"/>
              <a:gd name="connsiteY205" fmla="*/ 2070179 h 2323145"/>
              <a:gd name="connsiteX206" fmla="*/ 2559549 w 11269336"/>
              <a:gd name="connsiteY206" fmla="*/ 2057873 h 2323145"/>
              <a:gd name="connsiteX207" fmla="*/ 2512054 w 11269336"/>
              <a:gd name="connsiteY207" fmla="*/ 2031671 h 2323145"/>
              <a:gd name="connsiteX208" fmla="*/ 2506437 w 11269336"/>
              <a:gd name="connsiteY208" fmla="*/ 2030918 h 2323145"/>
              <a:gd name="connsiteX209" fmla="*/ 2491752 w 11269336"/>
              <a:gd name="connsiteY209" fmla="*/ 2033906 h 2323145"/>
              <a:gd name="connsiteX210" fmla="*/ 2486338 w 11269336"/>
              <a:gd name="connsiteY210" fmla="*/ 2035862 h 2323145"/>
              <a:gd name="connsiteX211" fmla="*/ 2478186 w 11269336"/>
              <a:gd name="connsiteY211" fmla="*/ 2036953 h 2323145"/>
              <a:gd name="connsiteX212" fmla="*/ 2477950 w 11269336"/>
              <a:gd name="connsiteY212" fmla="*/ 2036715 h 2323145"/>
              <a:gd name="connsiteX213" fmla="*/ 2470381 w 11269336"/>
              <a:gd name="connsiteY213" fmla="*/ 2038256 h 2323145"/>
              <a:gd name="connsiteX214" fmla="*/ 2433781 w 11269336"/>
              <a:gd name="connsiteY214" fmla="*/ 2049140 h 2323145"/>
              <a:gd name="connsiteX215" fmla="*/ 2381172 w 11269336"/>
              <a:gd name="connsiteY215" fmla="*/ 2030645 h 2323145"/>
              <a:gd name="connsiteX216" fmla="*/ 2360198 w 11269336"/>
              <a:gd name="connsiteY216" fmla="*/ 2029059 h 2323145"/>
              <a:gd name="connsiteX217" fmla="*/ 2348815 w 11269336"/>
              <a:gd name="connsiteY217" fmla="*/ 2026798 h 2323145"/>
              <a:gd name="connsiteX218" fmla="*/ 2347988 w 11269336"/>
              <a:gd name="connsiteY218" fmla="*/ 2025745 h 2323145"/>
              <a:gd name="connsiteX219" fmla="*/ 2312920 w 11269336"/>
              <a:gd name="connsiteY219" fmla="*/ 2036311 h 2323145"/>
              <a:gd name="connsiteX220" fmla="*/ 2307986 w 11269336"/>
              <a:gd name="connsiteY220" fmla="*/ 2035583 h 2323145"/>
              <a:gd name="connsiteX221" fmla="*/ 2285481 w 11269336"/>
              <a:gd name="connsiteY221" fmla="*/ 2045197 h 2323145"/>
              <a:gd name="connsiteX222" fmla="*/ 2273666 w 11269336"/>
              <a:gd name="connsiteY222" fmla="*/ 2048710 h 2323145"/>
              <a:gd name="connsiteX223" fmla="*/ 2270719 w 11269336"/>
              <a:gd name="connsiteY223" fmla="*/ 2052702 h 2323145"/>
              <a:gd name="connsiteX224" fmla="*/ 2253080 w 11269336"/>
              <a:gd name="connsiteY224" fmla="*/ 2056363 h 2323145"/>
              <a:gd name="connsiteX225" fmla="*/ 2250906 w 11269336"/>
              <a:gd name="connsiteY225" fmla="*/ 2055654 h 2323145"/>
              <a:gd name="connsiteX226" fmla="*/ 2236905 w 11269336"/>
              <a:gd name="connsiteY226" fmla="*/ 2062882 h 2323145"/>
              <a:gd name="connsiteX227" fmla="*/ 2225830 w 11269336"/>
              <a:gd name="connsiteY227" fmla="*/ 2074027 h 2323145"/>
              <a:gd name="connsiteX228" fmla="*/ 2073776 w 11269336"/>
              <a:gd name="connsiteY228" fmla="*/ 2089244 h 2323145"/>
              <a:gd name="connsiteX229" fmla="*/ 1948256 w 11269336"/>
              <a:gd name="connsiteY229" fmla="*/ 2146616 h 2323145"/>
              <a:gd name="connsiteX230" fmla="*/ 1865582 w 11269336"/>
              <a:gd name="connsiteY230" fmla="*/ 2153738 h 2323145"/>
              <a:gd name="connsiteX231" fmla="*/ 1835210 w 11269336"/>
              <a:gd name="connsiteY231" fmla="*/ 2134244 h 2323145"/>
              <a:gd name="connsiteX232" fmla="*/ 1632661 w 11269336"/>
              <a:gd name="connsiteY232" fmla="*/ 2173882 h 2323145"/>
              <a:gd name="connsiteX233" fmla="*/ 1579590 w 11269336"/>
              <a:gd name="connsiteY233" fmla="*/ 2173680 h 2323145"/>
              <a:gd name="connsiteX234" fmla="*/ 1535601 w 11269336"/>
              <a:gd name="connsiteY234" fmla="*/ 2194590 h 2323145"/>
              <a:gd name="connsiteX235" fmla="*/ 1515594 w 11269336"/>
              <a:gd name="connsiteY235" fmla="*/ 2189622 h 2323145"/>
              <a:gd name="connsiteX236" fmla="*/ 1512113 w 11269336"/>
              <a:gd name="connsiteY236" fmla="*/ 2188534 h 2323145"/>
              <a:gd name="connsiteX237" fmla="*/ 1498838 w 11269336"/>
              <a:gd name="connsiteY237" fmla="*/ 2189213 h 2323145"/>
              <a:gd name="connsiteX238" fmla="*/ 1494279 w 11269336"/>
              <a:gd name="connsiteY238" fmla="*/ 2183112 h 2323145"/>
              <a:gd name="connsiteX239" fmla="*/ 1473714 w 11269336"/>
              <a:gd name="connsiteY239" fmla="*/ 2179625 h 2323145"/>
              <a:gd name="connsiteX240" fmla="*/ 1449503 w 11269336"/>
              <a:gd name="connsiteY240" fmla="*/ 2182633 h 2323145"/>
              <a:gd name="connsiteX241" fmla="*/ 1266687 w 11269336"/>
              <a:gd name="connsiteY241" fmla="*/ 2212688 h 2323145"/>
              <a:gd name="connsiteX242" fmla="*/ 1239614 w 11269336"/>
              <a:gd name="connsiteY242" fmla="*/ 2209727 h 2323145"/>
              <a:gd name="connsiteX243" fmla="*/ 1202436 w 11269336"/>
              <a:gd name="connsiteY243" fmla="*/ 2209817 h 2323145"/>
              <a:gd name="connsiteX244" fmla="*/ 1136097 w 11269336"/>
              <a:gd name="connsiteY244" fmla="*/ 2205112 h 2323145"/>
              <a:gd name="connsiteX245" fmla="*/ 988232 w 11269336"/>
              <a:gd name="connsiteY245" fmla="*/ 2235635 h 2323145"/>
              <a:gd name="connsiteX246" fmla="*/ 981959 w 11269336"/>
              <a:gd name="connsiteY246" fmla="*/ 2231607 h 2323145"/>
              <a:gd name="connsiteX247" fmla="*/ 938600 w 11269336"/>
              <a:gd name="connsiteY247" fmla="*/ 2238113 h 2323145"/>
              <a:gd name="connsiteX248" fmla="*/ 791788 w 11269336"/>
              <a:gd name="connsiteY248" fmla="*/ 2293224 h 2323145"/>
              <a:gd name="connsiteX249" fmla="*/ 706914 w 11269336"/>
              <a:gd name="connsiteY249" fmla="*/ 2305046 h 2323145"/>
              <a:gd name="connsiteX250" fmla="*/ 675971 w 11269336"/>
              <a:gd name="connsiteY250" fmla="*/ 2304030 h 2323145"/>
              <a:gd name="connsiteX251" fmla="*/ 624180 w 11269336"/>
              <a:gd name="connsiteY251" fmla="*/ 2302650 h 2323145"/>
              <a:gd name="connsiteX252" fmla="*/ 583453 w 11269336"/>
              <a:gd name="connsiteY252" fmla="*/ 2288788 h 2323145"/>
              <a:gd name="connsiteX253" fmla="*/ 540946 w 11269336"/>
              <a:gd name="connsiteY253" fmla="*/ 2292721 h 2323145"/>
              <a:gd name="connsiteX254" fmla="*/ 533680 w 11269336"/>
              <a:gd name="connsiteY254" fmla="*/ 2310233 h 2323145"/>
              <a:gd name="connsiteX255" fmla="*/ 487366 w 11269336"/>
              <a:gd name="connsiteY255" fmla="*/ 2309053 h 2323145"/>
              <a:gd name="connsiteX256" fmla="*/ 416820 w 11269336"/>
              <a:gd name="connsiteY256" fmla="*/ 2305443 h 2323145"/>
              <a:gd name="connsiteX257" fmla="*/ 376805 w 11269336"/>
              <a:gd name="connsiteY257" fmla="*/ 2307647 h 2323145"/>
              <a:gd name="connsiteX258" fmla="*/ 266777 w 11269336"/>
              <a:gd name="connsiteY258" fmla="*/ 2309012 h 2323145"/>
              <a:gd name="connsiteX259" fmla="*/ 156013 w 11269336"/>
              <a:gd name="connsiteY259" fmla="*/ 2306832 h 2323145"/>
              <a:gd name="connsiteX260" fmla="*/ 87258 w 11269336"/>
              <a:gd name="connsiteY260" fmla="*/ 2285511 h 2323145"/>
              <a:gd name="connsiteX261" fmla="*/ 23798 w 11269336"/>
              <a:gd name="connsiteY261" fmla="*/ 2281822 h 2323145"/>
              <a:gd name="connsiteX262" fmla="*/ 0 w 11269336"/>
              <a:gd name="connsiteY262" fmla="*/ 2285369 h 2323145"/>
              <a:gd name="connsiteX263" fmla="*/ 0 w 11269336"/>
              <a:gd name="connsiteY26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9062863 w 11269336"/>
              <a:gd name="connsiteY22" fmla="*/ 754656 h 2323145"/>
              <a:gd name="connsiteX23" fmla="*/ 8914746 w 11269336"/>
              <a:gd name="connsiteY23" fmla="*/ 826428 h 2323145"/>
              <a:gd name="connsiteX24" fmla="*/ 8917778 w 11269336"/>
              <a:gd name="connsiteY24" fmla="*/ 835198 h 2323145"/>
              <a:gd name="connsiteX25" fmla="*/ 8905560 w 11269336"/>
              <a:gd name="connsiteY25" fmla="*/ 838358 h 2323145"/>
              <a:gd name="connsiteX26" fmla="*/ 8897564 w 11269336"/>
              <a:gd name="connsiteY26" fmla="*/ 834287 h 2323145"/>
              <a:gd name="connsiteX27" fmla="*/ 8878040 w 11269336"/>
              <a:gd name="connsiteY27" fmla="*/ 844150 h 2323145"/>
              <a:gd name="connsiteX28" fmla="*/ 8795998 w 11269336"/>
              <a:gd name="connsiteY28" fmla="*/ 863337 h 2323145"/>
              <a:gd name="connsiteX29" fmla="*/ 8776970 w 11269336"/>
              <a:gd name="connsiteY29" fmla="*/ 885177 h 2323145"/>
              <a:gd name="connsiteX30" fmla="*/ 8755719 w 11269336"/>
              <a:gd name="connsiteY30" fmla="*/ 889754 h 2323145"/>
              <a:gd name="connsiteX31" fmla="*/ 8743257 w 11269336"/>
              <a:gd name="connsiteY31" fmla="*/ 904723 h 2323145"/>
              <a:gd name="connsiteX32" fmla="*/ 8721366 w 11269336"/>
              <a:gd name="connsiteY32" fmla="*/ 904711 h 2323145"/>
              <a:gd name="connsiteX33" fmla="*/ 8678353 w 11269336"/>
              <a:gd name="connsiteY33" fmla="*/ 926318 h 2323145"/>
              <a:gd name="connsiteX34" fmla="*/ 8636849 w 11269336"/>
              <a:gd name="connsiteY34" fmla="*/ 937900 h 2323145"/>
              <a:gd name="connsiteX35" fmla="*/ 8620213 w 11269336"/>
              <a:gd name="connsiteY35" fmla="*/ 943068 h 2323145"/>
              <a:gd name="connsiteX36" fmla="*/ 8612581 w 11269336"/>
              <a:gd name="connsiteY36" fmla="*/ 952695 h 2323145"/>
              <a:gd name="connsiteX37" fmla="*/ 8589038 w 11269336"/>
              <a:gd name="connsiteY37" fmla="*/ 963892 h 2323145"/>
              <a:gd name="connsiteX38" fmla="*/ 8579950 w 11269336"/>
              <a:gd name="connsiteY38" fmla="*/ 960899 h 2323145"/>
              <a:gd name="connsiteX39" fmla="*/ 8579319 w 11269336"/>
              <a:gd name="connsiteY39" fmla="*/ 965630 h 2323145"/>
              <a:gd name="connsiteX40" fmla="*/ 8547429 w 11269336"/>
              <a:gd name="connsiteY40" fmla="*/ 984506 h 2323145"/>
              <a:gd name="connsiteX41" fmla="*/ 8478704 w 11269336"/>
              <a:gd name="connsiteY41" fmla="*/ 1025490 h 2323145"/>
              <a:gd name="connsiteX42" fmla="*/ 8461421 w 11269336"/>
              <a:gd name="connsiteY42" fmla="*/ 1035512 h 2323145"/>
              <a:gd name="connsiteX43" fmla="*/ 8445003 w 11269336"/>
              <a:gd name="connsiteY43" fmla="*/ 1036851 h 2323145"/>
              <a:gd name="connsiteX44" fmla="*/ 8357350 w 11269336"/>
              <a:gd name="connsiteY44" fmla="*/ 1060213 h 2323145"/>
              <a:gd name="connsiteX45" fmla="*/ 8335565 w 11269336"/>
              <a:gd name="connsiteY45" fmla="*/ 1061151 h 2323145"/>
              <a:gd name="connsiteX46" fmla="*/ 8325267 w 11269336"/>
              <a:gd name="connsiteY46" fmla="*/ 1055919 h 2323145"/>
              <a:gd name="connsiteX47" fmla="*/ 8293586 w 11269336"/>
              <a:gd name="connsiteY47" fmla="*/ 1076144 h 2323145"/>
              <a:gd name="connsiteX48" fmla="*/ 8242405 w 11269336"/>
              <a:gd name="connsiteY48" fmla="*/ 1095960 h 2323145"/>
              <a:gd name="connsiteX49" fmla="*/ 8197391 w 11269336"/>
              <a:gd name="connsiteY49" fmla="*/ 1107746 h 2323145"/>
              <a:gd name="connsiteX50" fmla="*/ 8081474 w 11269336"/>
              <a:gd name="connsiteY50" fmla="*/ 1130125 h 2323145"/>
              <a:gd name="connsiteX51" fmla="*/ 8053585 w 11269336"/>
              <a:gd name="connsiteY51" fmla="*/ 1129169 h 2323145"/>
              <a:gd name="connsiteX52" fmla="*/ 8038422 w 11269336"/>
              <a:gd name="connsiteY52" fmla="*/ 1119092 h 2323145"/>
              <a:gd name="connsiteX53" fmla="*/ 8029450 w 11269336"/>
              <a:gd name="connsiteY53" fmla="*/ 1125592 h 2323145"/>
              <a:gd name="connsiteX54" fmla="*/ 7959552 w 11269336"/>
              <a:gd name="connsiteY54" fmla="*/ 1140188 h 2323145"/>
              <a:gd name="connsiteX55" fmla="*/ 7914188 w 11269336"/>
              <a:gd name="connsiteY55" fmla="*/ 1150862 h 2323145"/>
              <a:gd name="connsiteX56" fmla="*/ 7914918 w 11269336"/>
              <a:gd name="connsiteY56" fmla="*/ 1168758 h 2323145"/>
              <a:gd name="connsiteX57" fmla="*/ 7875510 w 11269336"/>
              <a:gd name="connsiteY57" fmla="*/ 1183153 h 2323145"/>
              <a:gd name="connsiteX58" fmla="*/ 7829932 w 11269336"/>
              <a:gd name="connsiteY58" fmla="*/ 1180782 h 2323145"/>
              <a:gd name="connsiteX59" fmla="*/ 7779182 w 11269336"/>
              <a:gd name="connsiteY59" fmla="*/ 1192665 h 2323145"/>
              <a:gd name="connsiteX60" fmla="*/ 7748774 w 11269336"/>
              <a:gd name="connsiteY60" fmla="*/ 1199586 h 2323145"/>
              <a:gd name="connsiteX61" fmla="*/ 7671846 w 11269336"/>
              <a:gd name="connsiteY61" fmla="*/ 1231966 h 2323145"/>
              <a:gd name="connsiteX62" fmla="*/ 7554146 w 11269336"/>
              <a:gd name="connsiteY62" fmla="*/ 1319748 h 2323145"/>
              <a:gd name="connsiteX63" fmla="*/ 7515052 w 11269336"/>
              <a:gd name="connsiteY63" fmla="*/ 1336718 h 2323145"/>
              <a:gd name="connsiteX64" fmla="*/ 7507193 w 11269336"/>
              <a:gd name="connsiteY64" fmla="*/ 1334617 h 2323145"/>
              <a:gd name="connsiteX65" fmla="*/ 7461694 w 11269336"/>
              <a:gd name="connsiteY65" fmla="*/ 1375866 h 2323145"/>
              <a:gd name="connsiteX66" fmla="*/ 7377571 w 11269336"/>
              <a:gd name="connsiteY66" fmla="*/ 1400128 h 2323145"/>
              <a:gd name="connsiteX67" fmla="*/ 7311261 w 11269336"/>
              <a:gd name="connsiteY67" fmla="*/ 1412652 h 2323145"/>
              <a:gd name="connsiteX68" fmla="*/ 7275307 w 11269336"/>
              <a:gd name="connsiteY68" fmla="*/ 1422171 h 2323145"/>
              <a:gd name="connsiteX69" fmla="*/ 7247783 w 11269336"/>
              <a:gd name="connsiteY69" fmla="*/ 1426330 h 2323145"/>
              <a:gd name="connsiteX70" fmla="*/ 7185047 w 11269336"/>
              <a:gd name="connsiteY70" fmla="*/ 1451812 h 2323145"/>
              <a:gd name="connsiteX71" fmla="*/ 7084117 w 11269336"/>
              <a:gd name="connsiteY71" fmla="*/ 1500281 h 2323145"/>
              <a:gd name="connsiteX72" fmla="*/ 7062011 w 11269336"/>
              <a:gd name="connsiteY72" fmla="*/ 1509183 h 2323145"/>
              <a:gd name="connsiteX73" fmla="*/ 7040555 w 11269336"/>
              <a:gd name="connsiteY73" fmla="*/ 1511207 h 2323145"/>
              <a:gd name="connsiteX74" fmla="*/ 7033438 w 11269336"/>
              <a:gd name="connsiteY74" fmla="*/ 1506772 h 2323145"/>
              <a:gd name="connsiteX75" fmla="*/ 7020886 w 11269336"/>
              <a:gd name="connsiteY75" fmla="*/ 1510764 h 2323145"/>
              <a:gd name="connsiteX76" fmla="*/ 7017033 w 11269336"/>
              <a:gd name="connsiteY76" fmla="*/ 1510650 h 2323145"/>
              <a:gd name="connsiteX77" fmla="*/ 6995460 w 11269336"/>
              <a:gd name="connsiteY77" fmla="*/ 1511173 h 2323145"/>
              <a:gd name="connsiteX78" fmla="*/ 6962144 w 11269336"/>
              <a:gd name="connsiteY78" fmla="*/ 1541508 h 2323145"/>
              <a:gd name="connsiteX79" fmla="*/ 6910674 w 11269336"/>
              <a:gd name="connsiteY79" fmla="*/ 1554793 h 2323145"/>
              <a:gd name="connsiteX80" fmla="*/ 6732152 w 11269336"/>
              <a:gd name="connsiteY80" fmla="*/ 1642538 h 2323145"/>
              <a:gd name="connsiteX81" fmla="*/ 6694106 w 11269336"/>
              <a:gd name="connsiteY81" fmla="*/ 1632377 h 2323145"/>
              <a:gd name="connsiteX82" fmla="*/ 6617223 w 11269336"/>
              <a:gd name="connsiteY82" fmla="*/ 1659889 h 2323145"/>
              <a:gd name="connsiteX83" fmla="*/ 6521138 w 11269336"/>
              <a:gd name="connsiteY83" fmla="*/ 1744340 h 2323145"/>
              <a:gd name="connsiteX84" fmla="*/ 6380677 w 11269336"/>
              <a:gd name="connsiteY84" fmla="*/ 1796883 h 2323145"/>
              <a:gd name="connsiteX85" fmla="*/ 6374897 w 11269336"/>
              <a:gd name="connsiteY85" fmla="*/ 1809910 h 2323145"/>
              <a:gd name="connsiteX86" fmla="*/ 6364545 w 11269336"/>
              <a:gd name="connsiteY86" fmla="*/ 1820090 h 2323145"/>
              <a:gd name="connsiteX87" fmla="*/ 6362126 w 11269336"/>
              <a:gd name="connsiteY87" fmla="*/ 1819991 h 2323145"/>
              <a:gd name="connsiteX88" fmla="*/ 6346673 w 11269336"/>
              <a:gd name="connsiteY88" fmla="*/ 1827824 h 2323145"/>
              <a:gd name="connsiteX89" fmla="*/ 6345588 w 11269336"/>
              <a:gd name="connsiteY89" fmla="*/ 1832232 h 2323145"/>
              <a:gd name="connsiteX90" fmla="*/ 6335708 w 11269336"/>
              <a:gd name="connsiteY90" fmla="*/ 1838451 h 2323145"/>
              <a:gd name="connsiteX91" fmla="*/ 6318182 w 11269336"/>
              <a:gd name="connsiteY91" fmla="*/ 1852975 h 2323145"/>
              <a:gd name="connsiteX92" fmla="*/ 6313084 w 11269336"/>
              <a:gd name="connsiteY92" fmla="*/ 1853561 h 2323145"/>
              <a:gd name="connsiteX93" fmla="*/ 6283816 w 11269336"/>
              <a:gd name="connsiteY93" fmla="*/ 1872148 h 2323145"/>
              <a:gd name="connsiteX94" fmla="*/ 6282550 w 11269336"/>
              <a:gd name="connsiteY94" fmla="*/ 1871392 h 2323145"/>
              <a:gd name="connsiteX95" fmla="*/ 6270527 w 11269336"/>
              <a:gd name="connsiteY95" fmla="*/ 1872208 h 2323145"/>
              <a:gd name="connsiteX96" fmla="*/ 6249518 w 11269336"/>
              <a:gd name="connsiteY96" fmla="*/ 1876079 h 2323145"/>
              <a:gd name="connsiteX97" fmla="*/ 6190386 w 11269336"/>
              <a:gd name="connsiteY97" fmla="*/ 1872478 h 2323145"/>
              <a:gd name="connsiteX98" fmla="*/ 6159777 w 11269336"/>
              <a:gd name="connsiteY98" fmla="*/ 1891745 h 2323145"/>
              <a:gd name="connsiteX99" fmla="*/ 6153131 w 11269336"/>
              <a:gd name="connsiteY99" fmla="*/ 1895079 h 2323145"/>
              <a:gd name="connsiteX100" fmla="*/ 6152798 w 11269336"/>
              <a:gd name="connsiteY100" fmla="*/ 1894920 h 2323145"/>
              <a:gd name="connsiteX101" fmla="*/ 6145388 w 11269336"/>
              <a:gd name="connsiteY101" fmla="*/ 1897990 h 2323145"/>
              <a:gd name="connsiteX102" fmla="*/ 6141014 w 11269336"/>
              <a:gd name="connsiteY102" fmla="*/ 1901155 h 2323145"/>
              <a:gd name="connsiteX103" fmla="*/ 6128122 w 11269336"/>
              <a:gd name="connsiteY103" fmla="*/ 1907623 h 2323145"/>
              <a:gd name="connsiteX104" fmla="*/ 6122351 w 11269336"/>
              <a:gd name="connsiteY104" fmla="*/ 1908359 h 2323145"/>
              <a:gd name="connsiteX105" fmla="*/ 6064750 w 11269336"/>
              <a:gd name="connsiteY105" fmla="*/ 1896394 h 2323145"/>
              <a:gd name="connsiteX106" fmla="*/ 5964230 w 11269336"/>
              <a:gd name="connsiteY106" fmla="*/ 1910038 h 2323145"/>
              <a:gd name="connsiteX107" fmla="*/ 5865399 w 11269336"/>
              <a:gd name="connsiteY107" fmla="*/ 1926966 h 2323145"/>
              <a:gd name="connsiteX108" fmla="*/ 5829951 w 11269336"/>
              <a:gd name="connsiteY108" fmla="*/ 1934755 h 2323145"/>
              <a:gd name="connsiteX109" fmla="*/ 5765285 w 11269336"/>
              <a:gd name="connsiteY109" fmla="*/ 1941322 h 2323145"/>
              <a:gd name="connsiteX110" fmla="*/ 5734750 w 11269336"/>
              <a:gd name="connsiteY110" fmla="*/ 1939793 h 2323145"/>
              <a:gd name="connsiteX111" fmla="*/ 5733569 w 11269336"/>
              <a:gd name="connsiteY111" fmla="*/ 1940505 h 2323145"/>
              <a:gd name="connsiteX112" fmla="*/ 5730329 w 11269336"/>
              <a:gd name="connsiteY112" fmla="*/ 1937845 h 2323145"/>
              <a:gd name="connsiteX113" fmla="*/ 5724661 w 11269336"/>
              <a:gd name="connsiteY113" fmla="*/ 1937455 h 2323145"/>
              <a:gd name="connsiteX114" fmla="*/ 5710186 w 11269336"/>
              <a:gd name="connsiteY114" fmla="*/ 1941370 h 2323145"/>
              <a:gd name="connsiteX115" fmla="*/ 5704910 w 11269336"/>
              <a:gd name="connsiteY115" fmla="*/ 1943663 h 2323145"/>
              <a:gd name="connsiteX116" fmla="*/ 5696836 w 11269336"/>
              <a:gd name="connsiteY116" fmla="*/ 1945271 h 2323145"/>
              <a:gd name="connsiteX117" fmla="*/ 5696583 w 11269336"/>
              <a:gd name="connsiteY117" fmla="*/ 1945050 h 2323145"/>
              <a:gd name="connsiteX118" fmla="*/ 5689123 w 11269336"/>
              <a:gd name="connsiteY118" fmla="*/ 1947067 h 2323145"/>
              <a:gd name="connsiteX119" fmla="*/ 5653291 w 11269336"/>
              <a:gd name="connsiteY119" fmla="*/ 1960245 h 2323145"/>
              <a:gd name="connsiteX120" fmla="*/ 5599385 w 11269336"/>
              <a:gd name="connsiteY120" fmla="*/ 1945198 h 2323145"/>
              <a:gd name="connsiteX121" fmla="*/ 5578300 w 11269336"/>
              <a:gd name="connsiteY121" fmla="*/ 1944963 h 2323145"/>
              <a:gd name="connsiteX122" fmla="*/ 5566758 w 11269336"/>
              <a:gd name="connsiteY122" fmla="*/ 1943441 h 2323145"/>
              <a:gd name="connsiteX123" fmla="*/ 5565857 w 11269336"/>
              <a:gd name="connsiteY123" fmla="*/ 1942445 h 2323145"/>
              <a:gd name="connsiteX124" fmla="*/ 5531534 w 11269336"/>
              <a:gd name="connsiteY124" fmla="*/ 1955208 h 2323145"/>
              <a:gd name="connsiteX125" fmla="*/ 5526552 w 11269336"/>
              <a:gd name="connsiteY125" fmla="*/ 1954799 h 2323145"/>
              <a:gd name="connsiteX126" fmla="*/ 5504723 w 11269336"/>
              <a:gd name="connsiteY126" fmla="*/ 1965811 h 2323145"/>
              <a:gd name="connsiteX127" fmla="*/ 5493156 w 11269336"/>
              <a:gd name="connsiteY127" fmla="*/ 1970063 h 2323145"/>
              <a:gd name="connsiteX128" fmla="*/ 5490486 w 11269336"/>
              <a:gd name="connsiteY128" fmla="*/ 1974227 h 2323145"/>
              <a:gd name="connsiteX129" fmla="*/ 5473107 w 11269336"/>
              <a:gd name="connsiteY129" fmla="*/ 1979001 h 2323145"/>
              <a:gd name="connsiteX130" fmla="*/ 5470885 w 11269336"/>
              <a:gd name="connsiteY130" fmla="*/ 1978432 h 2323145"/>
              <a:gd name="connsiteX131" fmla="*/ 5457393 w 11269336"/>
              <a:gd name="connsiteY131" fmla="*/ 1986525 h 2323145"/>
              <a:gd name="connsiteX132" fmla="*/ 5447102 w 11269336"/>
              <a:gd name="connsiteY132" fmla="*/ 1998329 h 2323145"/>
              <a:gd name="connsiteX133" fmla="*/ 5159151 w 11269336"/>
              <a:gd name="connsiteY133" fmla="*/ 2029640 h 2323145"/>
              <a:gd name="connsiteX134" fmla="*/ 5041688 w 11269336"/>
              <a:gd name="connsiteY134" fmla="*/ 2022334 h 2323145"/>
              <a:gd name="connsiteX135" fmla="*/ 4860988 w 11269336"/>
              <a:gd name="connsiteY135" fmla="*/ 2135698 h 2323145"/>
              <a:gd name="connsiteX136" fmla="*/ 4807902 w 11269336"/>
              <a:gd name="connsiteY136" fmla="*/ 2138894 h 2323145"/>
              <a:gd name="connsiteX137" fmla="*/ 4765388 w 11269336"/>
              <a:gd name="connsiteY137" fmla="*/ 2162525 h 2323145"/>
              <a:gd name="connsiteX138" fmla="*/ 4745033 w 11269336"/>
              <a:gd name="connsiteY138" fmla="*/ 2158859 h 2323145"/>
              <a:gd name="connsiteX139" fmla="*/ 4741475 w 11269336"/>
              <a:gd name="connsiteY139" fmla="*/ 2157998 h 2323145"/>
              <a:gd name="connsiteX140" fmla="*/ 4728247 w 11269336"/>
              <a:gd name="connsiteY140" fmla="*/ 2159526 h 2323145"/>
              <a:gd name="connsiteX141" fmla="*/ 4723263 w 11269336"/>
              <a:gd name="connsiteY141" fmla="*/ 2153742 h 2323145"/>
              <a:gd name="connsiteX142" fmla="*/ 4702453 w 11269336"/>
              <a:gd name="connsiteY142" fmla="*/ 2151586 h 2323145"/>
              <a:gd name="connsiteX143" fmla="*/ 4678455 w 11269336"/>
              <a:gd name="connsiteY143" fmla="*/ 2156131 h 2323145"/>
              <a:gd name="connsiteX144" fmla="*/ 4593061 w 11269336"/>
              <a:gd name="connsiteY144" fmla="*/ 2171597 h 2323145"/>
              <a:gd name="connsiteX145" fmla="*/ 4579902 w 11269336"/>
              <a:gd name="connsiteY145" fmla="*/ 2177927 h 2323145"/>
              <a:gd name="connsiteX146" fmla="*/ 4533444 w 11269336"/>
              <a:gd name="connsiteY146" fmla="*/ 2181200 h 2323145"/>
              <a:gd name="connsiteX147" fmla="*/ 4492832 w 11269336"/>
              <a:gd name="connsiteY147" fmla="*/ 2188033 h 2323145"/>
              <a:gd name="connsiteX148" fmla="*/ 4467257 w 11269336"/>
              <a:gd name="connsiteY148" fmla="*/ 2196121 h 2323145"/>
              <a:gd name="connsiteX149" fmla="*/ 4459937 w 11269336"/>
              <a:gd name="connsiteY149" fmla="*/ 2195182 h 2323145"/>
              <a:gd name="connsiteX150" fmla="*/ 4433312 w 11269336"/>
              <a:gd name="connsiteY150" fmla="*/ 2199004 h 2323145"/>
              <a:gd name="connsiteX151" fmla="*/ 4420601 w 11269336"/>
              <a:gd name="connsiteY151" fmla="*/ 2205158 h 2323145"/>
              <a:gd name="connsiteX152" fmla="*/ 4405765 w 11269336"/>
              <a:gd name="connsiteY152" fmla="*/ 2199902 h 2323145"/>
              <a:gd name="connsiteX153" fmla="*/ 4401354 w 11269336"/>
              <a:gd name="connsiteY153" fmla="*/ 2194745 h 2323145"/>
              <a:gd name="connsiteX154" fmla="*/ 4383151 w 11269336"/>
              <a:gd name="connsiteY154" fmla="*/ 2201140 h 2323145"/>
              <a:gd name="connsiteX155" fmla="*/ 4366646 w 11269336"/>
              <a:gd name="connsiteY155" fmla="*/ 2198564 h 2323145"/>
              <a:gd name="connsiteX156" fmla="*/ 4354009 w 11269336"/>
              <a:gd name="connsiteY156" fmla="*/ 2204984 h 2323145"/>
              <a:gd name="connsiteX157" fmla="*/ 4348284 w 11269336"/>
              <a:gd name="connsiteY157" fmla="*/ 2205270 h 2323145"/>
              <a:gd name="connsiteX158" fmla="*/ 4333906 w 11269336"/>
              <a:gd name="connsiteY158" fmla="*/ 2205251 h 2323145"/>
              <a:gd name="connsiteX159" fmla="*/ 4308819 w 11269336"/>
              <a:gd name="connsiteY159" fmla="*/ 2203822 h 2323145"/>
              <a:gd name="connsiteX160" fmla="*/ 4301210 w 11269336"/>
              <a:gd name="connsiteY160" fmla="*/ 2204456 h 2323145"/>
              <a:gd name="connsiteX161" fmla="*/ 4283095 w 11269336"/>
              <a:gd name="connsiteY161" fmla="*/ 2198177 h 2323145"/>
              <a:gd name="connsiteX162" fmla="*/ 4250119 w 11269336"/>
              <a:gd name="connsiteY162" fmla="*/ 2196342 h 2323145"/>
              <a:gd name="connsiteX163" fmla="*/ 4189203 w 11269336"/>
              <a:gd name="connsiteY163" fmla="*/ 2178994 h 2323145"/>
              <a:gd name="connsiteX164" fmla="*/ 4154035 w 11269336"/>
              <a:gd name="connsiteY164" fmla="*/ 2171950 h 2323145"/>
              <a:gd name="connsiteX165" fmla="*/ 4129569 w 11269336"/>
              <a:gd name="connsiteY165" fmla="*/ 2163850 h 2323145"/>
              <a:gd name="connsiteX166" fmla="*/ 4061250 w 11269336"/>
              <a:gd name="connsiteY166" fmla="*/ 2159236 h 2323145"/>
              <a:gd name="connsiteX167" fmla="*/ 3945480 w 11269336"/>
              <a:gd name="connsiteY167" fmla="*/ 2158279 h 2323145"/>
              <a:gd name="connsiteX168" fmla="*/ 3921468 w 11269336"/>
              <a:gd name="connsiteY168" fmla="*/ 2156588 h 2323145"/>
              <a:gd name="connsiteX169" fmla="*/ 3903348 w 11269336"/>
              <a:gd name="connsiteY169" fmla="*/ 2149220 h 2323145"/>
              <a:gd name="connsiteX170" fmla="*/ 3901342 w 11269336"/>
              <a:gd name="connsiteY170" fmla="*/ 2142355 h 2323145"/>
              <a:gd name="connsiteX171" fmla="*/ 3888539 w 11269336"/>
              <a:gd name="connsiteY171" fmla="*/ 2140476 h 2323145"/>
              <a:gd name="connsiteX172" fmla="*/ 3885662 w 11269336"/>
              <a:gd name="connsiteY172" fmla="*/ 2138740 h 2323145"/>
              <a:gd name="connsiteX173" fmla="*/ 3868627 w 11269336"/>
              <a:gd name="connsiteY173" fmla="*/ 2130023 h 2323145"/>
              <a:gd name="connsiteX174" fmla="*/ 3819177 w 11269336"/>
              <a:gd name="connsiteY174" fmla="*/ 2142111 h 2323145"/>
              <a:gd name="connsiteX175" fmla="*/ 3769100 w 11269336"/>
              <a:gd name="connsiteY175" fmla="*/ 2131731 h 2323145"/>
              <a:gd name="connsiteX176" fmla="*/ 3562752 w 11269336"/>
              <a:gd name="connsiteY176" fmla="*/ 2131785 h 2323145"/>
              <a:gd name="connsiteX177" fmla="*/ 3541402 w 11269336"/>
              <a:gd name="connsiteY177" fmla="*/ 2106821 h 2323145"/>
              <a:gd name="connsiteX178" fmla="*/ 3365341 w 11269336"/>
              <a:gd name="connsiteY178" fmla="*/ 2077638 h 2323145"/>
              <a:gd name="connsiteX179" fmla="*/ 3170922 w 11269336"/>
              <a:gd name="connsiteY179" fmla="*/ 2115957 h 2323145"/>
              <a:gd name="connsiteX180" fmla="*/ 3156256 w 11269336"/>
              <a:gd name="connsiteY180" fmla="*/ 2124773 h 2323145"/>
              <a:gd name="connsiteX181" fmla="*/ 3140298 w 11269336"/>
              <a:gd name="connsiteY181" fmla="*/ 2129182 h 2323145"/>
              <a:gd name="connsiteX182" fmla="*/ 3138514 w 11269336"/>
              <a:gd name="connsiteY182" fmla="*/ 2128069 h 2323145"/>
              <a:gd name="connsiteX183" fmla="*/ 3120467 w 11269336"/>
              <a:gd name="connsiteY183" fmla="*/ 2128281 h 2323145"/>
              <a:gd name="connsiteX184" fmla="*/ 3116175 w 11269336"/>
              <a:gd name="connsiteY184" fmla="*/ 2131633 h 2323145"/>
              <a:gd name="connsiteX185" fmla="*/ 3103685 w 11269336"/>
              <a:gd name="connsiteY185" fmla="*/ 2132814 h 2323145"/>
              <a:gd name="connsiteX186" fmla="*/ 3078794 w 11269336"/>
              <a:gd name="connsiteY186" fmla="*/ 2137935 h 2323145"/>
              <a:gd name="connsiteX187" fmla="*/ 3074407 w 11269336"/>
              <a:gd name="connsiteY187" fmla="*/ 2136274 h 2323145"/>
              <a:gd name="connsiteX188" fmla="*/ 3037285 w 11269336"/>
              <a:gd name="connsiteY188" fmla="*/ 2139919 h 2323145"/>
              <a:gd name="connsiteX189" fmla="*/ 3036901 w 11269336"/>
              <a:gd name="connsiteY189" fmla="*/ 2138726 h 2323145"/>
              <a:gd name="connsiteX190" fmla="*/ 3026996 w 11269336"/>
              <a:gd name="connsiteY190" fmla="*/ 2134322 h 2323145"/>
              <a:gd name="connsiteX191" fmla="*/ 3007772 w 11269336"/>
              <a:gd name="connsiteY191" fmla="*/ 2128742 h 2323145"/>
              <a:gd name="connsiteX192" fmla="*/ 2965030 w 11269336"/>
              <a:gd name="connsiteY192" fmla="*/ 2100494 h 2323145"/>
              <a:gd name="connsiteX193" fmla="*/ 2926342 w 11269336"/>
              <a:gd name="connsiteY193" fmla="*/ 2104155 h 2323145"/>
              <a:gd name="connsiteX194" fmla="*/ 2918608 w 11269336"/>
              <a:gd name="connsiteY194" fmla="*/ 2104215 h 2323145"/>
              <a:gd name="connsiteX195" fmla="*/ 2918475 w 11269336"/>
              <a:gd name="connsiteY195" fmla="*/ 2103937 h 2323145"/>
              <a:gd name="connsiteX196" fmla="*/ 2910360 w 11269336"/>
              <a:gd name="connsiteY196" fmla="*/ 2103444 h 2323145"/>
              <a:gd name="connsiteX197" fmla="*/ 2904507 w 11269336"/>
              <a:gd name="connsiteY197" fmla="*/ 2104326 h 2323145"/>
              <a:gd name="connsiteX198" fmla="*/ 2889503 w 11269336"/>
              <a:gd name="connsiteY198" fmla="*/ 2104443 h 2323145"/>
              <a:gd name="connsiteX199" fmla="*/ 2884480 w 11269336"/>
              <a:gd name="connsiteY199" fmla="*/ 2102626 h 2323145"/>
              <a:gd name="connsiteX200" fmla="*/ 2882689 w 11269336"/>
              <a:gd name="connsiteY200" fmla="*/ 2099228 h 2323145"/>
              <a:gd name="connsiteX201" fmla="*/ 2881291 w 11269336"/>
              <a:gd name="connsiteY201" fmla="*/ 2099618 h 2323145"/>
              <a:gd name="connsiteX202" fmla="*/ 2853979 w 11269336"/>
              <a:gd name="connsiteY202" fmla="*/ 2090388 h 2323145"/>
              <a:gd name="connsiteX203" fmla="*/ 2791790 w 11269336"/>
              <a:gd name="connsiteY203" fmla="*/ 2080332 h 2323145"/>
              <a:gd name="connsiteX204" fmla="*/ 2755844 w 11269336"/>
              <a:gd name="connsiteY204" fmla="*/ 2078874 h 2323145"/>
              <a:gd name="connsiteX205" fmla="*/ 2657742 w 11269336"/>
              <a:gd name="connsiteY205" fmla="*/ 2070179 h 2323145"/>
              <a:gd name="connsiteX206" fmla="*/ 2559549 w 11269336"/>
              <a:gd name="connsiteY206" fmla="*/ 2057873 h 2323145"/>
              <a:gd name="connsiteX207" fmla="*/ 2512054 w 11269336"/>
              <a:gd name="connsiteY207" fmla="*/ 2031671 h 2323145"/>
              <a:gd name="connsiteX208" fmla="*/ 2506437 w 11269336"/>
              <a:gd name="connsiteY208" fmla="*/ 2030918 h 2323145"/>
              <a:gd name="connsiteX209" fmla="*/ 2491752 w 11269336"/>
              <a:gd name="connsiteY209" fmla="*/ 2033906 h 2323145"/>
              <a:gd name="connsiteX210" fmla="*/ 2486338 w 11269336"/>
              <a:gd name="connsiteY210" fmla="*/ 2035862 h 2323145"/>
              <a:gd name="connsiteX211" fmla="*/ 2478186 w 11269336"/>
              <a:gd name="connsiteY211" fmla="*/ 2036953 h 2323145"/>
              <a:gd name="connsiteX212" fmla="*/ 2477950 w 11269336"/>
              <a:gd name="connsiteY212" fmla="*/ 2036715 h 2323145"/>
              <a:gd name="connsiteX213" fmla="*/ 2470381 w 11269336"/>
              <a:gd name="connsiteY213" fmla="*/ 2038256 h 2323145"/>
              <a:gd name="connsiteX214" fmla="*/ 2433781 w 11269336"/>
              <a:gd name="connsiteY214" fmla="*/ 2049140 h 2323145"/>
              <a:gd name="connsiteX215" fmla="*/ 2381172 w 11269336"/>
              <a:gd name="connsiteY215" fmla="*/ 2030645 h 2323145"/>
              <a:gd name="connsiteX216" fmla="*/ 2360198 w 11269336"/>
              <a:gd name="connsiteY216" fmla="*/ 2029059 h 2323145"/>
              <a:gd name="connsiteX217" fmla="*/ 2348815 w 11269336"/>
              <a:gd name="connsiteY217" fmla="*/ 2026798 h 2323145"/>
              <a:gd name="connsiteX218" fmla="*/ 2347988 w 11269336"/>
              <a:gd name="connsiteY218" fmla="*/ 2025745 h 2323145"/>
              <a:gd name="connsiteX219" fmla="*/ 2312920 w 11269336"/>
              <a:gd name="connsiteY219" fmla="*/ 2036311 h 2323145"/>
              <a:gd name="connsiteX220" fmla="*/ 2307986 w 11269336"/>
              <a:gd name="connsiteY220" fmla="*/ 2035583 h 2323145"/>
              <a:gd name="connsiteX221" fmla="*/ 2285481 w 11269336"/>
              <a:gd name="connsiteY221" fmla="*/ 2045197 h 2323145"/>
              <a:gd name="connsiteX222" fmla="*/ 2273666 w 11269336"/>
              <a:gd name="connsiteY222" fmla="*/ 2048710 h 2323145"/>
              <a:gd name="connsiteX223" fmla="*/ 2270719 w 11269336"/>
              <a:gd name="connsiteY223" fmla="*/ 2052702 h 2323145"/>
              <a:gd name="connsiteX224" fmla="*/ 2253080 w 11269336"/>
              <a:gd name="connsiteY224" fmla="*/ 2056363 h 2323145"/>
              <a:gd name="connsiteX225" fmla="*/ 2250906 w 11269336"/>
              <a:gd name="connsiteY225" fmla="*/ 2055654 h 2323145"/>
              <a:gd name="connsiteX226" fmla="*/ 2236905 w 11269336"/>
              <a:gd name="connsiteY226" fmla="*/ 2062882 h 2323145"/>
              <a:gd name="connsiteX227" fmla="*/ 2225830 w 11269336"/>
              <a:gd name="connsiteY227" fmla="*/ 2074027 h 2323145"/>
              <a:gd name="connsiteX228" fmla="*/ 2073776 w 11269336"/>
              <a:gd name="connsiteY228" fmla="*/ 2089244 h 2323145"/>
              <a:gd name="connsiteX229" fmla="*/ 1948256 w 11269336"/>
              <a:gd name="connsiteY229" fmla="*/ 2146616 h 2323145"/>
              <a:gd name="connsiteX230" fmla="*/ 1865582 w 11269336"/>
              <a:gd name="connsiteY230" fmla="*/ 2153738 h 2323145"/>
              <a:gd name="connsiteX231" fmla="*/ 1835210 w 11269336"/>
              <a:gd name="connsiteY231" fmla="*/ 2134244 h 2323145"/>
              <a:gd name="connsiteX232" fmla="*/ 1632661 w 11269336"/>
              <a:gd name="connsiteY232" fmla="*/ 2173882 h 2323145"/>
              <a:gd name="connsiteX233" fmla="*/ 1579590 w 11269336"/>
              <a:gd name="connsiteY233" fmla="*/ 2173680 h 2323145"/>
              <a:gd name="connsiteX234" fmla="*/ 1535601 w 11269336"/>
              <a:gd name="connsiteY234" fmla="*/ 2194590 h 2323145"/>
              <a:gd name="connsiteX235" fmla="*/ 1515594 w 11269336"/>
              <a:gd name="connsiteY235" fmla="*/ 2189622 h 2323145"/>
              <a:gd name="connsiteX236" fmla="*/ 1512113 w 11269336"/>
              <a:gd name="connsiteY236" fmla="*/ 2188534 h 2323145"/>
              <a:gd name="connsiteX237" fmla="*/ 1498838 w 11269336"/>
              <a:gd name="connsiteY237" fmla="*/ 2189213 h 2323145"/>
              <a:gd name="connsiteX238" fmla="*/ 1494279 w 11269336"/>
              <a:gd name="connsiteY238" fmla="*/ 2183112 h 2323145"/>
              <a:gd name="connsiteX239" fmla="*/ 1473714 w 11269336"/>
              <a:gd name="connsiteY239" fmla="*/ 2179625 h 2323145"/>
              <a:gd name="connsiteX240" fmla="*/ 1449503 w 11269336"/>
              <a:gd name="connsiteY240" fmla="*/ 2182633 h 2323145"/>
              <a:gd name="connsiteX241" fmla="*/ 1266687 w 11269336"/>
              <a:gd name="connsiteY241" fmla="*/ 2212688 h 2323145"/>
              <a:gd name="connsiteX242" fmla="*/ 1239614 w 11269336"/>
              <a:gd name="connsiteY242" fmla="*/ 2209727 h 2323145"/>
              <a:gd name="connsiteX243" fmla="*/ 1202436 w 11269336"/>
              <a:gd name="connsiteY243" fmla="*/ 2209817 h 2323145"/>
              <a:gd name="connsiteX244" fmla="*/ 1136097 w 11269336"/>
              <a:gd name="connsiteY244" fmla="*/ 2205112 h 2323145"/>
              <a:gd name="connsiteX245" fmla="*/ 988232 w 11269336"/>
              <a:gd name="connsiteY245" fmla="*/ 2235635 h 2323145"/>
              <a:gd name="connsiteX246" fmla="*/ 981959 w 11269336"/>
              <a:gd name="connsiteY246" fmla="*/ 2231607 h 2323145"/>
              <a:gd name="connsiteX247" fmla="*/ 938600 w 11269336"/>
              <a:gd name="connsiteY247" fmla="*/ 2238113 h 2323145"/>
              <a:gd name="connsiteX248" fmla="*/ 791788 w 11269336"/>
              <a:gd name="connsiteY248" fmla="*/ 2293224 h 2323145"/>
              <a:gd name="connsiteX249" fmla="*/ 706914 w 11269336"/>
              <a:gd name="connsiteY249" fmla="*/ 2305046 h 2323145"/>
              <a:gd name="connsiteX250" fmla="*/ 675971 w 11269336"/>
              <a:gd name="connsiteY250" fmla="*/ 2304030 h 2323145"/>
              <a:gd name="connsiteX251" fmla="*/ 624180 w 11269336"/>
              <a:gd name="connsiteY251" fmla="*/ 2302650 h 2323145"/>
              <a:gd name="connsiteX252" fmla="*/ 583453 w 11269336"/>
              <a:gd name="connsiteY252" fmla="*/ 2288788 h 2323145"/>
              <a:gd name="connsiteX253" fmla="*/ 540946 w 11269336"/>
              <a:gd name="connsiteY253" fmla="*/ 2292721 h 2323145"/>
              <a:gd name="connsiteX254" fmla="*/ 533680 w 11269336"/>
              <a:gd name="connsiteY254" fmla="*/ 2310233 h 2323145"/>
              <a:gd name="connsiteX255" fmla="*/ 487366 w 11269336"/>
              <a:gd name="connsiteY255" fmla="*/ 2309053 h 2323145"/>
              <a:gd name="connsiteX256" fmla="*/ 416820 w 11269336"/>
              <a:gd name="connsiteY256" fmla="*/ 2305443 h 2323145"/>
              <a:gd name="connsiteX257" fmla="*/ 376805 w 11269336"/>
              <a:gd name="connsiteY257" fmla="*/ 2307647 h 2323145"/>
              <a:gd name="connsiteX258" fmla="*/ 266777 w 11269336"/>
              <a:gd name="connsiteY258" fmla="*/ 2309012 h 2323145"/>
              <a:gd name="connsiteX259" fmla="*/ 156013 w 11269336"/>
              <a:gd name="connsiteY259" fmla="*/ 2306832 h 2323145"/>
              <a:gd name="connsiteX260" fmla="*/ 87258 w 11269336"/>
              <a:gd name="connsiteY260" fmla="*/ 2285511 h 2323145"/>
              <a:gd name="connsiteX261" fmla="*/ 23798 w 11269336"/>
              <a:gd name="connsiteY261" fmla="*/ 2281822 h 2323145"/>
              <a:gd name="connsiteX262" fmla="*/ 0 w 11269336"/>
              <a:gd name="connsiteY262" fmla="*/ 2285369 h 2323145"/>
              <a:gd name="connsiteX263" fmla="*/ 0 w 11269336"/>
              <a:gd name="connsiteY26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41688 w 11269336"/>
              <a:gd name="connsiteY133" fmla="*/ 2022334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41688 w 11269336"/>
              <a:gd name="connsiteY133" fmla="*/ 2022334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33444 w 11269336"/>
              <a:gd name="connsiteY144" fmla="*/ 2181200 h 2323145"/>
              <a:gd name="connsiteX145" fmla="*/ 4492832 w 11269336"/>
              <a:gd name="connsiteY145" fmla="*/ 2188033 h 2323145"/>
              <a:gd name="connsiteX146" fmla="*/ 4467257 w 11269336"/>
              <a:gd name="connsiteY146" fmla="*/ 2196121 h 2323145"/>
              <a:gd name="connsiteX147" fmla="*/ 4459937 w 11269336"/>
              <a:gd name="connsiteY147" fmla="*/ 2195182 h 2323145"/>
              <a:gd name="connsiteX148" fmla="*/ 4433312 w 11269336"/>
              <a:gd name="connsiteY148" fmla="*/ 2199004 h 2323145"/>
              <a:gd name="connsiteX149" fmla="*/ 4420601 w 11269336"/>
              <a:gd name="connsiteY149" fmla="*/ 2205158 h 2323145"/>
              <a:gd name="connsiteX150" fmla="*/ 4405765 w 11269336"/>
              <a:gd name="connsiteY150" fmla="*/ 2199902 h 2323145"/>
              <a:gd name="connsiteX151" fmla="*/ 4401354 w 11269336"/>
              <a:gd name="connsiteY151" fmla="*/ 2194745 h 2323145"/>
              <a:gd name="connsiteX152" fmla="*/ 4383151 w 11269336"/>
              <a:gd name="connsiteY152" fmla="*/ 2201140 h 2323145"/>
              <a:gd name="connsiteX153" fmla="*/ 4366646 w 11269336"/>
              <a:gd name="connsiteY153" fmla="*/ 2198564 h 2323145"/>
              <a:gd name="connsiteX154" fmla="*/ 4354009 w 11269336"/>
              <a:gd name="connsiteY154" fmla="*/ 2204984 h 2323145"/>
              <a:gd name="connsiteX155" fmla="*/ 4348284 w 11269336"/>
              <a:gd name="connsiteY155" fmla="*/ 2205270 h 2323145"/>
              <a:gd name="connsiteX156" fmla="*/ 4333906 w 11269336"/>
              <a:gd name="connsiteY156" fmla="*/ 2205251 h 2323145"/>
              <a:gd name="connsiteX157" fmla="*/ 4308819 w 11269336"/>
              <a:gd name="connsiteY157" fmla="*/ 2203822 h 2323145"/>
              <a:gd name="connsiteX158" fmla="*/ 4301210 w 11269336"/>
              <a:gd name="connsiteY158" fmla="*/ 2204456 h 2323145"/>
              <a:gd name="connsiteX159" fmla="*/ 4283095 w 11269336"/>
              <a:gd name="connsiteY159" fmla="*/ 2198177 h 2323145"/>
              <a:gd name="connsiteX160" fmla="*/ 4250119 w 11269336"/>
              <a:gd name="connsiteY160" fmla="*/ 2196342 h 2323145"/>
              <a:gd name="connsiteX161" fmla="*/ 4189203 w 11269336"/>
              <a:gd name="connsiteY161" fmla="*/ 2178994 h 2323145"/>
              <a:gd name="connsiteX162" fmla="*/ 4154035 w 11269336"/>
              <a:gd name="connsiteY162" fmla="*/ 2171950 h 2323145"/>
              <a:gd name="connsiteX163" fmla="*/ 4129569 w 11269336"/>
              <a:gd name="connsiteY163" fmla="*/ 2163850 h 2323145"/>
              <a:gd name="connsiteX164" fmla="*/ 4061250 w 11269336"/>
              <a:gd name="connsiteY164" fmla="*/ 2159236 h 2323145"/>
              <a:gd name="connsiteX165" fmla="*/ 3945480 w 11269336"/>
              <a:gd name="connsiteY165" fmla="*/ 2158279 h 2323145"/>
              <a:gd name="connsiteX166" fmla="*/ 3921468 w 11269336"/>
              <a:gd name="connsiteY166" fmla="*/ 2156588 h 2323145"/>
              <a:gd name="connsiteX167" fmla="*/ 3903348 w 11269336"/>
              <a:gd name="connsiteY167" fmla="*/ 2149220 h 2323145"/>
              <a:gd name="connsiteX168" fmla="*/ 3901342 w 11269336"/>
              <a:gd name="connsiteY168" fmla="*/ 2142355 h 2323145"/>
              <a:gd name="connsiteX169" fmla="*/ 3888539 w 11269336"/>
              <a:gd name="connsiteY169" fmla="*/ 2140476 h 2323145"/>
              <a:gd name="connsiteX170" fmla="*/ 3885662 w 11269336"/>
              <a:gd name="connsiteY170" fmla="*/ 2138740 h 2323145"/>
              <a:gd name="connsiteX171" fmla="*/ 3868627 w 11269336"/>
              <a:gd name="connsiteY171" fmla="*/ 2130023 h 2323145"/>
              <a:gd name="connsiteX172" fmla="*/ 3819177 w 11269336"/>
              <a:gd name="connsiteY172" fmla="*/ 2142111 h 2323145"/>
              <a:gd name="connsiteX173" fmla="*/ 3769100 w 11269336"/>
              <a:gd name="connsiteY173" fmla="*/ 2131731 h 2323145"/>
              <a:gd name="connsiteX174" fmla="*/ 3562752 w 11269336"/>
              <a:gd name="connsiteY174" fmla="*/ 2131785 h 2323145"/>
              <a:gd name="connsiteX175" fmla="*/ 3541402 w 11269336"/>
              <a:gd name="connsiteY175" fmla="*/ 2106821 h 2323145"/>
              <a:gd name="connsiteX176" fmla="*/ 3365341 w 11269336"/>
              <a:gd name="connsiteY176" fmla="*/ 2077638 h 2323145"/>
              <a:gd name="connsiteX177" fmla="*/ 3170922 w 11269336"/>
              <a:gd name="connsiteY177" fmla="*/ 2115957 h 2323145"/>
              <a:gd name="connsiteX178" fmla="*/ 3156256 w 11269336"/>
              <a:gd name="connsiteY178" fmla="*/ 2124773 h 2323145"/>
              <a:gd name="connsiteX179" fmla="*/ 3140298 w 11269336"/>
              <a:gd name="connsiteY179" fmla="*/ 2129182 h 2323145"/>
              <a:gd name="connsiteX180" fmla="*/ 3138514 w 11269336"/>
              <a:gd name="connsiteY180" fmla="*/ 2128069 h 2323145"/>
              <a:gd name="connsiteX181" fmla="*/ 3120467 w 11269336"/>
              <a:gd name="connsiteY181" fmla="*/ 2128281 h 2323145"/>
              <a:gd name="connsiteX182" fmla="*/ 3116175 w 11269336"/>
              <a:gd name="connsiteY182" fmla="*/ 2131633 h 2323145"/>
              <a:gd name="connsiteX183" fmla="*/ 3103685 w 11269336"/>
              <a:gd name="connsiteY183" fmla="*/ 2132814 h 2323145"/>
              <a:gd name="connsiteX184" fmla="*/ 3078794 w 11269336"/>
              <a:gd name="connsiteY184" fmla="*/ 2137935 h 2323145"/>
              <a:gd name="connsiteX185" fmla="*/ 3074407 w 11269336"/>
              <a:gd name="connsiteY185" fmla="*/ 2136274 h 2323145"/>
              <a:gd name="connsiteX186" fmla="*/ 3037285 w 11269336"/>
              <a:gd name="connsiteY186" fmla="*/ 2139919 h 2323145"/>
              <a:gd name="connsiteX187" fmla="*/ 3036901 w 11269336"/>
              <a:gd name="connsiteY187" fmla="*/ 2138726 h 2323145"/>
              <a:gd name="connsiteX188" fmla="*/ 3026996 w 11269336"/>
              <a:gd name="connsiteY188" fmla="*/ 2134322 h 2323145"/>
              <a:gd name="connsiteX189" fmla="*/ 3007772 w 11269336"/>
              <a:gd name="connsiteY189" fmla="*/ 2128742 h 2323145"/>
              <a:gd name="connsiteX190" fmla="*/ 2965030 w 11269336"/>
              <a:gd name="connsiteY190" fmla="*/ 2100494 h 2323145"/>
              <a:gd name="connsiteX191" fmla="*/ 2926342 w 11269336"/>
              <a:gd name="connsiteY191" fmla="*/ 2104155 h 2323145"/>
              <a:gd name="connsiteX192" fmla="*/ 2918608 w 11269336"/>
              <a:gd name="connsiteY192" fmla="*/ 2104215 h 2323145"/>
              <a:gd name="connsiteX193" fmla="*/ 2918475 w 11269336"/>
              <a:gd name="connsiteY193" fmla="*/ 2103937 h 2323145"/>
              <a:gd name="connsiteX194" fmla="*/ 2910360 w 11269336"/>
              <a:gd name="connsiteY194" fmla="*/ 2103444 h 2323145"/>
              <a:gd name="connsiteX195" fmla="*/ 2904507 w 11269336"/>
              <a:gd name="connsiteY195" fmla="*/ 2104326 h 2323145"/>
              <a:gd name="connsiteX196" fmla="*/ 2889503 w 11269336"/>
              <a:gd name="connsiteY196" fmla="*/ 2104443 h 2323145"/>
              <a:gd name="connsiteX197" fmla="*/ 2884480 w 11269336"/>
              <a:gd name="connsiteY197" fmla="*/ 2102626 h 2323145"/>
              <a:gd name="connsiteX198" fmla="*/ 2882689 w 11269336"/>
              <a:gd name="connsiteY198" fmla="*/ 2099228 h 2323145"/>
              <a:gd name="connsiteX199" fmla="*/ 2881291 w 11269336"/>
              <a:gd name="connsiteY199" fmla="*/ 2099618 h 2323145"/>
              <a:gd name="connsiteX200" fmla="*/ 2853979 w 11269336"/>
              <a:gd name="connsiteY200" fmla="*/ 2090388 h 2323145"/>
              <a:gd name="connsiteX201" fmla="*/ 2791790 w 11269336"/>
              <a:gd name="connsiteY201" fmla="*/ 2080332 h 2323145"/>
              <a:gd name="connsiteX202" fmla="*/ 2755844 w 11269336"/>
              <a:gd name="connsiteY202" fmla="*/ 2078874 h 2323145"/>
              <a:gd name="connsiteX203" fmla="*/ 2657742 w 11269336"/>
              <a:gd name="connsiteY203" fmla="*/ 2070179 h 2323145"/>
              <a:gd name="connsiteX204" fmla="*/ 2559549 w 11269336"/>
              <a:gd name="connsiteY204" fmla="*/ 2057873 h 2323145"/>
              <a:gd name="connsiteX205" fmla="*/ 2512054 w 11269336"/>
              <a:gd name="connsiteY205" fmla="*/ 2031671 h 2323145"/>
              <a:gd name="connsiteX206" fmla="*/ 2506437 w 11269336"/>
              <a:gd name="connsiteY206" fmla="*/ 2030918 h 2323145"/>
              <a:gd name="connsiteX207" fmla="*/ 2491752 w 11269336"/>
              <a:gd name="connsiteY207" fmla="*/ 2033906 h 2323145"/>
              <a:gd name="connsiteX208" fmla="*/ 2486338 w 11269336"/>
              <a:gd name="connsiteY208" fmla="*/ 2035862 h 2323145"/>
              <a:gd name="connsiteX209" fmla="*/ 2478186 w 11269336"/>
              <a:gd name="connsiteY209" fmla="*/ 2036953 h 2323145"/>
              <a:gd name="connsiteX210" fmla="*/ 2477950 w 11269336"/>
              <a:gd name="connsiteY210" fmla="*/ 2036715 h 2323145"/>
              <a:gd name="connsiteX211" fmla="*/ 2470381 w 11269336"/>
              <a:gd name="connsiteY211" fmla="*/ 2038256 h 2323145"/>
              <a:gd name="connsiteX212" fmla="*/ 2433781 w 11269336"/>
              <a:gd name="connsiteY212" fmla="*/ 2049140 h 2323145"/>
              <a:gd name="connsiteX213" fmla="*/ 2381172 w 11269336"/>
              <a:gd name="connsiteY213" fmla="*/ 2030645 h 2323145"/>
              <a:gd name="connsiteX214" fmla="*/ 2360198 w 11269336"/>
              <a:gd name="connsiteY214" fmla="*/ 2029059 h 2323145"/>
              <a:gd name="connsiteX215" fmla="*/ 2348815 w 11269336"/>
              <a:gd name="connsiteY215" fmla="*/ 2026798 h 2323145"/>
              <a:gd name="connsiteX216" fmla="*/ 2347988 w 11269336"/>
              <a:gd name="connsiteY216" fmla="*/ 2025745 h 2323145"/>
              <a:gd name="connsiteX217" fmla="*/ 2312920 w 11269336"/>
              <a:gd name="connsiteY217" fmla="*/ 2036311 h 2323145"/>
              <a:gd name="connsiteX218" fmla="*/ 2307986 w 11269336"/>
              <a:gd name="connsiteY218" fmla="*/ 2035583 h 2323145"/>
              <a:gd name="connsiteX219" fmla="*/ 2285481 w 11269336"/>
              <a:gd name="connsiteY219" fmla="*/ 2045197 h 2323145"/>
              <a:gd name="connsiteX220" fmla="*/ 2273666 w 11269336"/>
              <a:gd name="connsiteY220" fmla="*/ 2048710 h 2323145"/>
              <a:gd name="connsiteX221" fmla="*/ 2270719 w 11269336"/>
              <a:gd name="connsiteY221" fmla="*/ 2052702 h 2323145"/>
              <a:gd name="connsiteX222" fmla="*/ 2253080 w 11269336"/>
              <a:gd name="connsiteY222" fmla="*/ 2056363 h 2323145"/>
              <a:gd name="connsiteX223" fmla="*/ 2250906 w 11269336"/>
              <a:gd name="connsiteY223" fmla="*/ 2055654 h 2323145"/>
              <a:gd name="connsiteX224" fmla="*/ 2236905 w 11269336"/>
              <a:gd name="connsiteY224" fmla="*/ 2062882 h 2323145"/>
              <a:gd name="connsiteX225" fmla="*/ 2225830 w 11269336"/>
              <a:gd name="connsiteY225" fmla="*/ 2074027 h 2323145"/>
              <a:gd name="connsiteX226" fmla="*/ 2073776 w 11269336"/>
              <a:gd name="connsiteY226" fmla="*/ 2089244 h 2323145"/>
              <a:gd name="connsiteX227" fmla="*/ 1948256 w 11269336"/>
              <a:gd name="connsiteY227" fmla="*/ 2146616 h 2323145"/>
              <a:gd name="connsiteX228" fmla="*/ 1865582 w 11269336"/>
              <a:gd name="connsiteY228" fmla="*/ 2153738 h 2323145"/>
              <a:gd name="connsiteX229" fmla="*/ 1835210 w 11269336"/>
              <a:gd name="connsiteY229" fmla="*/ 2134244 h 2323145"/>
              <a:gd name="connsiteX230" fmla="*/ 1632661 w 11269336"/>
              <a:gd name="connsiteY230" fmla="*/ 2173882 h 2323145"/>
              <a:gd name="connsiteX231" fmla="*/ 1579590 w 11269336"/>
              <a:gd name="connsiteY231" fmla="*/ 2173680 h 2323145"/>
              <a:gd name="connsiteX232" fmla="*/ 1535601 w 11269336"/>
              <a:gd name="connsiteY232" fmla="*/ 2194590 h 2323145"/>
              <a:gd name="connsiteX233" fmla="*/ 1515594 w 11269336"/>
              <a:gd name="connsiteY233" fmla="*/ 2189622 h 2323145"/>
              <a:gd name="connsiteX234" fmla="*/ 1512113 w 11269336"/>
              <a:gd name="connsiteY234" fmla="*/ 2188534 h 2323145"/>
              <a:gd name="connsiteX235" fmla="*/ 1498838 w 11269336"/>
              <a:gd name="connsiteY235" fmla="*/ 2189213 h 2323145"/>
              <a:gd name="connsiteX236" fmla="*/ 1494279 w 11269336"/>
              <a:gd name="connsiteY236" fmla="*/ 2183112 h 2323145"/>
              <a:gd name="connsiteX237" fmla="*/ 1473714 w 11269336"/>
              <a:gd name="connsiteY237" fmla="*/ 2179625 h 2323145"/>
              <a:gd name="connsiteX238" fmla="*/ 1449503 w 11269336"/>
              <a:gd name="connsiteY238" fmla="*/ 2182633 h 2323145"/>
              <a:gd name="connsiteX239" fmla="*/ 1266687 w 11269336"/>
              <a:gd name="connsiteY239" fmla="*/ 2212688 h 2323145"/>
              <a:gd name="connsiteX240" fmla="*/ 1239614 w 11269336"/>
              <a:gd name="connsiteY240" fmla="*/ 2209727 h 2323145"/>
              <a:gd name="connsiteX241" fmla="*/ 1202436 w 11269336"/>
              <a:gd name="connsiteY241" fmla="*/ 2209817 h 2323145"/>
              <a:gd name="connsiteX242" fmla="*/ 1136097 w 11269336"/>
              <a:gd name="connsiteY242" fmla="*/ 2205112 h 2323145"/>
              <a:gd name="connsiteX243" fmla="*/ 988232 w 11269336"/>
              <a:gd name="connsiteY243" fmla="*/ 2235635 h 2323145"/>
              <a:gd name="connsiteX244" fmla="*/ 981959 w 11269336"/>
              <a:gd name="connsiteY244" fmla="*/ 2231607 h 2323145"/>
              <a:gd name="connsiteX245" fmla="*/ 938600 w 11269336"/>
              <a:gd name="connsiteY245" fmla="*/ 2238113 h 2323145"/>
              <a:gd name="connsiteX246" fmla="*/ 791788 w 11269336"/>
              <a:gd name="connsiteY246" fmla="*/ 2293224 h 2323145"/>
              <a:gd name="connsiteX247" fmla="*/ 706914 w 11269336"/>
              <a:gd name="connsiteY247" fmla="*/ 2305046 h 2323145"/>
              <a:gd name="connsiteX248" fmla="*/ 675971 w 11269336"/>
              <a:gd name="connsiteY248" fmla="*/ 2304030 h 2323145"/>
              <a:gd name="connsiteX249" fmla="*/ 624180 w 11269336"/>
              <a:gd name="connsiteY249" fmla="*/ 2302650 h 2323145"/>
              <a:gd name="connsiteX250" fmla="*/ 583453 w 11269336"/>
              <a:gd name="connsiteY250" fmla="*/ 2288788 h 2323145"/>
              <a:gd name="connsiteX251" fmla="*/ 540946 w 11269336"/>
              <a:gd name="connsiteY251" fmla="*/ 2292721 h 2323145"/>
              <a:gd name="connsiteX252" fmla="*/ 533680 w 11269336"/>
              <a:gd name="connsiteY252" fmla="*/ 2310233 h 2323145"/>
              <a:gd name="connsiteX253" fmla="*/ 487366 w 11269336"/>
              <a:gd name="connsiteY253" fmla="*/ 2309053 h 2323145"/>
              <a:gd name="connsiteX254" fmla="*/ 416820 w 11269336"/>
              <a:gd name="connsiteY254" fmla="*/ 2305443 h 2323145"/>
              <a:gd name="connsiteX255" fmla="*/ 376805 w 11269336"/>
              <a:gd name="connsiteY255" fmla="*/ 2307647 h 2323145"/>
              <a:gd name="connsiteX256" fmla="*/ 266777 w 11269336"/>
              <a:gd name="connsiteY256" fmla="*/ 2309012 h 2323145"/>
              <a:gd name="connsiteX257" fmla="*/ 156013 w 11269336"/>
              <a:gd name="connsiteY257" fmla="*/ 2306832 h 2323145"/>
              <a:gd name="connsiteX258" fmla="*/ 87258 w 11269336"/>
              <a:gd name="connsiteY258" fmla="*/ 2285511 h 2323145"/>
              <a:gd name="connsiteX259" fmla="*/ 23798 w 11269336"/>
              <a:gd name="connsiteY259" fmla="*/ 2281822 h 2323145"/>
              <a:gd name="connsiteX260" fmla="*/ 0 w 11269336"/>
              <a:gd name="connsiteY260" fmla="*/ 2285369 h 2323145"/>
              <a:gd name="connsiteX261" fmla="*/ 0 w 11269336"/>
              <a:gd name="connsiteY26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593061 w 11269336"/>
              <a:gd name="connsiteY142" fmla="*/ 2171597 h 2323145"/>
              <a:gd name="connsiteX143" fmla="*/ 4533444 w 11269336"/>
              <a:gd name="connsiteY143" fmla="*/ 2181200 h 2323145"/>
              <a:gd name="connsiteX144" fmla="*/ 4492832 w 11269336"/>
              <a:gd name="connsiteY144" fmla="*/ 2188033 h 2323145"/>
              <a:gd name="connsiteX145" fmla="*/ 4467257 w 11269336"/>
              <a:gd name="connsiteY145" fmla="*/ 2196121 h 2323145"/>
              <a:gd name="connsiteX146" fmla="*/ 4459937 w 11269336"/>
              <a:gd name="connsiteY146" fmla="*/ 2195182 h 2323145"/>
              <a:gd name="connsiteX147" fmla="*/ 4433312 w 11269336"/>
              <a:gd name="connsiteY147" fmla="*/ 2199004 h 2323145"/>
              <a:gd name="connsiteX148" fmla="*/ 4420601 w 11269336"/>
              <a:gd name="connsiteY148" fmla="*/ 2205158 h 2323145"/>
              <a:gd name="connsiteX149" fmla="*/ 4405765 w 11269336"/>
              <a:gd name="connsiteY149" fmla="*/ 2199902 h 2323145"/>
              <a:gd name="connsiteX150" fmla="*/ 4401354 w 11269336"/>
              <a:gd name="connsiteY150" fmla="*/ 2194745 h 2323145"/>
              <a:gd name="connsiteX151" fmla="*/ 4383151 w 11269336"/>
              <a:gd name="connsiteY151" fmla="*/ 2201140 h 2323145"/>
              <a:gd name="connsiteX152" fmla="*/ 4366646 w 11269336"/>
              <a:gd name="connsiteY152" fmla="*/ 2198564 h 2323145"/>
              <a:gd name="connsiteX153" fmla="*/ 4354009 w 11269336"/>
              <a:gd name="connsiteY153" fmla="*/ 2204984 h 2323145"/>
              <a:gd name="connsiteX154" fmla="*/ 4348284 w 11269336"/>
              <a:gd name="connsiteY154" fmla="*/ 2205270 h 2323145"/>
              <a:gd name="connsiteX155" fmla="*/ 4333906 w 11269336"/>
              <a:gd name="connsiteY155" fmla="*/ 2205251 h 2323145"/>
              <a:gd name="connsiteX156" fmla="*/ 4308819 w 11269336"/>
              <a:gd name="connsiteY156" fmla="*/ 2203822 h 2323145"/>
              <a:gd name="connsiteX157" fmla="*/ 4301210 w 11269336"/>
              <a:gd name="connsiteY157" fmla="*/ 2204456 h 2323145"/>
              <a:gd name="connsiteX158" fmla="*/ 4283095 w 11269336"/>
              <a:gd name="connsiteY158" fmla="*/ 2198177 h 2323145"/>
              <a:gd name="connsiteX159" fmla="*/ 4250119 w 11269336"/>
              <a:gd name="connsiteY159" fmla="*/ 2196342 h 2323145"/>
              <a:gd name="connsiteX160" fmla="*/ 4189203 w 11269336"/>
              <a:gd name="connsiteY160" fmla="*/ 2178994 h 2323145"/>
              <a:gd name="connsiteX161" fmla="*/ 4154035 w 11269336"/>
              <a:gd name="connsiteY161" fmla="*/ 2171950 h 2323145"/>
              <a:gd name="connsiteX162" fmla="*/ 4129569 w 11269336"/>
              <a:gd name="connsiteY162" fmla="*/ 2163850 h 2323145"/>
              <a:gd name="connsiteX163" fmla="*/ 4061250 w 11269336"/>
              <a:gd name="connsiteY163" fmla="*/ 2159236 h 2323145"/>
              <a:gd name="connsiteX164" fmla="*/ 3945480 w 11269336"/>
              <a:gd name="connsiteY164" fmla="*/ 2158279 h 2323145"/>
              <a:gd name="connsiteX165" fmla="*/ 3921468 w 11269336"/>
              <a:gd name="connsiteY165" fmla="*/ 2156588 h 2323145"/>
              <a:gd name="connsiteX166" fmla="*/ 3903348 w 11269336"/>
              <a:gd name="connsiteY166" fmla="*/ 2149220 h 2323145"/>
              <a:gd name="connsiteX167" fmla="*/ 3901342 w 11269336"/>
              <a:gd name="connsiteY167" fmla="*/ 2142355 h 2323145"/>
              <a:gd name="connsiteX168" fmla="*/ 3888539 w 11269336"/>
              <a:gd name="connsiteY168" fmla="*/ 2140476 h 2323145"/>
              <a:gd name="connsiteX169" fmla="*/ 3885662 w 11269336"/>
              <a:gd name="connsiteY169" fmla="*/ 2138740 h 2323145"/>
              <a:gd name="connsiteX170" fmla="*/ 3868627 w 11269336"/>
              <a:gd name="connsiteY170" fmla="*/ 2130023 h 2323145"/>
              <a:gd name="connsiteX171" fmla="*/ 3819177 w 11269336"/>
              <a:gd name="connsiteY171" fmla="*/ 2142111 h 2323145"/>
              <a:gd name="connsiteX172" fmla="*/ 3769100 w 11269336"/>
              <a:gd name="connsiteY172" fmla="*/ 2131731 h 2323145"/>
              <a:gd name="connsiteX173" fmla="*/ 3562752 w 11269336"/>
              <a:gd name="connsiteY173" fmla="*/ 2131785 h 2323145"/>
              <a:gd name="connsiteX174" fmla="*/ 3541402 w 11269336"/>
              <a:gd name="connsiteY174" fmla="*/ 2106821 h 2323145"/>
              <a:gd name="connsiteX175" fmla="*/ 3365341 w 11269336"/>
              <a:gd name="connsiteY175" fmla="*/ 2077638 h 2323145"/>
              <a:gd name="connsiteX176" fmla="*/ 3170922 w 11269336"/>
              <a:gd name="connsiteY176" fmla="*/ 2115957 h 2323145"/>
              <a:gd name="connsiteX177" fmla="*/ 3156256 w 11269336"/>
              <a:gd name="connsiteY177" fmla="*/ 2124773 h 2323145"/>
              <a:gd name="connsiteX178" fmla="*/ 3140298 w 11269336"/>
              <a:gd name="connsiteY178" fmla="*/ 2129182 h 2323145"/>
              <a:gd name="connsiteX179" fmla="*/ 3138514 w 11269336"/>
              <a:gd name="connsiteY179" fmla="*/ 2128069 h 2323145"/>
              <a:gd name="connsiteX180" fmla="*/ 3120467 w 11269336"/>
              <a:gd name="connsiteY180" fmla="*/ 2128281 h 2323145"/>
              <a:gd name="connsiteX181" fmla="*/ 3116175 w 11269336"/>
              <a:gd name="connsiteY181" fmla="*/ 2131633 h 2323145"/>
              <a:gd name="connsiteX182" fmla="*/ 3103685 w 11269336"/>
              <a:gd name="connsiteY182" fmla="*/ 2132814 h 2323145"/>
              <a:gd name="connsiteX183" fmla="*/ 3078794 w 11269336"/>
              <a:gd name="connsiteY183" fmla="*/ 2137935 h 2323145"/>
              <a:gd name="connsiteX184" fmla="*/ 3074407 w 11269336"/>
              <a:gd name="connsiteY184" fmla="*/ 2136274 h 2323145"/>
              <a:gd name="connsiteX185" fmla="*/ 3037285 w 11269336"/>
              <a:gd name="connsiteY185" fmla="*/ 2139919 h 2323145"/>
              <a:gd name="connsiteX186" fmla="*/ 3036901 w 11269336"/>
              <a:gd name="connsiteY186" fmla="*/ 2138726 h 2323145"/>
              <a:gd name="connsiteX187" fmla="*/ 3026996 w 11269336"/>
              <a:gd name="connsiteY187" fmla="*/ 2134322 h 2323145"/>
              <a:gd name="connsiteX188" fmla="*/ 3007772 w 11269336"/>
              <a:gd name="connsiteY188" fmla="*/ 2128742 h 2323145"/>
              <a:gd name="connsiteX189" fmla="*/ 2965030 w 11269336"/>
              <a:gd name="connsiteY189" fmla="*/ 2100494 h 2323145"/>
              <a:gd name="connsiteX190" fmla="*/ 2926342 w 11269336"/>
              <a:gd name="connsiteY190" fmla="*/ 2104155 h 2323145"/>
              <a:gd name="connsiteX191" fmla="*/ 2918608 w 11269336"/>
              <a:gd name="connsiteY191" fmla="*/ 2104215 h 2323145"/>
              <a:gd name="connsiteX192" fmla="*/ 2918475 w 11269336"/>
              <a:gd name="connsiteY192" fmla="*/ 2103937 h 2323145"/>
              <a:gd name="connsiteX193" fmla="*/ 2910360 w 11269336"/>
              <a:gd name="connsiteY193" fmla="*/ 2103444 h 2323145"/>
              <a:gd name="connsiteX194" fmla="*/ 2904507 w 11269336"/>
              <a:gd name="connsiteY194" fmla="*/ 2104326 h 2323145"/>
              <a:gd name="connsiteX195" fmla="*/ 2889503 w 11269336"/>
              <a:gd name="connsiteY195" fmla="*/ 2104443 h 2323145"/>
              <a:gd name="connsiteX196" fmla="*/ 2884480 w 11269336"/>
              <a:gd name="connsiteY196" fmla="*/ 2102626 h 2323145"/>
              <a:gd name="connsiteX197" fmla="*/ 2882689 w 11269336"/>
              <a:gd name="connsiteY197" fmla="*/ 2099228 h 2323145"/>
              <a:gd name="connsiteX198" fmla="*/ 2881291 w 11269336"/>
              <a:gd name="connsiteY198" fmla="*/ 2099618 h 2323145"/>
              <a:gd name="connsiteX199" fmla="*/ 2853979 w 11269336"/>
              <a:gd name="connsiteY199" fmla="*/ 2090388 h 2323145"/>
              <a:gd name="connsiteX200" fmla="*/ 2791790 w 11269336"/>
              <a:gd name="connsiteY200" fmla="*/ 2080332 h 2323145"/>
              <a:gd name="connsiteX201" fmla="*/ 2755844 w 11269336"/>
              <a:gd name="connsiteY201" fmla="*/ 2078874 h 2323145"/>
              <a:gd name="connsiteX202" fmla="*/ 2657742 w 11269336"/>
              <a:gd name="connsiteY202" fmla="*/ 2070179 h 2323145"/>
              <a:gd name="connsiteX203" fmla="*/ 2559549 w 11269336"/>
              <a:gd name="connsiteY203" fmla="*/ 2057873 h 2323145"/>
              <a:gd name="connsiteX204" fmla="*/ 2512054 w 11269336"/>
              <a:gd name="connsiteY204" fmla="*/ 2031671 h 2323145"/>
              <a:gd name="connsiteX205" fmla="*/ 2506437 w 11269336"/>
              <a:gd name="connsiteY205" fmla="*/ 2030918 h 2323145"/>
              <a:gd name="connsiteX206" fmla="*/ 2491752 w 11269336"/>
              <a:gd name="connsiteY206" fmla="*/ 2033906 h 2323145"/>
              <a:gd name="connsiteX207" fmla="*/ 2486338 w 11269336"/>
              <a:gd name="connsiteY207" fmla="*/ 2035862 h 2323145"/>
              <a:gd name="connsiteX208" fmla="*/ 2478186 w 11269336"/>
              <a:gd name="connsiteY208" fmla="*/ 2036953 h 2323145"/>
              <a:gd name="connsiteX209" fmla="*/ 2477950 w 11269336"/>
              <a:gd name="connsiteY209" fmla="*/ 2036715 h 2323145"/>
              <a:gd name="connsiteX210" fmla="*/ 2470381 w 11269336"/>
              <a:gd name="connsiteY210" fmla="*/ 2038256 h 2323145"/>
              <a:gd name="connsiteX211" fmla="*/ 2433781 w 11269336"/>
              <a:gd name="connsiteY211" fmla="*/ 2049140 h 2323145"/>
              <a:gd name="connsiteX212" fmla="*/ 2381172 w 11269336"/>
              <a:gd name="connsiteY212" fmla="*/ 2030645 h 2323145"/>
              <a:gd name="connsiteX213" fmla="*/ 2360198 w 11269336"/>
              <a:gd name="connsiteY213" fmla="*/ 2029059 h 2323145"/>
              <a:gd name="connsiteX214" fmla="*/ 2348815 w 11269336"/>
              <a:gd name="connsiteY214" fmla="*/ 2026798 h 2323145"/>
              <a:gd name="connsiteX215" fmla="*/ 2347988 w 11269336"/>
              <a:gd name="connsiteY215" fmla="*/ 2025745 h 2323145"/>
              <a:gd name="connsiteX216" fmla="*/ 2312920 w 11269336"/>
              <a:gd name="connsiteY216" fmla="*/ 2036311 h 2323145"/>
              <a:gd name="connsiteX217" fmla="*/ 2307986 w 11269336"/>
              <a:gd name="connsiteY217" fmla="*/ 2035583 h 2323145"/>
              <a:gd name="connsiteX218" fmla="*/ 2285481 w 11269336"/>
              <a:gd name="connsiteY218" fmla="*/ 2045197 h 2323145"/>
              <a:gd name="connsiteX219" fmla="*/ 2273666 w 11269336"/>
              <a:gd name="connsiteY219" fmla="*/ 2048710 h 2323145"/>
              <a:gd name="connsiteX220" fmla="*/ 2270719 w 11269336"/>
              <a:gd name="connsiteY220" fmla="*/ 2052702 h 2323145"/>
              <a:gd name="connsiteX221" fmla="*/ 2253080 w 11269336"/>
              <a:gd name="connsiteY221" fmla="*/ 2056363 h 2323145"/>
              <a:gd name="connsiteX222" fmla="*/ 2250906 w 11269336"/>
              <a:gd name="connsiteY222" fmla="*/ 2055654 h 2323145"/>
              <a:gd name="connsiteX223" fmla="*/ 2236905 w 11269336"/>
              <a:gd name="connsiteY223" fmla="*/ 2062882 h 2323145"/>
              <a:gd name="connsiteX224" fmla="*/ 2225830 w 11269336"/>
              <a:gd name="connsiteY224" fmla="*/ 2074027 h 2323145"/>
              <a:gd name="connsiteX225" fmla="*/ 2073776 w 11269336"/>
              <a:gd name="connsiteY225" fmla="*/ 2089244 h 2323145"/>
              <a:gd name="connsiteX226" fmla="*/ 1948256 w 11269336"/>
              <a:gd name="connsiteY226" fmla="*/ 2146616 h 2323145"/>
              <a:gd name="connsiteX227" fmla="*/ 1865582 w 11269336"/>
              <a:gd name="connsiteY227" fmla="*/ 2153738 h 2323145"/>
              <a:gd name="connsiteX228" fmla="*/ 1835210 w 11269336"/>
              <a:gd name="connsiteY228" fmla="*/ 2134244 h 2323145"/>
              <a:gd name="connsiteX229" fmla="*/ 1632661 w 11269336"/>
              <a:gd name="connsiteY229" fmla="*/ 2173882 h 2323145"/>
              <a:gd name="connsiteX230" fmla="*/ 1579590 w 11269336"/>
              <a:gd name="connsiteY230" fmla="*/ 2173680 h 2323145"/>
              <a:gd name="connsiteX231" fmla="*/ 1535601 w 11269336"/>
              <a:gd name="connsiteY231" fmla="*/ 2194590 h 2323145"/>
              <a:gd name="connsiteX232" fmla="*/ 1515594 w 11269336"/>
              <a:gd name="connsiteY232" fmla="*/ 2189622 h 2323145"/>
              <a:gd name="connsiteX233" fmla="*/ 1512113 w 11269336"/>
              <a:gd name="connsiteY233" fmla="*/ 2188534 h 2323145"/>
              <a:gd name="connsiteX234" fmla="*/ 1498838 w 11269336"/>
              <a:gd name="connsiteY234" fmla="*/ 2189213 h 2323145"/>
              <a:gd name="connsiteX235" fmla="*/ 1494279 w 11269336"/>
              <a:gd name="connsiteY235" fmla="*/ 2183112 h 2323145"/>
              <a:gd name="connsiteX236" fmla="*/ 1473714 w 11269336"/>
              <a:gd name="connsiteY236" fmla="*/ 2179625 h 2323145"/>
              <a:gd name="connsiteX237" fmla="*/ 1449503 w 11269336"/>
              <a:gd name="connsiteY237" fmla="*/ 2182633 h 2323145"/>
              <a:gd name="connsiteX238" fmla="*/ 1266687 w 11269336"/>
              <a:gd name="connsiteY238" fmla="*/ 2212688 h 2323145"/>
              <a:gd name="connsiteX239" fmla="*/ 1239614 w 11269336"/>
              <a:gd name="connsiteY239" fmla="*/ 2209727 h 2323145"/>
              <a:gd name="connsiteX240" fmla="*/ 1202436 w 11269336"/>
              <a:gd name="connsiteY240" fmla="*/ 2209817 h 2323145"/>
              <a:gd name="connsiteX241" fmla="*/ 1136097 w 11269336"/>
              <a:gd name="connsiteY241" fmla="*/ 2205112 h 2323145"/>
              <a:gd name="connsiteX242" fmla="*/ 988232 w 11269336"/>
              <a:gd name="connsiteY242" fmla="*/ 2235635 h 2323145"/>
              <a:gd name="connsiteX243" fmla="*/ 981959 w 11269336"/>
              <a:gd name="connsiteY243" fmla="*/ 2231607 h 2323145"/>
              <a:gd name="connsiteX244" fmla="*/ 938600 w 11269336"/>
              <a:gd name="connsiteY244" fmla="*/ 2238113 h 2323145"/>
              <a:gd name="connsiteX245" fmla="*/ 791788 w 11269336"/>
              <a:gd name="connsiteY245" fmla="*/ 2293224 h 2323145"/>
              <a:gd name="connsiteX246" fmla="*/ 706914 w 11269336"/>
              <a:gd name="connsiteY246" fmla="*/ 2305046 h 2323145"/>
              <a:gd name="connsiteX247" fmla="*/ 675971 w 11269336"/>
              <a:gd name="connsiteY247" fmla="*/ 2304030 h 2323145"/>
              <a:gd name="connsiteX248" fmla="*/ 624180 w 11269336"/>
              <a:gd name="connsiteY248" fmla="*/ 2302650 h 2323145"/>
              <a:gd name="connsiteX249" fmla="*/ 583453 w 11269336"/>
              <a:gd name="connsiteY249" fmla="*/ 2288788 h 2323145"/>
              <a:gd name="connsiteX250" fmla="*/ 540946 w 11269336"/>
              <a:gd name="connsiteY250" fmla="*/ 2292721 h 2323145"/>
              <a:gd name="connsiteX251" fmla="*/ 533680 w 11269336"/>
              <a:gd name="connsiteY251" fmla="*/ 2310233 h 2323145"/>
              <a:gd name="connsiteX252" fmla="*/ 487366 w 11269336"/>
              <a:gd name="connsiteY252" fmla="*/ 2309053 h 2323145"/>
              <a:gd name="connsiteX253" fmla="*/ 416820 w 11269336"/>
              <a:gd name="connsiteY253" fmla="*/ 2305443 h 2323145"/>
              <a:gd name="connsiteX254" fmla="*/ 376805 w 11269336"/>
              <a:gd name="connsiteY254" fmla="*/ 2307647 h 2323145"/>
              <a:gd name="connsiteX255" fmla="*/ 266777 w 11269336"/>
              <a:gd name="connsiteY255" fmla="*/ 2309012 h 2323145"/>
              <a:gd name="connsiteX256" fmla="*/ 156013 w 11269336"/>
              <a:gd name="connsiteY256" fmla="*/ 2306832 h 2323145"/>
              <a:gd name="connsiteX257" fmla="*/ 87258 w 11269336"/>
              <a:gd name="connsiteY257" fmla="*/ 2285511 h 2323145"/>
              <a:gd name="connsiteX258" fmla="*/ 23798 w 11269336"/>
              <a:gd name="connsiteY258" fmla="*/ 2281822 h 2323145"/>
              <a:gd name="connsiteX259" fmla="*/ 0 w 11269336"/>
              <a:gd name="connsiteY259" fmla="*/ 2285369 h 2323145"/>
              <a:gd name="connsiteX260" fmla="*/ 0 w 11269336"/>
              <a:gd name="connsiteY260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593061 w 11269336"/>
              <a:gd name="connsiteY141" fmla="*/ 2171597 h 2323145"/>
              <a:gd name="connsiteX142" fmla="*/ 4533444 w 11269336"/>
              <a:gd name="connsiteY142" fmla="*/ 2181200 h 2323145"/>
              <a:gd name="connsiteX143" fmla="*/ 4492832 w 11269336"/>
              <a:gd name="connsiteY143" fmla="*/ 2188033 h 2323145"/>
              <a:gd name="connsiteX144" fmla="*/ 4467257 w 11269336"/>
              <a:gd name="connsiteY144" fmla="*/ 2196121 h 2323145"/>
              <a:gd name="connsiteX145" fmla="*/ 4459937 w 11269336"/>
              <a:gd name="connsiteY145" fmla="*/ 2195182 h 2323145"/>
              <a:gd name="connsiteX146" fmla="*/ 4433312 w 11269336"/>
              <a:gd name="connsiteY146" fmla="*/ 2199004 h 2323145"/>
              <a:gd name="connsiteX147" fmla="*/ 4420601 w 11269336"/>
              <a:gd name="connsiteY147" fmla="*/ 2205158 h 2323145"/>
              <a:gd name="connsiteX148" fmla="*/ 4405765 w 11269336"/>
              <a:gd name="connsiteY148" fmla="*/ 2199902 h 2323145"/>
              <a:gd name="connsiteX149" fmla="*/ 4401354 w 11269336"/>
              <a:gd name="connsiteY149" fmla="*/ 2194745 h 2323145"/>
              <a:gd name="connsiteX150" fmla="*/ 4383151 w 11269336"/>
              <a:gd name="connsiteY150" fmla="*/ 2201140 h 2323145"/>
              <a:gd name="connsiteX151" fmla="*/ 4366646 w 11269336"/>
              <a:gd name="connsiteY151" fmla="*/ 2198564 h 2323145"/>
              <a:gd name="connsiteX152" fmla="*/ 4354009 w 11269336"/>
              <a:gd name="connsiteY152" fmla="*/ 2204984 h 2323145"/>
              <a:gd name="connsiteX153" fmla="*/ 4348284 w 11269336"/>
              <a:gd name="connsiteY153" fmla="*/ 2205270 h 2323145"/>
              <a:gd name="connsiteX154" fmla="*/ 4333906 w 11269336"/>
              <a:gd name="connsiteY154" fmla="*/ 2205251 h 2323145"/>
              <a:gd name="connsiteX155" fmla="*/ 4308819 w 11269336"/>
              <a:gd name="connsiteY155" fmla="*/ 2203822 h 2323145"/>
              <a:gd name="connsiteX156" fmla="*/ 4301210 w 11269336"/>
              <a:gd name="connsiteY156" fmla="*/ 2204456 h 2323145"/>
              <a:gd name="connsiteX157" fmla="*/ 4283095 w 11269336"/>
              <a:gd name="connsiteY157" fmla="*/ 2198177 h 2323145"/>
              <a:gd name="connsiteX158" fmla="*/ 4250119 w 11269336"/>
              <a:gd name="connsiteY158" fmla="*/ 2196342 h 2323145"/>
              <a:gd name="connsiteX159" fmla="*/ 4189203 w 11269336"/>
              <a:gd name="connsiteY159" fmla="*/ 2178994 h 2323145"/>
              <a:gd name="connsiteX160" fmla="*/ 4154035 w 11269336"/>
              <a:gd name="connsiteY160" fmla="*/ 2171950 h 2323145"/>
              <a:gd name="connsiteX161" fmla="*/ 4129569 w 11269336"/>
              <a:gd name="connsiteY161" fmla="*/ 2163850 h 2323145"/>
              <a:gd name="connsiteX162" fmla="*/ 4061250 w 11269336"/>
              <a:gd name="connsiteY162" fmla="*/ 2159236 h 2323145"/>
              <a:gd name="connsiteX163" fmla="*/ 3945480 w 11269336"/>
              <a:gd name="connsiteY163" fmla="*/ 2158279 h 2323145"/>
              <a:gd name="connsiteX164" fmla="*/ 3921468 w 11269336"/>
              <a:gd name="connsiteY164" fmla="*/ 2156588 h 2323145"/>
              <a:gd name="connsiteX165" fmla="*/ 3903348 w 11269336"/>
              <a:gd name="connsiteY165" fmla="*/ 2149220 h 2323145"/>
              <a:gd name="connsiteX166" fmla="*/ 3901342 w 11269336"/>
              <a:gd name="connsiteY166" fmla="*/ 2142355 h 2323145"/>
              <a:gd name="connsiteX167" fmla="*/ 3888539 w 11269336"/>
              <a:gd name="connsiteY167" fmla="*/ 2140476 h 2323145"/>
              <a:gd name="connsiteX168" fmla="*/ 3885662 w 11269336"/>
              <a:gd name="connsiteY168" fmla="*/ 2138740 h 2323145"/>
              <a:gd name="connsiteX169" fmla="*/ 3868627 w 11269336"/>
              <a:gd name="connsiteY169" fmla="*/ 2130023 h 2323145"/>
              <a:gd name="connsiteX170" fmla="*/ 3819177 w 11269336"/>
              <a:gd name="connsiteY170" fmla="*/ 2142111 h 2323145"/>
              <a:gd name="connsiteX171" fmla="*/ 3769100 w 11269336"/>
              <a:gd name="connsiteY171" fmla="*/ 2131731 h 2323145"/>
              <a:gd name="connsiteX172" fmla="*/ 3562752 w 11269336"/>
              <a:gd name="connsiteY172" fmla="*/ 2131785 h 2323145"/>
              <a:gd name="connsiteX173" fmla="*/ 3541402 w 11269336"/>
              <a:gd name="connsiteY173" fmla="*/ 2106821 h 2323145"/>
              <a:gd name="connsiteX174" fmla="*/ 3365341 w 11269336"/>
              <a:gd name="connsiteY174" fmla="*/ 2077638 h 2323145"/>
              <a:gd name="connsiteX175" fmla="*/ 3170922 w 11269336"/>
              <a:gd name="connsiteY175" fmla="*/ 2115957 h 2323145"/>
              <a:gd name="connsiteX176" fmla="*/ 3156256 w 11269336"/>
              <a:gd name="connsiteY176" fmla="*/ 2124773 h 2323145"/>
              <a:gd name="connsiteX177" fmla="*/ 3140298 w 11269336"/>
              <a:gd name="connsiteY177" fmla="*/ 2129182 h 2323145"/>
              <a:gd name="connsiteX178" fmla="*/ 3138514 w 11269336"/>
              <a:gd name="connsiteY178" fmla="*/ 2128069 h 2323145"/>
              <a:gd name="connsiteX179" fmla="*/ 3120467 w 11269336"/>
              <a:gd name="connsiteY179" fmla="*/ 2128281 h 2323145"/>
              <a:gd name="connsiteX180" fmla="*/ 3116175 w 11269336"/>
              <a:gd name="connsiteY180" fmla="*/ 2131633 h 2323145"/>
              <a:gd name="connsiteX181" fmla="*/ 3103685 w 11269336"/>
              <a:gd name="connsiteY181" fmla="*/ 2132814 h 2323145"/>
              <a:gd name="connsiteX182" fmla="*/ 3078794 w 11269336"/>
              <a:gd name="connsiteY182" fmla="*/ 2137935 h 2323145"/>
              <a:gd name="connsiteX183" fmla="*/ 3074407 w 11269336"/>
              <a:gd name="connsiteY183" fmla="*/ 2136274 h 2323145"/>
              <a:gd name="connsiteX184" fmla="*/ 3037285 w 11269336"/>
              <a:gd name="connsiteY184" fmla="*/ 2139919 h 2323145"/>
              <a:gd name="connsiteX185" fmla="*/ 3036901 w 11269336"/>
              <a:gd name="connsiteY185" fmla="*/ 2138726 h 2323145"/>
              <a:gd name="connsiteX186" fmla="*/ 3026996 w 11269336"/>
              <a:gd name="connsiteY186" fmla="*/ 2134322 h 2323145"/>
              <a:gd name="connsiteX187" fmla="*/ 3007772 w 11269336"/>
              <a:gd name="connsiteY187" fmla="*/ 2128742 h 2323145"/>
              <a:gd name="connsiteX188" fmla="*/ 2965030 w 11269336"/>
              <a:gd name="connsiteY188" fmla="*/ 2100494 h 2323145"/>
              <a:gd name="connsiteX189" fmla="*/ 2926342 w 11269336"/>
              <a:gd name="connsiteY189" fmla="*/ 2104155 h 2323145"/>
              <a:gd name="connsiteX190" fmla="*/ 2918608 w 11269336"/>
              <a:gd name="connsiteY190" fmla="*/ 2104215 h 2323145"/>
              <a:gd name="connsiteX191" fmla="*/ 2918475 w 11269336"/>
              <a:gd name="connsiteY191" fmla="*/ 2103937 h 2323145"/>
              <a:gd name="connsiteX192" fmla="*/ 2910360 w 11269336"/>
              <a:gd name="connsiteY192" fmla="*/ 2103444 h 2323145"/>
              <a:gd name="connsiteX193" fmla="*/ 2904507 w 11269336"/>
              <a:gd name="connsiteY193" fmla="*/ 2104326 h 2323145"/>
              <a:gd name="connsiteX194" fmla="*/ 2889503 w 11269336"/>
              <a:gd name="connsiteY194" fmla="*/ 2104443 h 2323145"/>
              <a:gd name="connsiteX195" fmla="*/ 2884480 w 11269336"/>
              <a:gd name="connsiteY195" fmla="*/ 2102626 h 2323145"/>
              <a:gd name="connsiteX196" fmla="*/ 2882689 w 11269336"/>
              <a:gd name="connsiteY196" fmla="*/ 2099228 h 2323145"/>
              <a:gd name="connsiteX197" fmla="*/ 2881291 w 11269336"/>
              <a:gd name="connsiteY197" fmla="*/ 2099618 h 2323145"/>
              <a:gd name="connsiteX198" fmla="*/ 2853979 w 11269336"/>
              <a:gd name="connsiteY198" fmla="*/ 2090388 h 2323145"/>
              <a:gd name="connsiteX199" fmla="*/ 2791790 w 11269336"/>
              <a:gd name="connsiteY199" fmla="*/ 2080332 h 2323145"/>
              <a:gd name="connsiteX200" fmla="*/ 2755844 w 11269336"/>
              <a:gd name="connsiteY200" fmla="*/ 2078874 h 2323145"/>
              <a:gd name="connsiteX201" fmla="*/ 2657742 w 11269336"/>
              <a:gd name="connsiteY201" fmla="*/ 2070179 h 2323145"/>
              <a:gd name="connsiteX202" fmla="*/ 2559549 w 11269336"/>
              <a:gd name="connsiteY202" fmla="*/ 2057873 h 2323145"/>
              <a:gd name="connsiteX203" fmla="*/ 2512054 w 11269336"/>
              <a:gd name="connsiteY203" fmla="*/ 2031671 h 2323145"/>
              <a:gd name="connsiteX204" fmla="*/ 2506437 w 11269336"/>
              <a:gd name="connsiteY204" fmla="*/ 2030918 h 2323145"/>
              <a:gd name="connsiteX205" fmla="*/ 2491752 w 11269336"/>
              <a:gd name="connsiteY205" fmla="*/ 2033906 h 2323145"/>
              <a:gd name="connsiteX206" fmla="*/ 2486338 w 11269336"/>
              <a:gd name="connsiteY206" fmla="*/ 2035862 h 2323145"/>
              <a:gd name="connsiteX207" fmla="*/ 2478186 w 11269336"/>
              <a:gd name="connsiteY207" fmla="*/ 2036953 h 2323145"/>
              <a:gd name="connsiteX208" fmla="*/ 2477950 w 11269336"/>
              <a:gd name="connsiteY208" fmla="*/ 2036715 h 2323145"/>
              <a:gd name="connsiteX209" fmla="*/ 2470381 w 11269336"/>
              <a:gd name="connsiteY209" fmla="*/ 2038256 h 2323145"/>
              <a:gd name="connsiteX210" fmla="*/ 2433781 w 11269336"/>
              <a:gd name="connsiteY210" fmla="*/ 2049140 h 2323145"/>
              <a:gd name="connsiteX211" fmla="*/ 2381172 w 11269336"/>
              <a:gd name="connsiteY211" fmla="*/ 2030645 h 2323145"/>
              <a:gd name="connsiteX212" fmla="*/ 2360198 w 11269336"/>
              <a:gd name="connsiteY212" fmla="*/ 2029059 h 2323145"/>
              <a:gd name="connsiteX213" fmla="*/ 2348815 w 11269336"/>
              <a:gd name="connsiteY213" fmla="*/ 2026798 h 2323145"/>
              <a:gd name="connsiteX214" fmla="*/ 2347988 w 11269336"/>
              <a:gd name="connsiteY214" fmla="*/ 2025745 h 2323145"/>
              <a:gd name="connsiteX215" fmla="*/ 2312920 w 11269336"/>
              <a:gd name="connsiteY215" fmla="*/ 2036311 h 2323145"/>
              <a:gd name="connsiteX216" fmla="*/ 2307986 w 11269336"/>
              <a:gd name="connsiteY216" fmla="*/ 2035583 h 2323145"/>
              <a:gd name="connsiteX217" fmla="*/ 2285481 w 11269336"/>
              <a:gd name="connsiteY217" fmla="*/ 2045197 h 2323145"/>
              <a:gd name="connsiteX218" fmla="*/ 2273666 w 11269336"/>
              <a:gd name="connsiteY218" fmla="*/ 2048710 h 2323145"/>
              <a:gd name="connsiteX219" fmla="*/ 2270719 w 11269336"/>
              <a:gd name="connsiteY219" fmla="*/ 2052702 h 2323145"/>
              <a:gd name="connsiteX220" fmla="*/ 2253080 w 11269336"/>
              <a:gd name="connsiteY220" fmla="*/ 2056363 h 2323145"/>
              <a:gd name="connsiteX221" fmla="*/ 2250906 w 11269336"/>
              <a:gd name="connsiteY221" fmla="*/ 2055654 h 2323145"/>
              <a:gd name="connsiteX222" fmla="*/ 2236905 w 11269336"/>
              <a:gd name="connsiteY222" fmla="*/ 2062882 h 2323145"/>
              <a:gd name="connsiteX223" fmla="*/ 2225830 w 11269336"/>
              <a:gd name="connsiteY223" fmla="*/ 2074027 h 2323145"/>
              <a:gd name="connsiteX224" fmla="*/ 2073776 w 11269336"/>
              <a:gd name="connsiteY224" fmla="*/ 2089244 h 2323145"/>
              <a:gd name="connsiteX225" fmla="*/ 1948256 w 11269336"/>
              <a:gd name="connsiteY225" fmla="*/ 2146616 h 2323145"/>
              <a:gd name="connsiteX226" fmla="*/ 1865582 w 11269336"/>
              <a:gd name="connsiteY226" fmla="*/ 2153738 h 2323145"/>
              <a:gd name="connsiteX227" fmla="*/ 1835210 w 11269336"/>
              <a:gd name="connsiteY227" fmla="*/ 2134244 h 2323145"/>
              <a:gd name="connsiteX228" fmla="*/ 1632661 w 11269336"/>
              <a:gd name="connsiteY228" fmla="*/ 2173882 h 2323145"/>
              <a:gd name="connsiteX229" fmla="*/ 1579590 w 11269336"/>
              <a:gd name="connsiteY229" fmla="*/ 2173680 h 2323145"/>
              <a:gd name="connsiteX230" fmla="*/ 1535601 w 11269336"/>
              <a:gd name="connsiteY230" fmla="*/ 2194590 h 2323145"/>
              <a:gd name="connsiteX231" fmla="*/ 1515594 w 11269336"/>
              <a:gd name="connsiteY231" fmla="*/ 2189622 h 2323145"/>
              <a:gd name="connsiteX232" fmla="*/ 1512113 w 11269336"/>
              <a:gd name="connsiteY232" fmla="*/ 2188534 h 2323145"/>
              <a:gd name="connsiteX233" fmla="*/ 1498838 w 11269336"/>
              <a:gd name="connsiteY233" fmla="*/ 2189213 h 2323145"/>
              <a:gd name="connsiteX234" fmla="*/ 1494279 w 11269336"/>
              <a:gd name="connsiteY234" fmla="*/ 2183112 h 2323145"/>
              <a:gd name="connsiteX235" fmla="*/ 1473714 w 11269336"/>
              <a:gd name="connsiteY235" fmla="*/ 2179625 h 2323145"/>
              <a:gd name="connsiteX236" fmla="*/ 1449503 w 11269336"/>
              <a:gd name="connsiteY236" fmla="*/ 2182633 h 2323145"/>
              <a:gd name="connsiteX237" fmla="*/ 1266687 w 11269336"/>
              <a:gd name="connsiteY237" fmla="*/ 2212688 h 2323145"/>
              <a:gd name="connsiteX238" fmla="*/ 1239614 w 11269336"/>
              <a:gd name="connsiteY238" fmla="*/ 2209727 h 2323145"/>
              <a:gd name="connsiteX239" fmla="*/ 1202436 w 11269336"/>
              <a:gd name="connsiteY239" fmla="*/ 2209817 h 2323145"/>
              <a:gd name="connsiteX240" fmla="*/ 1136097 w 11269336"/>
              <a:gd name="connsiteY240" fmla="*/ 2205112 h 2323145"/>
              <a:gd name="connsiteX241" fmla="*/ 988232 w 11269336"/>
              <a:gd name="connsiteY241" fmla="*/ 2235635 h 2323145"/>
              <a:gd name="connsiteX242" fmla="*/ 981959 w 11269336"/>
              <a:gd name="connsiteY242" fmla="*/ 2231607 h 2323145"/>
              <a:gd name="connsiteX243" fmla="*/ 938600 w 11269336"/>
              <a:gd name="connsiteY243" fmla="*/ 2238113 h 2323145"/>
              <a:gd name="connsiteX244" fmla="*/ 791788 w 11269336"/>
              <a:gd name="connsiteY244" fmla="*/ 2293224 h 2323145"/>
              <a:gd name="connsiteX245" fmla="*/ 706914 w 11269336"/>
              <a:gd name="connsiteY245" fmla="*/ 2305046 h 2323145"/>
              <a:gd name="connsiteX246" fmla="*/ 675971 w 11269336"/>
              <a:gd name="connsiteY246" fmla="*/ 2304030 h 2323145"/>
              <a:gd name="connsiteX247" fmla="*/ 624180 w 11269336"/>
              <a:gd name="connsiteY247" fmla="*/ 2302650 h 2323145"/>
              <a:gd name="connsiteX248" fmla="*/ 583453 w 11269336"/>
              <a:gd name="connsiteY248" fmla="*/ 2288788 h 2323145"/>
              <a:gd name="connsiteX249" fmla="*/ 540946 w 11269336"/>
              <a:gd name="connsiteY249" fmla="*/ 2292721 h 2323145"/>
              <a:gd name="connsiteX250" fmla="*/ 533680 w 11269336"/>
              <a:gd name="connsiteY250" fmla="*/ 2310233 h 2323145"/>
              <a:gd name="connsiteX251" fmla="*/ 487366 w 11269336"/>
              <a:gd name="connsiteY251" fmla="*/ 2309053 h 2323145"/>
              <a:gd name="connsiteX252" fmla="*/ 416820 w 11269336"/>
              <a:gd name="connsiteY252" fmla="*/ 2305443 h 2323145"/>
              <a:gd name="connsiteX253" fmla="*/ 376805 w 11269336"/>
              <a:gd name="connsiteY253" fmla="*/ 2307647 h 2323145"/>
              <a:gd name="connsiteX254" fmla="*/ 266777 w 11269336"/>
              <a:gd name="connsiteY254" fmla="*/ 2309012 h 2323145"/>
              <a:gd name="connsiteX255" fmla="*/ 156013 w 11269336"/>
              <a:gd name="connsiteY255" fmla="*/ 2306832 h 2323145"/>
              <a:gd name="connsiteX256" fmla="*/ 87258 w 11269336"/>
              <a:gd name="connsiteY256" fmla="*/ 2285511 h 2323145"/>
              <a:gd name="connsiteX257" fmla="*/ 23798 w 11269336"/>
              <a:gd name="connsiteY257" fmla="*/ 2281822 h 2323145"/>
              <a:gd name="connsiteX258" fmla="*/ 0 w 11269336"/>
              <a:gd name="connsiteY258" fmla="*/ 2285369 h 2323145"/>
              <a:gd name="connsiteX259" fmla="*/ 0 w 11269336"/>
              <a:gd name="connsiteY259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20601 w 11269336"/>
              <a:gd name="connsiteY146" fmla="*/ 2205158 h 2323145"/>
              <a:gd name="connsiteX147" fmla="*/ 4405765 w 11269336"/>
              <a:gd name="connsiteY147" fmla="*/ 2199902 h 2323145"/>
              <a:gd name="connsiteX148" fmla="*/ 4401354 w 11269336"/>
              <a:gd name="connsiteY148" fmla="*/ 2194745 h 2323145"/>
              <a:gd name="connsiteX149" fmla="*/ 4383151 w 11269336"/>
              <a:gd name="connsiteY149" fmla="*/ 2201140 h 2323145"/>
              <a:gd name="connsiteX150" fmla="*/ 4366646 w 11269336"/>
              <a:gd name="connsiteY150" fmla="*/ 2198564 h 2323145"/>
              <a:gd name="connsiteX151" fmla="*/ 4354009 w 11269336"/>
              <a:gd name="connsiteY151" fmla="*/ 2204984 h 2323145"/>
              <a:gd name="connsiteX152" fmla="*/ 4348284 w 11269336"/>
              <a:gd name="connsiteY152" fmla="*/ 2205270 h 2323145"/>
              <a:gd name="connsiteX153" fmla="*/ 4333906 w 11269336"/>
              <a:gd name="connsiteY153" fmla="*/ 2205251 h 2323145"/>
              <a:gd name="connsiteX154" fmla="*/ 4308819 w 11269336"/>
              <a:gd name="connsiteY154" fmla="*/ 2203822 h 2323145"/>
              <a:gd name="connsiteX155" fmla="*/ 4301210 w 11269336"/>
              <a:gd name="connsiteY155" fmla="*/ 2204456 h 2323145"/>
              <a:gd name="connsiteX156" fmla="*/ 4283095 w 11269336"/>
              <a:gd name="connsiteY156" fmla="*/ 2198177 h 2323145"/>
              <a:gd name="connsiteX157" fmla="*/ 4250119 w 11269336"/>
              <a:gd name="connsiteY157" fmla="*/ 2196342 h 2323145"/>
              <a:gd name="connsiteX158" fmla="*/ 4189203 w 11269336"/>
              <a:gd name="connsiteY158" fmla="*/ 2178994 h 2323145"/>
              <a:gd name="connsiteX159" fmla="*/ 4154035 w 11269336"/>
              <a:gd name="connsiteY159" fmla="*/ 2171950 h 2323145"/>
              <a:gd name="connsiteX160" fmla="*/ 4129569 w 11269336"/>
              <a:gd name="connsiteY160" fmla="*/ 2163850 h 2323145"/>
              <a:gd name="connsiteX161" fmla="*/ 4061250 w 11269336"/>
              <a:gd name="connsiteY161" fmla="*/ 2159236 h 2323145"/>
              <a:gd name="connsiteX162" fmla="*/ 3945480 w 11269336"/>
              <a:gd name="connsiteY162" fmla="*/ 2158279 h 2323145"/>
              <a:gd name="connsiteX163" fmla="*/ 3921468 w 11269336"/>
              <a:gd name="connsiteY163" fmla="*/ 2156588 h 2323145"/>
              <a:gd name="connsiteX164" fmla="*/ 3903348 w 11269336"/>
              <a:gd name="connsiteY164" fmla="*/ 2149220 h 2323145"/>
              <a:gd name="connsiteX165" fmla="*/ 3901342 w 11269336"/>
              <a:gd name="connsiteY165" fmla="*/ 2142355 h 2323145"/>
              <a:gd name="connsiteX166" fmla="*/ 3888539 w 11269336"/>
              <a:gd name="connsiteY166" fmla="*/ 2140476 h 2323145"/>
              <a:gd name="connsiteX167" fmla="*/ 3885662 w 11269336"/>
              <a:gd name="connsiteY167" fmla="*/ 2138740 h 2323145"/>
              <a:gd name="connsiteX168" fmla="*/ 3868627 w 11269336"/>
              <a:gd name="connsiteY168" fmla="*/ 2130023 h 2323145"/>
              <a:gd name="connsiteX169" fmla="*/ 3819177 w 11269336"/>
              <a:gd name="connsiteY169" fmla="*/ 2142111 h 2323145"/>
              <a:gd name="connsiteX170" fmla="*/ 3769100 w 11269336"/>
              <a:gd name="connsiteY170" fmla="*/ 2131731 h 2323145"/>
              <a:gd name="connsiteX171" fmla="*/ 3562752 w 11269336"/>
              <a:gd name="connsiteY171" fmla="*/ 2131785 h 2323145"/>
              <a:gd name="connsiteX172" fmla="*/ 3541402 w 11269336"/>
              <a:gd name="connsiteY172" fmla="*/ 2106821 h 2323145"/>
              <a:gd name="connsiteX173" fmla="*/ 3365341 w 11269336"/>
              <a:gd name="connsiteY173" fmla="*/ 2077638 h 2323145"/>
              <a:gd name="connsiteX174" fmla="*/ 3170922 w 11269336"/>
              <a:gd name="connsiteY174" fmla="*/ 2115957 h 2323145"/>
              <a:gd name="connsiteX175" fmla="*/ 3156256 w 11269336"/>
              <a:gd name="connsiteY175" fmla="*/ 2124773 h 2323145"/>
              <a:gd name="connsiteX176" fmla="*/ 3140298 w 11269336"/>
              <a:gd name="connsiteY176" fmla="*/ 2129182 h 2323145"/>
              <a:gd name="connsiteX177" fmla="*/ 3138514 w 11269336"/>
              <a:gd name="connsiteY177" fmla="*/ 2128069 h 2323145"/>
              <a:gd name="connsiteX178" fmla="*/ 3120467 w 11269336"/>
              <a:gd name="connsiteY178" fmla="*/ 2128281 h 2323145"/>
              <a:gd name="connsiteX179" fmla="*/ 3116175 w 11269336"/>
              <a:gd name="connsiteY179" fmla="*/ 2131633 h 2323145"/>
              <a:gd name="connsiteX180" fmla="*/ 3103685 w 11269336"/>
              <a:gd name="connsiteY180" fmla="*/ 2132814 h 2323145"/>
              <a:gd name="connsiteX181" fmla="*/ 3078794 w 11269336"/>
              <a:gd name="connsiteY181" fmla="*/ 2137935 h 2323145"/>
              <a:gd name="connsiteX182" fmla="*/ 3074407 w 11269336"/>
              <a:gd name="connsiteY182" fmla="*/ 2136274 h 2323145"/>
              <a:gd name="connsiteX183" fmla="*/ 3037285 w 11269336"/>
              <a:gd name="connsiteY183" fmla="*/ 2139919 h 2323145"/>
              <a:gd name="connsiteX184" fmla="*/ 3036901 w 11269336"/>
              <a:gd name="connsiteY184" fmla="*/ 2138726 h 2323145"/>
              <a:gd name="connsiteX185" fmla="*/ 3026996 w 11269336"/>
              <a:gd name="connsiteY185" fmla="*/ 2134322 h 2323145"/>
              <a:gd name="connsiteX186" fmla="*/ 3007772 w 11269336"/>
              <a:gd name="connsiteY186" fmla="*/ 2128742 h 2323145"/>
              <a:gd name="connsiteX187" fmla="*/ 2965030 w 11269336"/>
              <a:gd name="connsiteY187" fmla="*/ 2100494 h 2323145"/>
              <a:gd name="connsiteX188" fmla="*/ 2926342 w 11269336"/>
              <a:gd name="connsiteY188" fmla="*/ 2104155 h 2323145"/>
              <a:gd name="connsiteX189" fmla="*/ 2918608 w 11269336"/>
              <a:gd name="connsiteY189" fmla="*/ 2104215 h 2323145"/>
              <a:gd name="connsiteX190" fmla="*/ 2918475 w 11269336"/>
              <a:gd name="connsiteY190" fmla="*/ 2103937 h 2323145"/>
              <a:gd name="connsiteX191" fmla="*/ 2910360 w 11269336"/>
              <a:gd name="connsiteY191" fmla="*/ 2103444 h 2323145"/>
              <a:gd name="connsiteX192" fmla="*/ 2904507 w 11269336"/>
              <a:gd name="connsiteY192" fmla="*/ 2104326 h 2323145"/>
              <a:gd name="connsiteX193" fmla="*/ 2889503 w 11269336"/>
              <a:gd name="connsiteY193" fmla="*/ 2104443 h 2323145"/>
              <a:gd name="connsiteX194" fmla="*/ 2884480 w 11269336"/>
              <a:gd name="connsiteY194" fmla="*/ 2102626 h 2323145"/>
              <a:gd name="connsiteX195" fmla="*/ 2882689 w 11269336"/>
              <a:gd name="connsiteY195" fmla="*/ 2099228 h 2323145"/>
              <a:gd name="connsiteX196" fmla="*/ 2881291 w 11269336"/>
              <a:gd name="connsiteY196" fmla="*/ 2099618 h 2323145"/>
              <a:gd name="connsiteX197" fmla="*/ 2853979 w 11269336"/>
              <a:gd name="connsiteY197" fmla="*/ 2090388 h 2323145"/>
              <a:gd name="connsiteX198" fmla="*/ 2791790 w 11269336"/>
              <a:gd name="connsiteY198" fmla="*/ 2080332 h 2323145"/>
              <a:gd name="connsiteX199" fmla="*/ 2755844 w 11269336"/>
              <a:gd name="connsiteY199" fmla="*/ 2078874 h 2323145"/>
              <a:gd name="connsiteX200" fmla="*/ 2657742 w 11269336"/>
              <a:gd name="connsiteY200" fmla="*/ 2070179 h 2323145"/>
              <a:gd name="connsiteX201" fmla="*/ 2559549 w 11269336"/>
              <a:gd name="connsiteY201" fmla="*/ 2057873 h 2323145"/>
              <a:gd name="connsiteX202" fmla="*/ 2512054 w 11269336"/>
              <a:gd name="connsiteY202" fmla="*/ 2031671 h 2323145"/>
              <a:gd name="connsiteX203" fmla="*/ 2506437 w 11269336"/>
              <a:gd name="connsiteY203" fmla="*/ 2030918 h 2323145"/>
              <a:gd name="connsiteX204" fmla="*/ 2491752 w 11269336"/>
              <a:gd name="connsiteY204" fmla="*/ 2033906 h 2323145"/>
              <a:gd name="connsiteX205" fmla="*/ 2486338 w 11269336"/>
              <a:gd name="connsiteY205" fmla="*/ 2035862 h 2323145"/>
              <a:gd name="connsiteX206" fmla="*/ 2478186 w 11269336"/>
              <a:gd name="connsiteY206" fmla="*/ 2036953 h 2323145"/>
              <a:gd name="connsiteX207" fmla="*/ 2477950 w 11269336"/>
              <a:gd name="connsiteY207" fmla="*/ 2036715 h 2323145"/>
              <a:gd name="connsiteX208" fmla="*/ 2470381 w 11269336"/>
              <a:gd name="connsiteY208" fmla="*/ 2038256 h 2323145"/>
              <a:gd name="connsiteX209" fmla="*/ 2433781 w 11269336"/>
              <a:gd name="connsiteY209" fmla="*/ 2049140 h 2323145"/>
              <a:gd name="connsiteX210" fmla="*/ 2381172 w 11269336"/>
              <a:gd name="connsiteY210" fmla="*/ 2030645 h 2323145"/>
              <a:gd name="connsiteX211" fmla="*/ 2360198 w 11269336"/>
              <a:gd name="connsiteY211" fmla="*/ 2029059 h 2323145"/>
              <a:gd name="connsiteX212" fmla="*/ 2348815 w 11269336"/>
              <a:gd name="connsiteY212" fmla="*/ 2026798 h 2323145"/>
              <a:gd name="connsiteX213" fmla="*/ 2347988 w 11269336"/>
              <a:gd name="connsiteY213" fmla="*/ 2025745 h 2323145"/>
              <a:gd name="connsiteX214" fmla="*/ 2312920 w 11269336"/>
              <a:gd name="connsiteY214" fmla="*/ 2036311 h 2323145"/>
              <a:gd name="connsiteX215" fmla="*/ 2307986 w 11269336"/>
              <a:gd name="connsiteY215" fmla="*/ 2035583 h 2323145"/>
              <a:gd name="connsiteX216" fmla="*/ 2285481 w 11269336"/>
              <a:gd name="connsiteY216" fmla="*/ 2045197 h 2323145"/>
              <a:gd name="connsiteX217" fmla="*/ 2273666 w 11269336"/>
              <a:gd name="connsiteY217" fmla="*/ 2048710 h 2323145"/>
              <a:gd name="connsiteX218" fmla="*/ 2270719 w 11269336"/>
              <a:gd name="connsiteY218" fmla="*/ 2052702 h 2323145"/>
              <a:gd name="connsiteX219" fmla="*/ 2253080 w 11269336"/>
              <a:gd name="connsiteY219" fmla="*/ 2056363 h 2323145"/>
              <a:gd name="connsiteX220" fmla="*/ 2250906 w 11269336"/>
              <a:gd name="connsiteY220" fmla="*/ 2055654 h 2323145"/>
              <a:gd name="connsiteX221" fmla="*/ 2236905 w 11269336"/>
              <a:gd name="connsiteY221" fmla="*/ 2062882 h 2323145"/>
              <a:gd name="connsiteX222" fmla="*/ 2225830 w 11269336"/>
              <a:gd name="connsiteY222" fmla="*/ 2074027 h 2323145"/>
              <a:gd name="connsiteX223" fmla="*/ 2073776 w 11269336"/>
              <a:gd name="connsiteY223" fmla="*/ 2089244 h 2323145"/>
              <a:gd name="connsiteX224" fmla="*/ 1948256 w 11269336"/>
              <a:gd name="connsiteY224" fmla="*/ 2146616 h 2323145"/>
              <a:gd name="connsiteX225" fmla="*/ 1865582 w 11269336"/>
              <a:gd name="connsiteY225" fmla="*/ 2153738 h 2323145"/>
              <a:gd name="connsiteX226" fmla="*/ 1835210 w 11269336"/>
              <a:gd name="connsiteY226" fmla="*/ 2134244 h 2323145"/>
              <a:gd name="connsiteX227" fmla="*/ 1632661 w 11269336"/>
              <a:gd name="connsiteY227" fmla="*/ 2173882 h 2323145"/>
              <a:gd name="connsiteX228" fmla="*/ 1579590 w 11269336"/>
              <a:gd name="connsiteY228" fmla="*/ 2173680 h 2323145"/>
              <a:gd name="connsiteX229" fmla="*/ 1535601 w 11269336"/>
              <a:gd name="connsiteY229" fmla="*/ 2194590 h 2323145"/>
              <a:gd name="connsiteX230" fmla="*/ 1515594 w 11269336"/>
              <a:gd name="connsiteY230" fmla="*/ 2189622 h 2323145"/>
              <a:gd name="connsiteX231" fmla="*/ 1512113 w 11269336"/>
              <a:gd name="connsiteY231" fmla="*/ 2188534 h 2323145"/>
              <a:gd name="connsiteX232" fmla="*/ 1498838 w 11269336"/>
              <a:gd name="connsiteY232" fmla="*/ 2189213 h 2323145"/>
              <a:gd name="connsiteX233" fmla="*/ 1494279 w 11269336"/>
              <a:gd name="connsiteY233" fmla="*/ 2183112 h 2323145"/>
              <a:gd name="connsiteX234" fmla="*/ 1473714 w 11269336"/>
              <a:gd name="connsiteY234" fmla="*/ 2179625 h 2323145"/>
              <a:gd name="connsiteX235" fmla="*/ 1449503 w 11269336"/>
              <a:gd name="connsiteY235" fmla="*/ 2182633 h 2323145"/>
              <a:gd name="connsiteX236" fmla="*/ 1266687 w 11269336"/>
              <a:gd name="connsiteY236" fmla="*/ 2212688 h 2323145"/>
              <a:gd name="connsiteX237" fmla="*/ 1239614 w 11269336"/>
              <a:gd name="connsiteY237" fmla="*/ 2209727 h 2323145"/>
              <a:gd name="connsiteX238" fmla="*/ 1202436 w 11269336"/>
              <a:gd name="connsiteY238" fmla="*/ 2209817 h 2323145"/>
              <a:gd name="connsiteX239" fmla="*/ 1136097 w 11269336"/>
              <a:gd name="connsiteY239" fmla="*/ 2205112 h 2323145"/>
              <a:gd name="connsiteX240" fmla="*/ 988232 w 11269336"/>
              <a:gd name="connsiteY240" fmla="*/ 2235635 h 2323145"/>
              <a:gd name="connsiteX241" fmla="*/ 981959 w 11269336"/>
              <a:gd name="connsiteY241" fmla="*/ 2231607 h 2323145"/>
              <a:gd name="connsiteX242" fmla="*/ 938600 w 11269336"/>
              <a:gd name="connsiteY242" fmla="*/ 2238113 h 2323145"/>
              <a:gd name="connsiteX243" fmla="*/ 791788 w 11269336"/>
              <a:gd name="connsiteY243" fmla="*/ 2293224 h 2323145"/>
              <a:gd name="connsiteX244" fmla="*/ 706914 w 11269336"/>
              <a:gd name="connsiteY244" fmla="*/ 2305046 h 2323145"/>
              <a:gd name="connsiteX245" fmla="*/ 675971 w 11269336"/>
              <a:gd name="connsiteY245" fmla="*/ 2304030 h 2323145"/>
              <a:gd name="connsiteX246" fmla="*/ 624180 w 11269336"/>
              <a:gd name="connsiteY246" fmla="*/ 2302650 h 2323145"/>
              <a:gd name="connsiteX247" fmla="*/ 583453 w 11269336"/>
              <a:gd name="connsiteY247" fmla="*/ 2288788 h 2323145"/>
              <a:gd name="connsiteX248" fmla="*/ 540946 w 11269336"/>
              <a:gd name="connsiteY248" fmla="*/ 2292721 h 2323145"/>
              <a:gd name="connsiteX249" fmla="*/ 533680 w 11269336"/>
              <a:gd name="connsiteY249" fmla="*/ 2310233 h 2323145"/>
              <a:gd name="connsiteX250" fmla="*/ 487366 w 11269336"/>
              <a:gd name="connsiteY250" fmla="*/ 2309053 h 2323145"/>
              <a:gd name="connsiteX251" fmla="*/ 416820 w 11269336"/>
              <a:gd name="connsiteY251" fmla="*/ 2305443 h 2323145"/>
              <a:gd name="connsiteX252" fmla="*/ 376805 w 11269336"/>
              <a:gd name="connsiteY252" fmla="*/ 2307647 h 2323145"/>
              <a:gd name="connsiteX253" fmla="*/ 266777 w 11269336"/>
              <a:gd name="connsiteY253" fmla="*/ 2309012 h 2323145"/>
              <a:gd name="connsiteX254" fmla="*/ 156013 w 11269336"/>
              <a:gd name="connsiteY254" fmla="*/ 2306832 h 2323145"/>
              <a:gd name="connsiteX255" fmla="*/ 87258 w 11269336"/>
              <a:gd name="connsiteY255" fmla="*/ 2285511 h 2323145"/>
              <a:gd name="connsiteX256" fmla="*/ 23798 w 11269336"/>
              <a:gd name="connsiteY256" fmla="*/ 2281822 h 2323145"/>
              <a:gd name="connsiteX257" fmla="*/ 0 w 11269336"/>
              <a:gd name="connsiteY257" fmla="*/ 2285369 h 2323145"/>
              <a:gd name="connsiteX258" fmla="*/ 0 w 11269336"/>
              <a:gd name="connsiteY258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20601 w 11269336"/>
              <a:gd name="connsiteY146" fmla="*/ 2205158 h 2323145"/>
              <a:gd name="connsiteX147" fmla="*/ 4405765 w 11269336"/>
              <a:gd name="connsiteY147" fmla="*/ 2199902 h 2323145"/>
              <a:gd name="connsiteX148" fmla="*/ 4401354 w 11269336"/>
              <a:gd name="connsiteY148" fmla="*/ 2194745 h 2323145"/>
              <a:gd name="connsiteX149" fmla="*/ 4366646 w 11269336"/>
              <a:gd name="connsiteY149" fmla="*/ 2198564 h 2323145"/>
              <a:gd name="connsiteX150" fmla="*/ 4354009 w 11269336"/>
              <a:gd name="connsiteY150" fmla="*/ 2204984 h 2323145"/>
              <a:gd name="connsiteX151" fmla="*/ 4348284 w 11269336"/>
              <a:gd name="connsiteY151" fmla="*/ 2205270 h 2323145"/>
              <a:gd name="connsiteX152" fmla="*/ 4333906 w 11269336"/>
              <a:gd name="connsiteY152" fmla="*/ 2205251 h 2323145"/>
              <a:gd name="connsiteX153" fmla="*/ 4308819 w 11269336"/>
              <a:gd name="connsiteY153" fmla="*/ 2203822 h 2323145"/>
              <a:gd name="connsiteX154" fmla="*/ 4301210 w 11269336"/>
              <a:gd name="connsiteY154" fmla="*/ 2204456 h 2323145"/>
              <a:gd name="connsiteX155" fmla="*/ 4283095 w 11269336"/>
              <a:gd name="connsiteY155" fmla="*/ 2198177 h 2323145"/>
              <a:gd name="connsiteX156" fmla="*/ 4250119 w 11269336"/>
              <a:gd name="connsiteY156" fmla="*/ 2196342 h 2323145"/>
              <a:gd name="connsiteX157" fmla="*/ 4189203 w 11269336"/>
              <a:gd name="connsiteY157" fmla="*/ 2178994 h 2323145"/>
              <a:gd name="connsiteX158" fmla="*/ 4154035 w 11269336"/>
              <a:gd name="connsiteY158" fmla="*/ 2171950 h 2323145"/>
              <a:gd name="connsiteX159" fmla="*/ 4129569 w 11269336"/>
              <a:gd name="connsiteY159" fmla="*/ 2163850 h 2323145"/>
              <a:gd name="connsiteX160" fmla="*/ 4061250 w 11269336"/>
              <a:gd name="connsiteY160" fmla="*/ 2159236 h 2323145"/>
              <a:gd name="connsiteX161" fmla="*/ 3945480 w 11269336"/>
              <a:gd name="connsiteY161" fmla="*/ 2158279 h 2323145"/>
              <a:gd name="connsiteX162" fmla="*/ 3921468 w 11269336"/>
              <a:gd name="connsiteY162" fmla="*/ 2156588 h 2323145"/>
              <a:gd name="connsiteX163" fmla="*/ 3903348 w 11269336"/>
              <a:gd name="connsiteY163" fmla="*/ 2149220 h 2323145"/>
              <a:gd name="connsiteX164" fmla="*/ 3901342 w 11269336"/>
              <a:gd name="connsiteY164" fmla="*/ 2142355 h 2323145"/>
              <a:gd name="connsiteX165" fmla="*/ 3888539 w 11269336"/>
              <a:gd name="connsiteY165" fmla="*/ 2140476 h 2323145"/>
              <a:gd name="connsiteX166" fmla="*/ 3885662 w 11269336"/>
              <a:gd name="connsiteY166" fmla="*/ 2138740 h 2323145"/>
              <a:gd name="connsiteX167" fmla="*/ 3868627 w 11269336"/>
              <a:gd name="connsiteY167" fmla="*/ 2130023 h 2323145"/>
              <a:gd name="connsiteX168" fmla="*/ 3819177 w 11269336"/>
              <a:gd name="connsiteY168" fmla="*/ 2142111 h 2323145"/>
              <a:gd name="connsiteX169" fmla="*/ 3769100 w 11269336"/>
              <a:gd name="connsiteY169" fmla="*/ 2131731 h 2323145"/>
              <a:gd name="connsiteX170" fmla="*/ 3562752 w 11269336"/>
              <a:gd name="connsiteY170" fmla="*/ 2131785 h 2323145"/>
              <a:gd name="connsiteX171" fmla="*/ 3541402 w 11269336"/>
              <a:gd name="connsiteY171" fmla="*/ 2106821 h 2323145"/>
              <a:gd name="connsiteX172" fmla="*/ 3365341 w 11269336"/>
              <a:gd name="connsiteY172" fmla="*/ 2077638 h 2323145"/>
              <a:gd name="connsiteX173" fmla="*/ 3170922 w 11269336"/>
              <a:gd name="connsiteY173" fmla="*/ 2115957 h 2323145"/>
              <a:gd name="connsiteX174" fmla="*/ 3156256 w 11269336"/>
              <a:gd name="connsiteY174" fmla="*/ 2124773 h 2323145"/>
              <a:gd name="connsiteX175" fmla="*/ 3140298 w 11269336"/>
              <a:gd name="connsiteY175" fmla="*/ 2129182 h 2323145"/>
              <a:gd name="connsiteX176" fmla="*/ 3138514 w 11269336"/>
              <a:gd name="connsiteY176" fmla="*/ 2128069 h 2323145"/>
              <a:gd name="connsiteX177" fmla="*/ 3120467 w 11269336"/>
              <a:gd name="connsiteY177" fmla="*/ 2128281 h 2323145"/>
              <a:gd name="connsiteX178" fmla="*/ 3116175 w 11269336"/>
              <a:gd name="connsiteY178" fmla="*/ 2131633 h 2323145"/>
              <a:gd name="connsiteX179" fmla="*/ 3103685 w 11269336"/>
              <a:gd name="connsiteY179" fmla="*/ 2132814 h 2323145"/>
              <a:gd name="connsiteX180" fmla="*/ 3078794 w 11269336"/>
              <a:gd name="connsiteY180" fmla="*/ 2137935 h 2323145"/>
              <a:gd name="connsiteX181" fmla="*/ 3074407 w 11269336"/>
              <a:gd name="connsiteY181" fmla="*/ 2136274 h 2323145"/>
              <a:gd name="connsiteX182" fmla="*/ 3037285 w 11269336"/>
              <a:gd name="connsiteY182" fmla="*/ 2139919 h 2323145"/>
              <a:gd name="connsiteX183" fmla="*/ 3036901 w 11269336"/>
              <a:gd name="connsiteY183" fmla="*/ 2138726 h 2323145"/>
              <a:gd name="connsiteX184" fmla="*/ 3026996 w 11269336"/>
              <a:gd name="connsiteY184" fmla="*/ 2134322 h 2323145"/>
              <a:gd name="connsiteX185" fmla="*/ 3007772 w 11269336"/>
              <a:gd name="connsiteY185" fmla="*/ 2128742 h 2323145"/>
              <a:gd name="connsiteX186" fmla="*/ 2965030 w 11269336"/>
              <a:gd name="connsiteY186" fmla="*/ 2100494 h 2323145"/>
              <a:gd name="connsiteX187" fmla="*/ 2926342 w 11269336"/>
              <a:gd name="connsiteY187" fmla="*/ 2104155 h 2323145"/>
              <a:gd name="connsiteX188" fmla="*/ 2918608 w 11269336"/>
              <a:gd name="connsiteY188" fmla="*/ 2104215 h 2323145"/>
              <a:gd name="connsiteX189" fmla="*/ 2918475 w 11269336"/>
              <a:gd name="connsiteY189" fmla="*/ 2103937 h 2323145"/>
              <a:gd name="connsiteX190" fmla="*/ 2910360 w 11269336"/>
              <a:gd name="connsiteY190" fmla="*/ 2103444 h 2323145"/>
              <a:gd name="connsiteX191" fmla="*/ 2904507 w 11269336"/>
              <a:gd name="connsiteY191" fmla="*/ 2104326 h 2323145"/>
              <a:gd name="connsiteX192" fmla="*/ 2889503 w 11269336"/>
              <a:gd name="connsiteY192" fmla="*/ 2104443 h 2323145"/>
              <a:gd name="connsiteX193" fmla="*/ 2884480 w 11269336"/>
              <a:gd name="connsiteY193" fmla="*/ 2102626 h 2323145"/>
              <a:gd name="connsiteX194" fmla="*/ 2882689 w 11269336"/>
              <a:gd name="connsiteY194" fmla="*/ 2099228 h 2323145"/>
              <a:gd name="connsiteX195" fmla="*/ 2881291 w 11269336"/>
              <a:gd name="connsiteY195" fmla="*/ 2099618 h 2323145"/>
              <a:gd name="connsiteX196" fmla="*/ 2853979 w 11269336"/>
              <a:gd name="connsiteY196" fmla="*/ 2090388 h 2323145"/>
              <a:gd name="connsiteX197" fmla="*/ 2791790 w 11269336"/>
              <a:gd name="connsiteY197" fmla="*/ 2080332 h 2323145"/>
              <a:gd name="connsiteX198" fmla="*/ 2755844 w 11269336"/>
              <a:gd name="connsiteY198" fmla="*/ 2078874 h 2323145"/>
              <a:gd name="connsiteX199" fmla="*/ 2657742 w 11269336"/>
              <a:gd name="connsiteY199" fmla="*/ 2070179 h 2323145"/>
              <a:gd name="connsiteX200" fmla="*/ 2559549 w 11269336"/>
              <a:gd name="connsiteY200" fmla="*/ 2057873 h 2323145"/>
              <a:gd name="connsiteX201" fmla="*/ 2512054 w 11269336"/>
              <a:gd name="connsiteY201" fmla="*/ 2031671 h 2323145"/>
              <a:gd name="connsiteX202" fmla="*/ 2506437 w 11269336"/>
              <a:gd name="connsiteY202" fmla="*/ 2030918 h 2323145"/>
              <a:gd name="connsiteX203" fmla="*/ 2491752 w 11269336"/>
              <a:gd name="connsiteY203" fmla="*/ 2033906 h 2323145"/>
              <a:gd name="connsiteX204" fmla="*/ 2486338 w 11269336"/>
              <a:gd name="connsiteY204" fmla="*/ 2035862 h 2323145"/>
              <a:gd name="connsiteX205" fmla="*/ 2478186 w 11269336"/>
              <a:gd name="connsiteY205" fmla="*/ 2036953 h 2323145"/>
              <a:gd name="connsiteX206" fmla="*/ 2477950 w 11269336"/>
              <a:gd name="connsiteY206" fmla="*/ 2036715 h 2323145"/>
              <a:gd name="connsiteX207" fmla="*/ 2470381 w 11269336"/>
              <a:gd name="connsiteY207" fmla="*/ 2038256 h 2323145"/>
              <a:gd name="connsiteX208" fmla="*/ 2433781 w 11269336"/>
              <a:gd name="connsiteY208" fmla="*/ 2049140 h 2323145"/>
              <a:gd name="connsiteX209" fmla="*/ 2381172 w 11269336"/>
              <a:gd name="connsiteY209" fmla="*/ 2030645 h 2323145"/>
              <a:gd name="connsiteX210" fmla="*/ 2360198 w 11269336"/>
              <a:gd name="connsiteY210" fmla="*/ 2029059 h 2323145"/>
              <a:gd name="connsiteX211" fmla="*/ 2348815 w 11269336"/>
              <a:gd name="connsiteY211" fmla="*/ 2026798 h 2323145"/>
              <a:gd name="connsiteX212" fmla="*/ 2347988 w 11269336"/>
              <a:gd name="connsiteY212" fmla="*/ 2025745 h 2323145"/>
              <a:gd name="connsiteX213" fmla="*/ 2312920 w 11269336"/>
              <a:gd name="connsiteY213" fmla="*/ 2036311 h 2323145"/>
              <a:gd name="connsiteX214" fmla="*/ 2307986 w 11269336"/>
              <a:gd name="connsiteY214" fmla="*/ 2035583 h 2323145"/>
              <a:gd name="connsiteX215" fmla="*/ 2285481 w 11269336"/>
              <a:gd name="connsiteY215" fmla="*/ 2045197 h 2323145"/>
              <a:gd name="connsiteX216" fmla="*/ 2273666 w 11269336"/>
              <a:gd name="connsiteY216" fmla="*/ 2048710 h 2323145"/>
              <a:gd name="connsiteX217" fmla="*/ 2270719 w 11269336"/>
              <a:gd name="connsiteY217" fmla="*/ 2052702 h 2323145"/>
              <a:gd name="connsiteX218" fmla="*/ 2253080 w 11269336"/>
              <a:gd name="connsiteY218" fmla="*/ 2056363 h 2323145"/>
              <a:gd name="connsiteX219" fmla="*/ 2250906 w 11269336"/>
              <a:gd name="connsiteY219" fmla="*/ 2055654 h 2323145"/>
              <a:gd name="connsiteX220" fmla="*/ 2236905 w 11269336"/>
              <a:gd name="connsiteY220" fmla="*/ 2062882 h 2323145"/>
              <a:gd name="connsiteX221" fmla="*/ 2225830 w 11269336"/>
              <a:gd name="connsiteY221" fmla="*/ 2074027 h 2323145"/>
              <a:gd name="connsiteX222" fmla="*/ 2073776 w 11269336"/>
              <a:gd name="connsiteY222" fmla="*/ 2089244 h 2323145"/>
              <a:gd name="connsiteX223" fmla="*/ 1948256 w 11269336"/>
              <a:gd name="connsiteY223" fmla="*/ 2146616 h 2323145"/>
              <a:gd name="connsiteX224" fmla="*/ 1865582 w 11269336"/>
              <a:gd name="connsiteY224" fmla="*/ 2153738 h 2323145"/>
              <a:gd name="connsiteX225" fmla="*/ 1835210 w 11269336"/>
              <a:gd name="connsiteY225" fmla="*/ 2134244 h 2323145"/>
              <a:gd name="connsiteX226" fmla="*/ 1632661 w 11269336"/>
              <a:gd name="connsiteY226" fmla="*/ 2173882 h 2323145"/>
              <a:gd name="connsiteX227" fmla="*/ 1579590 w 11269336"/>
              <a:gd name="connsiteY227" fmla="*/ 2173680 h 2323145"/>
              <a:gd name="connsiteX228" fmla="*/ 1535601 w 11269336"/>
              <a:gd name="connsiteY228" fmla="*/ 2194590 h 2323145"/>
              <a:gd name="connsiteX229" fmla="*/ 1515594 w 11269336"/>
              <a:gd name="connsiteY229" fmla="*/ 2189622 h 2323145"/>
              <a:gd name="connsiteX230" fmla="*/ 1512113 w 11269336"/>
              <a:gd name="connsiteY230" fmla="*/ 2188534 h 2323145"/>
              <a:gd name="connsiteX231" fmla="*/ 1498838 w 11269336"/>
              <a:gd name="connsiteY231" fmla="*/ 2189213 h 2323145"/>
              <a:gd name="connsiteX232" fmla="*/ 1494279 w 11269336"/>
              <a:gd name="connsiteY232" fmla="*/ 2183112 h 2323145"/>
              <a:gd name="connsiteX233" fmla="*/ 1473714 w 11269336"/>
              <a:gd name="connsiteY233" fmla="*/ 2179625 h 2323145"/>
              <a:gd name="connsiteX234" fmla="*/ 1449503 w 11269336"/>
              <a:gd name="connsiteY234" fmla="*/ 2182633 h 2323145"/>
              <a:gd name="connsiteX235" fmla="*/ 1266687 w 11269336"/>
              <a:gd name="connsiteY235" fmla="*/ 2212688 h 2323145"/>
              <a:gd name="connsiteX236" fmla="*/ 1239614 w 11269336"/>
              <a:gd name="connsiteY236" fmla="*/ 2209727 h 2323145"/>
              <a:gd name="connsiteX237" fmla="*/ 1202436 w 11269336"/>
              <a:gd name="connsiteY237" fmla="*/ 2209817 h 2323145"/>
              <a:gd name="connsiteX238" fmla="*/ 1136097 w 11269336"/>
              <a:gd name="connsiteY238" fmla="*/ 2205112 h 2323145"/>
              <a:gd name="connsiteX239" fmla="*/ 988232 w 11269336"/>
              <a:gd name="connsiteY239" fmla="*/ 2235635 h 2323145"/>
              <a:gd name="connsiteX240" fmla="*/ 981959 w 11269336"/>
              <a:gd name="connsiteY240" fmla="*/ 2231607 h 2323145"/>
              <a:gd name="connsiteX241" fmla="*/ 938600 w 11269336"/>
              <a:gd name="connsiteY241" fmla="*/ 2238113 h 2323145"/>
              <a:gd name="connsiteX242" fmla="*/ 791788 w 11269336"/>
              <a:gd name="connsiteY242" fmla="*/ 2293224 h 2323145"/>
              <a:gd name="connsiteX243" fmla="*/ 706914 w 11269336"/>
              <a:gd name="connsiteY243" fmla="*/ 2305046 h 2323145"/>
              <a:gd name="connsiteX244" fmla="*/ 675971 w 11269336"/>
              <a:gd name="connsiteY244" fmla="*/ 2304030 h 2323145"/>
              <a:gd name="connsiteX245" fmla="*/ 624180 w 11269336"/>
              <a:gd name="connsiteY245" fmla="*/ 2302650 h 2323145"/>
              <a:gd name="connsiteX246" fmla="*/ 583453 w 11269336"/>
              <a:gd name="connsiteY246" fmla="*/ 2288788 h 2323145"/>
              <a:gd name="connsiteX247" fmla="*/ 540946 w 11269336"/>
              <a:gd name="connsiteY247" fmla="*/ 2292721 h 2323145"/>
              <a:gd name="connsiteX248" fmla="*/ 533680 w 11269336"/>
              <a:gd name="connsiteY248" fmla="*/ 2310233 h 2323145"/>
              <a:gd name="connsiteX249" fmla="*/ 487366 w 11269336"/>
              <a:gd name="connsiteY249" fmla="*/ 2309053 h 2323145"/>
              <a:gd name="connsiteX250" fmla="*/ 416820 w 11269336"/>
              <a:gd name="connsiteY250" fmla="*/ 2305443 h 2323145"/>
              <a:gd name="connsiteX251" fmla="*/ 376805 w 11269336"/>
              <a:gd name="connsiteY251" fmla="*/ 2307647 h 2323145"/>
              <a:gd name="connsiteX252" fmla="*/ 266777 w 11269336"/>
              <a:gd name="connsiteY252" fmla="*/ 2309012 h 2323145"/>
              <a:gd name="connsiteX253" fmla="*/ 156013 w 11269336"/>
              <a:gd name="connsiteY253" fmla="*/ 2306832 h 2323145"/>
              <a:gd name="connsiteX254" fmla="*/ 87258 w 11269336"/>
              <a:gd name="connsiteY254" fmla="*/ 2285511 h 2323145"/>
              <a:gd name="connsiteX255" fmla="*/ 23798 w 11269336"/>
              <a:gd name="connsiteY255" fmla="*/ 2281822 h 2323145"/>
              <a:gd name="connsiteX256" fmla="*/ 0 w 11269336"/>
              <a:gd name="connsiteY256" fmla="*/ 2285369 h 2323145"/>
              <a:gd name="connsiteX257" fmla="*/ 0 w 11269336"/>
              <a:gd name="connsiteY257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05765 w 11269336"/>
              <a:gd name="connsiteY146" fmla="*/ 2199902 h 2323145"/>
              <a:gd name="connsiteX147" fmla="*/ 4401354 w 11269336"/>
              <a:gd name="connsiteY147" fmla="*/ 2194745 h 2323145"/>
              <a:gd name="connsiteX148" fmla="*/ 4366646 w 11269336"/>
              <a:gd name="connsiteY148" fmla="*/ 2198564 h 2323145"/>
              <a:gd name="connsiteX149" fmla="*/ 4354009 w 11269336"/>
              <a:gd name="connsiteY149" fmla="*/ 2204984 h 2323145"/>
              <a:gd name="connsiteX150" fmla="*/ 4348284 w 11269336"/>
              <a:gd name="connsiteY150" fmla="*/ 2205270 h 2323145"/>
              <a:gd name="connsiteX151" fmla="*/ 4333906 w 11269336"/>
              <a:gd name="connsiteY151" fmla="*/ 2205251 h 2323145"/>
              <a:gd name="connsiteX152" fmla="*/ 4308819 w 11269336"/>
              <a:gd name="connsiteY152" fmla="*/ 2203822 h 2323145"/>
              <a:gd name="connsiteX153" fmla="*/ 4301210 w 11269336"/>
              <a:gd name="connsiteY153" fmla="*/ 2204456 h 2323145"/>
              <a:gd name="connsiteX154" fmla="*/ 4283095 w 11269336"/>
              <a:gd name="connsiteY154" fmla="*/ 2198177 h 2323145"/>
              <a:gd name="connsiteX155" fmla="*/ 4250119 w 11269336"/>
              <a:gd name="connsiteY155" fmla="*/ 2196342 h 2323145"/>
              <a:gd name="connsiteX156" fmla="*/ 4189203 w 11269336"/>
              <a:gd name="connsiteY156" fmla="*/ 2178994 h 2323145"/>
              <a:gd name="connsiteX157" fmla="*/ 4154035 w 11269336"/>
              <a:gd name="connsiteY157" fmla="*/ 2171950 h 2323145"/>
              <a:gd name="connsiteX158" fmla="*/ 4129569 w 11269336"/>
              <a:gd name="connsiteY158" fmla="*/ 2163850 h 2323145"/>
              <a:gd name="connsiteX159" fmla="*/ 4061250 w 11269336"/>
              <a:gd name="connsiteY159" fmla="*/ 2159236 h 2323145"/>
              <a:gd name="connsiteX160" fmla="*/ 3945480 w 11269336"/>
              <a:gd name="connsiteY160" fmla="*/ 2158279 h 2323145"/>
              <a:gd name="connsiteX161" fmla="*/ 3921468 w 11269336"/>
              <a:gd name="connsiteY161" fmla="*/ 2156588 h 2323145"/>
              <a:gd name="connsiteX162" fmla="*/ 3903348 w 11269336"/>
              <a:gd name="connsiteY162" fmla="*/ 2149220 h 2323145"/>
              <a:gd name="connsiteX163" fmla="*/ 3901342 w 11269336"/>
              <a:gd name="connsiteY163" fmla="*/ 2142355 h 2323145"/>
              <a:gd name="connsiteX164" fmla="*/ 3888539 w 11269336"/>
              <a:gd name="connsiteY164" fmla="*/ 2140476 h 2323145"/>
              <a:gd name="connsiteX165" fmla="*/ 3885662 w 11269336"/>
              <a:gd name="connsiteY165" fmla="*/ 2138740 h 2323145"/>
              <a:gd name="connsiteX166" fmla="*/ 3868627 w 11269336"/>
              <a:gd name="connsiteY166" fmla="*/ 2130023 h 2323145"/>
              <a:gd name="connsiteX167" fmla="*/ 3819177 w 11269336"/>
              <a:gd name="connsiteY167" fmla="*/ 2142111 h 2323145"/>
              <a:gd name="connsiteX168" fmla="*/ 3769100 w 11269336"/>
              <a:gd name="connsiteY168" fmla="*/ 2131731 h 2323145"/>
              <a:gd name="connsiteX169" fmla="*/ 3562752 w 11269336"/>
              <a:gd name="connsiteY169" fmla="*/ 2131785 h 2323145"/>
              <a:gd name="connsiteX170" fmla="*/ 3541402 w 11269336"/>
              <a:gd name="connsiteY170" fmla="*/ 2106821 h 2323145"/>
              <a:gd name="connsiteX171" fmla="*/ 3365341 w 11269336"/>
              <a:gd name="connsiteY171" fmla="*/ 2077638 h 2323145"/>
              <a:gd name="connsiteX172" fmla="*/ 3170922 w 11269336"/>
              <a:gd name="connsiteY172" fmla="*/ 2115957 h 2323145"/>
              <a:gd name="connsiteX173" fmla="*/ 3156256 w 11269336"/>
              <a:gd name="connsiteY173" fmla="*/ 2124773 h 2323145"/>
              <a:gd name="connsiteX174" fmla="*/ 3140298 w 11269336"/>
              <a:gd name="connsiteY174" fmla="*/ 2129182 h 2323145"/>
              <a:gd name="connsiteX175" fmla="*/ 3138514 w 11269336"/>
              <a:gd name="connsiteY175" fmla="*/ 2128069 h 2323145"/>
              <a:gd name="connsiteX176" fmla="*/ 3120467 w 11269336"/>
              <a:gd name="connsiteY176" fmla="*/ 2128281 h 2323145"/>
              <a:gd name="connsiteX177" fmla="*/ 3116175 w 11269336"/>
              <a:gd name="connsiteY177" fmla="*/ 2131633 h 2323145"/>
              <a:gd name="connsiteX178" fmla="*/ 3103685 w 11269336"/>
              <a:gd name="connsiteY178" fmla="*/ 2132814 h 2323145"/>
              <a:gd name="connsiteX179" fmla="*/ 3078794 w 11269336"/>
              <a:gd name="connsiteY179" fmla="*/ 2137935 h 2323145"/>
              <a:gd name="connsiteX180" fmla="*/ 3074407 w 11269336"/>
              <a:gd name="connsiteY180" fmla="*/ 2136274 h 2323145"/>
              <a:gd name="connsiteX181" fmla="*/ 3037285 w 11269336"/>
              <a:gd name="connsiteY181" fmla="*/ 2139919 h 2323145"/>
              <a:gd name="connsiteX182" fmla="*/ 3036901 w 11269336"/>
              <a:gd name="connsiteY182" fmla="*/ 2138726 h 2323145"/>
              <a:gd name="connsiteX183" fmla="*/ 3026996 w 11269336"/>
              <a:gd name="connsiteY183" fmla="*/ 2134322 h 2323145"/>
              <a:gd name="connsiteX184" fmla="*/ 3007772 w 11269336"/>
              <a:gd name="connsiteY184" fmla="*/ 2128742 h 2323145"/>
              <a:gd name="connsiteX185" fmla="*/ 2965030 w 11269336"/>
              <a:gd name="connsiteY185" fmla="*/ 2100494 h 2323145"/>
              <a:gd name="connsiteX186" fmla="*/ 2926342 w 11269336"/>
              <a:gd name="connsiteY186" fmla="*/ 2104155 h 2323145"/>
              <a:gd name="connsiteX187" fmla="*/ 2918608 w 11269336"/>
              <a:gd name="connsiteY187" fmla="*/ 2104215 h 2323145"/>
              <a:gd name="connsiteX188" fmla="*/ 2918475 w 11269336"/>
              <a:gd name="connsiteY188" fmla="*/ 2103937 h 2323145"/>
              <a:gd name="connsiteX189" fmla="*/ 2910360 w 11269336"/>
              <a:gd name="connsiteY189" fmla="*/ 2103444 h 2323145"/>
              <a:gd name="connsiteX190" fmla="*/ 2904507 w 11269336"/>
              <a:gd name="connsiteY190" fmla="*/ 2104326 h 2323145"/>
              <a:gd name="connsiteX191" fmla="*/ 2889503 w 11269336"/>
              <a:gd name="connsiteY191" fmla="*/ 2104443 h 2323145"/>
              <a:gd name="connsiteX192" fmla="*/ 2884480 w 11269336"/>
              <a:gd name="connsiteY192" fmla="*/ 2102626 h 2323145"/>
              <a:gd name="connsiteX193" fmla="*/ 2882689 w 11269336"/>
              <a:gd name="connsiteY193" fmla="*/ 2099228 h 2323145"/>
              <a:gd name="connsiteX194" fmla="*/ 2881291 w 11269336"/>
              <a:gd name="connsiteY194" fmla="*/ 2099618 h 2323145"/>
              <a:gd name="connsiteX195" fmla="*/ 2853979 w 11269336"/>
              <a:gd name="connsiteY195" fmla="*/ 2090388 h 2323145"/>
              <a:gd name="connsiteX196" fmla="*/ 2791790 w 11269336"/>
              <a:gd name="connsiteY196" fmla="*/ 2080332 h 2323145"/>
              <a:gd name="connsiteX197" fmla="*/ 2755844 w 11269336"/>
              <a:gd name="connsiteY197" fmla="*/ 2078874 h 2323145"/>
              <a:gd name="connsiteX198" fmla="*/ 2657742 w 11269336"/>
              <a:gd name="connsiteY198" fmla="*/ 2070179 h 2323145"/>
              <a:gd name="connsiteX199" fmla="*/ 2559549 w 11269336"/>
              <a:gd name="connsiteY199" fmla="*/ 2057873 h 2323145"/>
              <a:gd name="connsiteX200" fmla="*/ 2512054 w 11269336"/>
              <a:gd name="connsiteY200" fmla="*/ 2031671 h 2323145"/>
              <a:gd name="connsiteX201" fmla="*/ 2506437 w 11269336"/>
              <a:gd name="connsiteY201" fmla="*/ 2030918 h 2323145"/>
              <a:gd name="connsiteX202" fmla="*/ 2491752 w 11269336"/>
              <a:gd name="connsiteY202" fmla="*/ 2033906 h 2323145"/>
              <a:gd name="connsiteX203" fmla="*/ 2486338 w 11269336"/>
              <a:gd name="connsiteY203" fmla="*/ 2035862 h 2323145"/>
              <a:gd name="connsiteX204" fmla="*/ 2478186 w 11269336"/>
              <a:gd name="connsiteY204" fmla="*/ 2036953 h 2323145"/>
              <a:gd name="connsiteX205" fmla="*/ 2477950 w 11269336"/>
              <a:gd name="connsiteY205" fmla="*/ 2036715 h 2323145"/>
              <a:gd name="connsiteX206" fmla="*/ 2470381 w 11269336"/>
              <a:gd name="connsiteY206" fmla="*/ 2038256 h 2323145"/>
              <a:gd name="connsiteX207" fmla="*/ 2433781 w 11269336"/>
              <a:gd name="connsiteY207" fmla="*/ 2049140 h 2323145"/>
              <a:gd name="connsiteX208" fmla="*/ 2381172 w 11269336"/>
              <a:gd name="connsiteY208" fmla="*/ 2030645 h 2323145"/>
              <a:gd name="connsiteX209" fmla="*/ 2360198 w 11269336"/>
              <a:gd name="connsiteY209" fmla="*/ 2029059 h 2323145"/>
              <a:gd name="connsiteX210" fmla="*/ 2348815 w 11269336"/>
              <a:gd name="connsiteY210" fmla="*/ 2026798 h 2323145"/>
              <a:gd name="connsiteX211" fmla="*/ 2347988 w 11269336"/>
              <a:gd name="connsiteY211" fmla="*/ 2025745 h 2323145"/>
              <a:gd name="connsiteX212" fmla="*/ 2312920 w 11269336"/>
              <a:gd name="connsiteY212" fmla="*/ 2036311 h 2323145"/>
              <a:gd name="connsiteX213" fmla="*/ 2307986 w 11269336"/>
              <a:gd name="connsiteY213" fmla="*/ 2035583 h 2323145"/>
              <a:gd name="connsiteX214" fmla="*/ 2285481 w 11269336"/>
              <a:gd name="connsiteY214" fmla="*/ 2045197 h 2323145"/>
              <a:gd name="connsiteX215" fmla="*/ 2273666 w 11269336"/>
              <a:gd name="connsiteY215" fmla="*/ 2048710 h 2323145"/>
              <a:gd name="connsiteX216" fmla="*/ 2270719 w 11269336"/>
              <a:gd name="connsiteY216" fmla="*/ 2052702 h 2323145"/>
              <a:gd name="connsiteX217" fmla="*/ 2253080 w 11269336"/>
              <a:gd name="connsiteY217" fmla="*/ 2056363 h 2323145"/>
              <a:gd name="connsiteX218" fmla="*/ 2250906 w 11269336"/>
              <a:gd name="connsiteY218" fmla="*/ 2055654 h 2323145"/>
              <a:gd name="connsiteX219" fmla="*/ 2236905 w 11269336"/>
              <a:gd name="connsiteY219" fmla="*/ 2062882 h 2323145"/>
              <a:gd name="connsiteX220" fmla="*/ 2225830 w 11269336"/>
              <a:gd name="connsiteY220" fmla="*/ 2074027 h 2323145"/>
              <a:gd name="connsiteX221" fmla="*/ 2073776 w 11269336"/>
              <a:gd name="connsiteY221" fmla="*/ 2089244 h 2323145"/>
              <a:gd name="connsiteX222" fmla="*/ 1948256 w 11269336"/>
              <a:gd name="connsiteY222" fmla="*/ 2146616 h 2323145"/>
              <a:gd name="connsiteX223" fmla="*/ 1865582 w 11269336"/>
              <a:gd name="connsiteY223" fmla="*/ 2153738 h 2323145"/>
              <a:gd name="connsiteX224" fmla="*/ 1835210 w 11269336"/>
              <a:gd name="connsiteY224" fmla="*/ 2134244 h 2323145"/>
              <a:gd name="connsiteX225" fmla="*/ 1632661 w 11269336"/>
              <a:gd name="connsiteY225" fmla="*/ 2173882 h 2323145"/>
              <a:gd name="connsiteX226" fmla="*/ 1579590 w 11269336"/>
              <a:gd name="connsiteY226" fmla="*/ 2173680 h 2323145"/>
              <a:gd name="connsiteX227" fmla="*/ 1535601 w 11269336"/>
              <a:gd name="connsiteY227" fmla="*/ 2194590 h 2323145"/>
              <a:gd name="connsiteX228" fmla="*/ 1515594 w 11269336"/>
              <a:gd name="connsiteY228" fmla="*/ 2189622 h 2323145"/>
              <a:gd name="connsiteX229" fmla="*/ 1512113 w 11269336"/>
              <a:gd name="connsiteY229" fmla="*/ 2188534 h 2323145"/>
              <a:gd name="connsiteX230" fmla="*/ 1498838 w 11269336"/>
              <a:gd name="connsiteY230" fmla="*/ 2189213 h 2323145"/>
              <a:gd name="connsiteX231" fmla="*/ 1494279 w 11269336"/>
              <a:gd name="connsiteY231" fmla="*/ 2183112 h 2323145"/>
              <a:gd name="connsiteX232" fmla="*/ 1473714 w 11269336"/>
              <a:gd name="connsiteY232" fmla="*/ 2179625 h 2323145"/>
              <a:gd name="connsiteX233" fmla="*/ 1449503 w 11269336"/>
              <a:gd name="connsiteY233" fmla="*/ 2182633 h 2323145"/>
              <a:gd name="connsiteX234" fmla="*/ 1266687 w 11269336"/>
              <a:gd name="connsiteY234" fmla="*/ 2212688 h 2323145"/>
              <a:gd name="connsiteX235" fmla="*/ 1239614 w 11269336"/>
              <a:gd name="connsiteY235" fmla="*/ 2209727 h 2323145"/>
              <a:gd name="connsiteX236" fmla="*/ 1202436 w 11269336"/>
              <a:gd name="connsiteY236" fmla="*/ 2209817 h 2323145"/>
              <a:gd name="connsiteX237" fmla="*/ 1136097 w 11269336"/>
              <a:gd name="connsiteY237" fmla="*/ 2205112 h 2323145"/>
              <a:gd name="connsiteX238" fmla="*/ 988232 w 11269336"/>
              <a:gd name="connsiteY238" fmla="*/ 2235635 h 2323145"/>
              <a:gd name="connsiteX239" fmla="*/ 981959 w 11269336"/>
              <a:gd name="connsiteY239" fmla="*/ 2231607 h 2323145"/>
              <a:gd name="connsiteX240" fmla="*/ 938600 w 11269336"/>
              <a:gd name="connsiteY240" fmla="*/ 2238113 h 2323145"/>
              <a:gd name="connsiteX241" fmla="*/ 791788 w 11269336"/>
              <a:gd name="connsiteY241" fmla="*/ 2293224 h 2323145"/>
              <a:gd name="connsiteX242" fmla="*/ 706914 w 11269336"/>
              <a:gd name="connsiteY242" fmla="*/ 2305046 h 2323145"/>
              <a:gd name="connsiteX243" fmla="*/ 675971 w 11269336"/>
              <a:gd name="connsiteY243" fmla="*/ 2304030 h 2323145"/>
              <a:gd name="connsiteX244" fmla="*/ 624180 w 11269336"/>
              <a:gd name="connsiteY244" fmla="*/ 2302650 h 2323145"/>
              <a:gd name="connsiteX245" fmla="*/ 583453 w 11269336"/>
              <a:gd name="connsiteY245" fmla="*/ 2288788 h 2323145"/>
              <a:gd name="connsiteX246" fmla="*/ 540946 w 11269336"/>
              <a:gd name="connsiteY246" fmla="*/ 2292721 h 2323145"/>
              <a:gd name="connsiteX247" fmla="*/ 533680 w 11269336"/>
              <a:gd name="connsiteY247" fmla="*/ 2310233 h 2323145"/>
              <a:gd name="connsiteX248" fmla="*/ 487366 w 11269336"/>
              <a:gd name="connsiteY248" fmla="*/ 2309053 h 2323145"/>
              <a:gd name="connsiteX249" fmla="*/ 416820 w 11269336"/>
              <a:gd name="connsiteY249" fmla="*/ 2305443 h 2323145"/>
              <a:gd name="connsiteX250" fmla="*/ 376805 w 11269336"/>
              <a:gd name="connsiteY250" fmla="*/ 2307647 h 2323145"/>
              <a:gd name="connsiteX251" fmla="*/ 266777 w 11269336"/>
              <a:gd name="connsiteY251" fmla="*/ 2309012 h 2323145"/>
              <a:gd name="connsiteX252" fmla="*/ 156013 w 11269336"/>
              <a:gd name="connsiteY252" fmla="*/ 2306832 h 2323145"/>
              <a:gd name="connsiteX253" fmla="*/ 87258 w 11269336"/>
              <a:gd name="connsiteY253" fmla="*/ 2285511 h 2323145"/>
              <a:gd name="connsiteX254" fmla="*/ 23798 w 11269336"/>
              <a:gd name="connsiteY254" fmla="*/ 2281822 h 2323145"/>
              <a:gd name="connsiteX255" fmla="*/ 0 w 11269336"/>
              <a:gd name="connsiteY255" fmla="*/ 2285369 h 2323145"/>
              <a:gd name="connsiteX256" fmla="*/ 0 w 11269336"/>
              <a:gd name="connsiteY25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05765 w 11269336"/>
              <a:gd name="connsiteY145" fmla="*/ 2199902 h 2323145"/>
              <a:gd name="connsiteX146" fmla="*/ 4401354 w 11269336"/>
              <a:gd name="connsiteY146" fmla="*/ 2194745 h 2323145"/>
              <a:gd name="connsiteX147" fmla="*/ 4366646 w 11269336"/>
              <a:gd name="connsiteY147" fmla="*/ 2198564 h 2323145"/>
              <a:gd name="connsiteX148" fmla="*/ 4354009 w 11269336"/>
              <a:gd name="connsiteY148" fmla="*/ 2204984 h 2323145"/>
              <a:gd name="connsiteX149" fmla="*/ 4348284 w 11269336"/>
              <a:gd name="connsiteY149" fmla="*/ 2205270 h 2323145"/>
              <a:gd name="connsiteX150" fmla="*/ 4333906 w 11269336"/>
              <a:gd name="connsiteY150" fmla="*/ 2205251 h 2323145"/>
              <a:gd name="connsiteX151" fmla="*/ 4308819 w 11269336"/>
              <a:gd name="connsiteY151" fmla="*/ 2203822 h 2323145"/>
              <a:gd name="connsiteX152" fmla="*/ 4301210 w 11269336"/>
              <a:gd name="connsiteY152" fmla="*/ 2204456 h 2323145"/>
              <a:gd name="connsiteX153" fmla="*/ 4283095 w 11269336"/>
              <a:gd name="connsiteY153" fmla="*/ 2198177 h 2323145"/>
              <a:gd name="connsiteX154" fmla="*/ 4250119 w 11269336"/>
              <a:gd name="connsiteY154" fmla="*/ 2196342 h 2323145"/>
              <a:gd name="connsiteX155" fmla="*/ 4189203 w 11269336"/>
              <a:gd name="connsiteY155" fmla="*/ 2178994 h 2323145"/>
              <a:gd name="connsiteX156" fmla="*/ 4154035 w 11269336"/>
              <a:gd name="connsiteY156" fmla="*/ 2171950 h 2323145"/>
              <a:gd name="connsiteX157" fmla="*/ 4129569 w 11269336"/>
              <a:gd name="connsiteY157" fmla="*/ 2163850 h 2323145"/>
              <a:gd name="connsiteX158" fmla="*/ 4061250 w 11269336"/>
              <a:gd name="connsiteY158" fmla="*/ 2159236 h 2323145"/>
              <a:gd name="connsiteX159" fmla="*/ 3945480 w 11269336"/>
              <a:gd name="connsiteY159" fmla="*/ 2158279 h 2323145"/>
              <a:gd name="connsiteX160" fmla="*/ 3921468 w 11269336"/>
              <a:gd name="connsiteY160" fmla="*/ 2156588 h 2323145"/>
              <a:gd name="connsiteX161" fmla="*/ 3903348 w 11269336"/>
              <a:gd name="connsiteY161" fmla="*/ 2149220 h 2323145"/>
              <a:gd name="connsiteX162" fmla="*/ 3901342 w 11269336"/>
              <a:gd name="connsiteY162" fmla="*/ 2142355 h 2323145"/>
              <a:gd name="connsiteX163" fmla="*/ 3888539 w 11269336"/>
              <a:gd name="connsiteY163" fmla="*/ 2140476 h 2323145"/>
              <a:gd name="connsiteX164" fmla="*/ 3885662 w 11269336"/>
              <a:gd name="connsiteY164" fmla="*/ 2138740 h 2323145"/>
              <a:gd name="connsiteX165" fmla="*/ 3868627 w 11269336"/>
              <a:gd name="connsiteY165" fmla="*/ 2130023 h 2323145"/>
              <a:gd name="connsiteX166" fmla="*/ 3819177 w 11269336"/>
              <a:gd name="connsiteY166" fmla="*/ 2142111 h 2323145"/>
              <a:gd name="connsiteX167" fmla="*/ 3769100 w 11269336"/>
              <a:gd name="connsiteY167" fmla="*/ 2131731 h 2323145"/>
              <a:gd name="connsiteX168" fmla="*/ 3562752 w 11269336"/>
              <a:gd name="connsiteY168" fmla="*/ 2131785 h 2323145"/>
              <a:gd name="connsiteX169" fmla="*/ 3541402 w 11269336"/>
              <a:gd name="connsiteY169" fmla="*/ 2106821 h 2323145"/>
              <a:gd name="connsiteX170" fmla="*/ 3365341 w 11269336"/>
              <a:gd name="connsiteY170" fmla="*/ 2077638 h 2323145"/>
              <a:gd name="connsiteX171" fmla="*/ 3170922 w 11269336"/>
              <a:gd name="connsiteY171" fmla="*/ 2115957 h 2323145"/>
              <a:gd name="connsiteX172" fmla="*/ 3156256 w 11269336"/>
              <a:gd name="connsiteY172" fmla="*/ 2124773 h 2323145"/>
              <a:gd name="connsiteX173" fmla="*/ 3140298 w 11269336"/>
              <a:gd name="connsiteY173" fmla="*/ 2129182 h 2323145"/>
              <a:gd name="connsiteX174" fmla="*/ 3138514 w 11269336"/>
              <a:gd name="connsiteY174" fmla="*/ 2128069 h 2323145"/>
              <a:gd name="connsiteX175" fmla="*/ 3120467 w 11269336"/>
              <a:gd name="connsiteY175" fmla="*/ 2128281 h 2323145"/>
              <a:gd name="connsiteX176" fmla="*/ 3116175 w 11269336"/>
              <a:gd name="connsiteY176" fmla="*/ 2131633 h 2323145"/>
              <a:gd name="connsiteX177" fmla="*/ 3103685 w 11269336"/>
              <a:gd name="connsiteY177" fmla="*/ 2132814 h 2323145"/>
              <a:gd name="connsiteX178" fmla="*/ 3078794 w 11269336"/>
              <a:gd name="connsiteY178" fmla="*/ 2137935 h 2323145"/>
              <a:gd name="connsiteX179" fmla="*/ 3074407 w 11269336"/>
              <a:gd name="connsiteY179" fmla="*/ 2136274 h 2323145"/>
              <a:gd name="connsiteX180" fmla="*/ 3037285 w 11269336"/>
              <a:gd name="connsiteY180" fmla="*/ 2139919 h 2323145"/>
              <a:gd name="connsiteX181" fmla="*/ 3036901 w 11269336"/>
              <a:gd name="connsiteY181" fmla="*/ 2138726 h 2323145"/>
              <a:gd name="connsiteX182" fmla="*/ 3026996 w 11269336"/>
              <a:gd name="connsiteY182" fmla="*/ 2134322 h 2323145"/>
              <a:gd name="connsiteX183" fmla="*/ 3007772 w 11269336"/>
              <a:gd name="connsiteY183" fmla="*/ 2128742 h 2323145"/>
              <a:gd name="connsiteX184" fmla="*/ 2965030 w 11269336"/>
              <a:gd name="connsiteY184" fmla="*/ 2100494 h 2323145"/>
              <a:gd name="connsiteX185" fmla="*/ 2926342 w 11269336"/>
              <a:gd name="connsiteY185" fmla="*/ 2104155 h 2323145"/>
              <a:gd name="connsiteX186" fmla="*/ 2918608 w 11269336"/>
              <a:gd name="connsiteY186" fmla="*/ 2104215 h 2323145"/>
              <a:gd name="connsiteX187" fmla="*/ 2918475 w 11269336"/>
              <a:gd name="connsiteY187" fmla="*/ 2103937 h 2323145"/>
              <a:gd name="connsiteX188" fmla="*/ 2910360 w 11269336"/>
              <a:gd name="connsiteY188" fmla="*/ 2103444 h 2323145"/>
              <a:gd name="connsiteX189" fmla="*/ 2904507 w 11269336"/>
              <a:gd name="connsiteY189" fmla="*/ 2104326 h 2323145"/>
              <a:gd name="connsiteX190" fmla="*/ 2889503 w 11269336"/>
              <a:gd name="connsiteY190" fmla="*/ 2104443 h 2323145"/>
              <a:gd name="connsiteX191" fmla="*/ 2884480 w 11269336"/>
              <a:gd name="connsiteY191" fmla="*/ 2102626 h 2323145"/>
              <a:gd name="connsiteX192" fmla="*/ 2882689 w 11269336"/>
              <a:gd name="connsiteY192" fmla="*/ 2099228 h 2323145"/>
              <a:gd name="connsiteX193" fmla="*/ 2881291 w 11269336"/>
              <a:gd name="connsiteY193" fmla="*/ 2099618 h 2323145"/>
              <a:gd name="connsiteX194" fmla="*/ 2853979 w 11269336"/>
              <a:gd name="connsiteY194" fmla="*/ 2090388 h 2323145"/>
              <a:gd name="connsiteX195" fmla="*/ 2791790 w 11269336"/>
              <a:gd name="connsiteY195" fmla="*/ 2080332 h 2323145"/>
              <a:gd name="connsiteX196" fmla="*/ 2755844 w 11269336"/>
              <a:gd name="connsiteY196" fmla="*/ 2078874 h 2323145"/>
              <a:gd name="connsiteX197" fmla="*/ 2657742 w 11269336"/>
              <a:gd name="connsiteY197" fmla="*/ 2070179 h 2323145"/>
              <a:gd name="connsiteX198" fmla="*/ 2559549 w 11269336"/>
              <a:gd name="connsiteY198" fmla="*/ 2057873 h 2323145"/>
              <a:gd name="connsiteX199" fmla="*/ 2512054 w 11269336"/>
              <a:gd name="connsiteY199" fmla="*/ 2031671 h 2323145"/>
              <a:gd name="connsiteX200" fmla="*/ 2506437 w 11269336"/>
              <a:gd name="connsiteY200" fmla="*/ 2030918 h 2323145"/>
              <a:gd name="connsiteX201" fmla="*/ 2491752 w 11269336"/>
              <a:gd name="connsiteY201" fmla="*/ 2033906 h 2323145"/>
              <a:gd name="connsiteX202" fmla="*/ 2486338 w 11269336"/>
              <a:gd name="connsiteY202" fmla="*/ 2035862 h 2323145"/>
              <a:gd name="connsiteX203" fmla="*/ 2478186 w 11269336"/>
              <a:gd name="connsiteY203" fmla="*/ 2036953 h 2323145"/>
              <a:gd name="connsiteX204" fmla="*/ 2477950 w 11269336"/>
              <a:gd name="connsiteY204" fmla="*/ 2036715 h 2323145"/>
              <a:gd name="connsiteX205" fmla="*/ 2470381 w 11269336"/>
              <a:gd name="connsiteY205" fmla="*/ 2038256 h 2323145"/>
              <a:gd name="connsiteX206" fmla="*/ 2433781 w 11269336"/>
              <a:gd name="connsiteY206" fmla="*/ 2049140 h 2323145"/>
              <a:gd name="connsiteX207" fmla="*/ 2381172 w 11269336"/>
              <a:gd name="connsiteY207" fmla="*/ 2030645 h 2323145"/>
              <a:gd name="connsiteX208" fmla="*/ 2360198 w 11269336"/>
              <a:gd name="connsiteY208" fmla="*/ 2029059 h 2323145"/>
              <a:gd name="connsiteX209" fmla="*/ 2348815 w 11269336"/>
              <a:gd name="connsiteY209" fmla="*/ 2026798 h 2323145"/>
              <a:gd name="connsiteX210" fmla="*/ 2347988 w 11269336"/>
              <a:gd name="connsiteY210" fmla="*/ 2025745 h 2323145"/>
              <a:gd name="connsiteX211" fmla="*/ 2312920 w 11269336"/>
              <a:gd name="connsiteY211" fmla="*/ 2036311 h 2323145"/>
              <a:gd name="connsiteX212" fmla="*/ 2307986 w 11269336"/>
              <a:gd name="connsiteY212" fmla="*/ 2035583 h 2323145"/>
              <a:gd name="connsiteX213" fmla="*/ 2285481 w 11269336"/>
              <a:gd name="connsiteY213" fmla="*/ 2045197 h 2323145"/>
              <a:gd name="connsiteX214" fmla="*/ 2273666 w 11269336"/>
              <a:gd name="connsiteY214" fmla="*/ 2048710 h 2323145"/>
              <a:gd name="connsiteX215" fmla="*/ 2270719 w 11269336"/>
              <a:gd name="connsiteY215" fmla="*/ 2052702 h 2323145"/>
              <a:gd name="connsiteX216" fmla="*/ 2253080 w 11269336"/>
              <a:gd name="connsiteY216" fmla="*/ 2056363 h 2323145"/>
              <a:gd name="connsiteX217" fmla="*/ 2250906 w 11269336"/>
              <a:gd name="connsiteY217" fmla="*/ 2055654 h 2323145"/>
              <a:gd name="connsiteX218" fmla="*/ 2236905 w 11269336"/>
              <a:gd name="connsiteY218" fmla="*/ 2062882 h 2323145"/>
              <a:gd name="connsiteX219" fmla="*/ 2225830 w 11269336"/>
              <a:gd name="connsiteY219" fmla="*/ 2074027 h 2323145"/>
              <a:gd name="connsiteX220" fmla="*/ 2073776 w 11269336"/>
              <a:gd name="connsiteY220" fmla="*/ 2089244 h 2323145"/>
              <a:gd name="connsiteX221" fmla="*/ 1948256 w 11269336"/>
              <a:gd name="connsiteY221" fmla="*/ 2146616 h 2323145"/>
              <a:gd name="connsiteX222" fmla="*/ 1865582 w 11269336"/>
              <a:gd name="connsiteY222" fmla="*/ 2153738 h 2323145"/>
              <a:gd name="connsiteX223" fmla="*/ 1835210 w 11269336"/>
              <a:gd name="connsiteY223" fmla="*/ 2134244 h 2323145"/>
              <a:gd name="connsiteX224" fmla="*/ 1632661 w 11269336"/>
              <a:gd name="connsiteY224" fmla="*/ 2173882 h 2323145"/>
              <a:gd name="connsiteX225" fmla="*/ 1579590 w 11269336"/>
              <a:gd name="connsiteY225" fmla="*/ 2173680 h 2323145"/>
              <a:gd name="connsiteX226" fmla="*/ 1535601 w 11269336"/>
              <a:gd name="connsiteY226" fmla="*/ 2194590 h 2323145"/>
              <a:gd name="connsiteX227" fmla="*/ 1515594 w 11269336"/>
              <a:gd name="connsiteY227" fmla="*/ 2189622 h 2323145"/>
              <a:gd name="connsiteX228" fmla="*/ 1512113 w 11269336"/>
              <a:gd name="connsiteY228" fmla="*/ 2188534 h 2323145"/>
              <a:gd name="connsiteX229" fmla="*/ 1498838 w 11269336"/>
              <a:gd name="connsiteY229" fmla="*/ 2189213 h 2323145"/>
              <a:gd name="connsiteX230" fmla="*/ 1494279 w 11269336"/>
              <a:gd name="connsiteY230" fmla="*/ 2183112 h 2323145"/>
              <a:gd name="connsiteX231" fmla="*/ 1473714 w 11269336"/>
              <a:gd name="connsiteY231" fmla="*/ 2179625 h 2323145"/>
              <a:gd name="connsiteX232" fmla="*/ 1449503 w 11269336"/>
              <a:gd name="connsiteY232" fmla="*/ 2182633 h 2323145"/>
              <a:gd name="connsiteX233" fmla="*/ 1266687 w 11269336"/>
              <a:gd name="connsiteY233" fmla="*/ 2212688 h 2323145"/>
              <a:gd name="connsiteX234" fmla="*/ 1239614 w 11269336"/>
              <a:gd name="connsiteY234" fmla="*/ 2209727 h 2323145"/>
              <a:gd name="connsiteX235" fmla="*/ 1202436 w 11269336"/>
              <a:gd name="connsiteY235" fmla="*/ 2209817 h 2323145"/>
              <a:gd name="connsiteX236" fmla="*/ 1136097 w 11269336"/>
              <a:gd name="connsiteY236" fmla="*/ 2205112 h 2323145"/>
              <a:gd name="connsiteX237" fmla="*/ 988232 w 11269336"/>
              <a:gd name="connsiteY237" fmla="*/ 2235635 h 2323145"/>
              <a:gd name="connsiteX238" fmla="*/ 981959 w 11269336"/>
              <a:gd name="connsiteY238" fmla="*/ 2231607 h 2323145"/>
              <a:gd name="connsiteX239" fmla="*/ 938600 w 11269336"/>
              <a:gd name="connsiteY239" fmla="*/ 2238113 h 2323145"/>
              <a:gd name="connsiteX240" fmla="*/ 791788 w 11269336"/>
              <a:gd name="connsiteY240" fmla="*/ 2293224 h 2323145"/>
              <a:gd name="connsiteX241" fmla="*/ 706914 w 11269336"/>
              <a:gd name="connsiteY241" fmla="*/ 2305046 h 2323145"/>
              <a:gd name="connsiteX242" fmla="*/ 675971 w 11269336"/>
              <a:gd name="connsiteY242" fmla="*/ 2304030 h 2323145"/>
              <a:gd name="connsiteX243" fmla="*/ 624180 w 11269336"/>
              <a:gd name="connsiteY243" fmla="*/ 2302650 h 2323145"/>
              <a:gd name="connsiteX244" fmla="*/ 583453 w 11269336"/>
              <a:gd name="connsiteY244" fmla="*/ 2288788 h 2323145"/>
              <a:gd name="connsiteX245" fmla="*/ 540946 w 11269336"/>
              <a:gd name="connsiteY245" fmla="*/ 2292721 h 2323145"/>
              <a:gd name="connsiteX246" fmla="*/ 533680 w 11269336"/>
              <a:gd name="connsiteY246" fmla="*/ 2310233 h 2323145"/>
              <a:gd name="connsiteX247" fmla="*/ 487366 w 11269336"/>
              <a:gd name="connsiteY247" fmla="*/ 2309053 h 2323145"/>
              <a:gd name="connsiteX248" fmla="*/ 416820 w 11269336"/>
              <a:gd name="connsiteY248" fmla="*/ 2305443 h 2323145"/>
              <a:gd name="connsiteX249" fmla="*/ 376805 w 11269336"/>
              <a:gd name="connsiteY249" fmla="*/ 2307647 h 2323145"/>
              <a:gd name="connsiteX250" fmla="*/ 266777 w 11269336"/>
              <a:gd name="connsiteY250" fmla="*/ 2309012 h 2323145"/>
              <a:gd name="connsiteX251" fmla="*/ 156013 w 11269336"/>
              <a:gd name="connsiteY251" fmla="*/ 2306832 h 2323145"/>
              <a:gd name="connsiteX252" fmla="*/ 87258 w 11269336"/>
              <a:gd name="connsiteY252" fmla="*/ 2285511 h 2323145"/>
              <a:gd name="connsiteX253" fmla="*/ 23798 w 11269336"/>
              <a:gd name="connsiteY253" fmla="*/ 2281822 h 2323145"/>
              <a:gd name="connsiteX254" fmla="*/ 0 w 11269336"/>
              <a:gd name="connsiteY254" fmla="*/ 2285369 h 2323145"/>
              <a:gd name="connsiteX255" fmla="*/ 0 w 11269336"/>
              <a:gd name="connsiteY25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05765 w 11269336"/>
              <a:gd name="connsiteY144" fmla="*/ 2199902 h 2323145"/>
              <a:gd name="connsiteX145" fmla="*/ 4401354 w 11269336"/>
              <a:gd name="connsiteY145" fmla="*/ 2194745 h 2323145"/>
              <a:gd name="connsiteX146" fmla="*/ 4366646 w 11269336"/>
              <a:gd name="connsiteY146" fmla="*/ 2198564 h 2323145"/>
              <a:gd name="connsiteX147" fmla="*/ 4354009 w 11269336"/>
              <a:gd name="connsiteY147" fmla="*/ 2204984 h 2323145"/>
              <a:gd name="connsiteX148" fmla="*/ 4348284 w 11269336"/>
              <a:gd name="connsiteY148" fmla="*/ 2205270 h 2323145"/>
              <a:gd name="connsiteX149" fmla="*/ 4333906 w 11269336"/>
              <a:gd name="connsiteY149" fmla="*/ 2205251 h 2323145"/>
              <a:gd name="connsiteX150" fmla="*/ 4308819 w 11269336"/>
              <a:gd name="connsiteY150" fmla="*/ 2203822 h 2323145"/>
              <a:gd name="connsiteX151" fmla="*/ 4301210 w 11269336"/>
              <a:gd name="connsiteY151" fmla="*/ 2204456 h 2323145"/>
              <a:gd name="connsiteX152" fmla="*/ 4283095 w 11269336"/>
              <a:gd name="connsiteY152" fmla="*/ 2198177 h 2323145"/>
              <a:gd name="connsiteX153" fmla="*/ 4250119 w 11269336"/>
              <a:gd name="connsiteY153" fmla="*/ 2196342 h 2323145"/>
              <a:gd name="connsiteX154" fmla="*/ 4189203 w 11269336"/>
              <a:gd name="connsiteY154" fmla="*/ 2178994 h 2323145"/>
              <a:gd name="connsiteX155" fmla="*/ 4154035 w 11269336"/>
              <a:gd name="connsiteY155" fmla="*/ 2171950 h 2323145"/>
              <a:gd name="connsiteX156" fmla="*/ 4129569 w 11269336"/>
              <a:gd name="connsiteY156" fmla="*/ 2163850 h 2323145"/>
              <a:gd name="connsiteX157" fmla="*/ 4061250 w 11269336"/>
              <a:gd name="connsiteY157" fmla="*/ 2159236 h 2323145"/>
              <a:gd name="connsiteX158" fmla="*/ 3945480 w 11269336"/>
              <a:gd name="connsiteY158" fmla="*/ 2158279 h 2323145"/>
              <a:gd name="connsiteX159" fmla="*/ 3921468 w 11269336"/>
              <a:gd name="connsiteY159" fmla="*/ 2156588 h 2323145"/>
              <a:gd name="connsiteX160" fmla="*/ 3903348 w 11269336"/>
              <a:gd name="connsiteY160" fmla="*/ 2149220 h 2323145"/>
              <a:gd name="connsiteX161" fmla="*/ 3901342 w 11269336"/>
              <a:gd name="connsiteY161" fmla="*/ 2142355 h 2323145"/>
              <a:gd name="connsiteX162" fmla="*/ 3888539 w 11269336"/>
              <a:gd name="connsiteY162" fmla="*/ 2140476 h 2323145"/>
              <a:gd name="connsiteX163" fmla="*/ 3885662 w 11269336"/>
              <a:gd name="connsiteY163" fmla="*/ 2138740 h 2323145"/>
              <a:gd name="connsiteX164" fmla="*/ 3868627 w 11269336"/>
              <a:gd name="connsiteY164" fmla="*/ 2130023 h 2323145"/>
              <a:gd name="connsiteX165" fmla="*/ 3819177 w 11269336"/>
              <a:gd name="connsiteY165" fmla="*/ 2142111 h 2323145"/>
              <a:gd name="connsiteX166" fmla="*/ 3769100 w 11269336"/>
              <a:gd name="connsiteY166" fmla="*/ 2131731 h 2323145"/>
              <a:gd name="connsiteX167" fmla="*/ 3562752 w 11269336"/>
              <a:gd name="connsiteY167" fmla="*/ 2131785 h 2323145"/>
              <a:gd name="connsiteX168" fmla="*/ 3541402 w 11269336"/>
              <a:gd name="connsiteY168" fmla="*/ 2106821 h 2323145"/>
              <a:gd name="connsiteX169" fmla="*/ 3365341 w 11269336"/>
              <a:gd name="connsiteY169" fmla="*/ 2077638 h 2323145"/>
              <a:gd name="connsiteX170" fmla="*/ 3170922 w 11269336"/>
              <a:gd name="connsiteY170" fmla="*/ 2115957 h 2323145"/>
              <a:gd name="connsiteX171" fmla="*/ 3156256 w 11269336"/>
              <a:gd name="connsiteY171" fmla="*/ 2124773 h 2323145"/>
              <a:gd name="connsiteX172" fmla="*/ 3140298 w 11269336"/>
              <a:gd name="connsiteY172" fmla="*/ 2129182 h 2323145"/>
              <a:gd name="connsiteX173" fmla="*/ 3138514 w 11269336"/>
              <a:gd name="connsiteY173" fmla="*/ 2128069 h 2323145"/>
              <a:gd name="connsiteX174" fmla="*/ 3120467 w 11269336"/>
              <a:gd name="connsiteY174" fmla="*/ 2128281 h 2323145"/>
              <a:gd name="connsiteX175" fmla="*/ 3116175 w 11269336"/>
              <a:gd name="connsiteY175" fmla="*/ 2131633 h 2323145"/>
              <a:gd name="connsiteX176" fmla="*/ 3103685 w 11269336"/>
              <a:gd name="connsiteY176" fmla="*/ 2132814 h 2323145"/>
              <a:gd name="connsiteX177" fmla="*/ 3078794 w 11269336"/>
              <a:gd name="connsiteY177" fmla="*/ 2137935 h 2323145"/>
              <a:gd name="connsiteX178" fmla="*/ 3074407 w 11269336"/>
              <a:gd name="connsiteY178" fmla="*/ 2136274 h 2323145"/>
              <a:gd name="connsiteX179" fmla="*/ 3037285 w 11269336"/>
              <a:gd name="connsiteY179" fmla="*/ 2139919 h 2323145"/>
              <a:gd name="connsiteX180" fmla="*/ 3036901 w 11269336"/>
              <a:gd name="connsiteY180" fmla="*/ 2138726 h 2323145"/>
              <a:gd name="connsiteX181" fmla="*/ 3026996 w 11269336"/>
              <a:gd name="connsiteY181" fmla="*/ 2134322 h 2323145"/>
              <a:gd name="connsiteX182" fmla="*/ 3007772 w 11269336"/>
              <a:gd name="connsiteY182" fmla="*/ 2128742 h 2323145"/>
              <a:gd name="connsiteX183" fmla="*/ 2965030 w 11269336"/>
              <a:gd name="connsiteY183" fmla="*/ 2100494 h 2323145"/>
              <a:gd name="connsiteX184" fmla="*/ 2926342 w 11269336"/>
              <a:gd name="connsiteY184" fmla="*/ 2104155 h 2323145"/>
              <a:gd name="connsiteX185" fmla="*/ 2918608 w 11269336"/>
              <a:gd name="connsiteY185" fmla="*/ 2104215 h 2323145"/>
              <a:gd name="connsiteX186" fmla="*/ 2918475 w 11269336"/>
              <a:gd name="connsiteY186" fmla="*/ 2103937 h 2323145"/>
              <a:gd name="connsiteX187" fmla="*/ 2910360 w 11269336"/>
              <a:gd name="connsiteY187" fmla="*/ 2103444 h 2323145"/>
              <a:gd name="connsiteX188" fmla="*/ 2904507 w 11269336"/>
              <a:gd name="connsiteY188" fmla="*/ 2104326 h 2323145"/>
              <a:gd name="connsiteX189" fmla="*/ 2889503 w 11269336"/>
              <a:gd name="connsiteY189" fmla="*/ 2104443 h 2323145"/>
              <a:gd name="connsiteX190" fmla="*/ 2884480 w 11269336"/>
              <a:gd name="connsiteY190" fmla="*/ 2102626 h 2323145"/>
              <a:gd name="connsiteX191" fmla="*/ 2882689 w 11269336"/>
              <a:gd name="connsiteY191" fmla="*/ 2099228 h 2323145"/>
              <a:gd name="connsiteX192" fmla="*/ 2881291 w 11269336"/>
              <a:gd name="connsiteY192" fmla="*/ 2099618 h 2323145"/>
              <a:gd name="connsiteX193" fmla="*/ 2853979 w 11269336"/>
              <a:gd name="connsiteY193" fmla="*/ 2090388 h 2323145"/>
              <a:gd name="connsiteX194" fmla="*/ 2791790 w 11269336"/>
              <a:gd name="connsiteY194" fmla="*/ 2080332 h 2323145"/>
              <a:gd name="connsiteX195" fmla="*/ 2755844 w 11269336"/>
              <a:gd name="connsiteY195" fmla="*/ 2078874 h 2323145"/>
              <a:gd name="connsiteX196" fmla="*/ 2657742 w 11269336"/>
              <a:gd name="connsiteY196" fmla="*/ 2070179 h 2323145"/>
              <a:gd name="connsiteX197" fmla="*/ 2559549 w 11269336"/>
              <a:gd name="connsiteY197" fmla="*/ 2057873 h 2323145"/>
              <a:gd name="connsiteX198" fmla="*/ 2512054 w 11269336"/>
              <a:gd name="connsiteY198" fmla="*/ 2031671 h 2323145"/>
              <a:gd name="connsiteX199" fmla="*/ 2506437 w 11269336"/>
              <a:gd name="connsiteY199" fmla="*/ 2030918 h 2323145"/>
              <a:gd name="connsiteX200" fmla="*/ 2491752 w 11269336"/>
              <a:gd name="connsiteY200" fmla="*/ 2033906 h 2323145"/>
              <a:gd name="connsiteX201" fmla="*/ 2486338 w 11269336"/>
              <a:gd name="connsiteY201" fmla="*/ 2035862 h 2323145"/>
              <a:gd name="connsiteX202" fmla="*/ 2478186 w 11269336"/>
              <a:gd name="connsiteY202" fmla="*/ 2036953 h 2323145"/>
              <a:gd name="connsiteX203" fmla="*/ 2477950 w 11269336"/>
              <a:gd name="connsiteY203" fmla="*/ 2036715 h 2323145"/>
              <a:gd name="connsiteX204" fmla="*/ 2470381 w 11269336"/>
              <a:gd name="connsiteY204" fmla="*/ 2038256 h 2323145"/>
              <a:gd name="connsiteX205" fmla="*/ 2433781 w 11269336"/>
              <a:gd name="connsiteY205" fmla="*/ 2049140 h 2323145"/>
              <a:gd name="connsiteX206" fmla="*/ 2381172 w 11269336"/>
              <a:gd name="connsiteY206" fmla="*/ 2030645 h 2323145"/>
              <a:gd name="connsiteX207" fmla="*/ 2360198 w 11269336"/>
              <a:gd name="connsiteY207" fmla="*/ 2029059 h 2323145"/>
              <a:gd name="connsiteX208" fmla="*/ 2348815 w 11269336"/>
              <a:gd name="connsiteY208" fmla="*/ 2026798 h 2323145"/>
              <a:gd name="connsiteX209" fmla="*/ 2347988 w 11269336"/>
              <a:gd name="connsiteY209" fmla="*/ 2025745 h 2323145"/>
              <a:gd name="connsiteX210" fmla="*/ 2312920 w 11269336"/>
              <a:gd name="connsiteY210" fmla="*/ 2036311 h 2323145"/>
              <a:gd name="connsiteX211" fmla="*/ 2307986 w 11269336"/>
              <a:gd name="connsiteY211" fmla="*/ 2035583 h 2323145"/>
              <a:gd name="connsiteX212" fmla="*/ 2285481 w 11269336"/>
              <a:gd name="connsiteY212" fmla="*/ 2045197 h 2323145"/>
              <a:gd name="connsiteX213" fmla="*/ 2273666 w 11269336"/>
              <a:gd name="connsiteY213" fmla="*/ 2048710 h 2323145"/>
              <a:gd name="connsiteX214" fmla="*/ 2270719 w 11269336"/>
              <a:gd name="connsiteY214" fmla="*/ 2052702 h 2323145"/>
              <a:gd name="connsiteX215" fmla="*/ 2253080 w 11269336"/>
              <a:gd name="connsiteY215" fmla="*/ 2056363 h 2323145"/>
              <a:gd name="connsiteX216" fmla="*/ 2250906 w 11269336"/>
              <a:gd name="connsiteY216" fmla="*/ 2055654 h 2323145"/>
              <a:gd name="connsiteX217" fmla="*/ 2236905 w 11269336"/>
              <a:gd name="connsiteY217" fmla="*/ 2062882 h 2323145"/>
              <a:gd name="connsiteX218" fmla="*/ 2225830 w 11269336"/>
              <a:gd name="connsiteY218" fmla="*/ 2074027 h 2323145"/>
              <a:gd name="connsiteX219" fmla="*/ 2073776 w 11269336"/>
              <a:gd name="connsiteY219" fmla="*/ 2089244 h 2323145"/>
              <a:gd name="connsiteX220" fmla="*/ 1948256 w 11269336"/>
              <a:gd name="connsiteY220" fmla="*/ 2146616 h 2323145"/>
              <a:gd name="connsiteX221" fmla="*/ 1865582 w 11269336"/>
              <a:gd name="connsiteY221" fmla="*/ 2153738 h 2323145"/>
              <a:gd name="connsiteX222" fmla="*/ 1835210 w 11269336"/>
              <a:gd name="connsiteY222" fmla="*/ 2134244 h 2323145"/>
              <a:gd name="connsiteX223" fmla="*/ 1632661 w 11269336"/>
              <a:gd name="connsiteY223" fmla="*/ 2173882 h 2323145"/>
              <a:gd name="connsiteX224" fmla="*/ 1579590 w 11269336"/>
              <a:gd name="connsiteY224" fmla="*/ 2173680 h 2323145"/>
              <a:gd name="connsiteX225" fmla="*/ 1535601 w 11269336"/>
              <a:gd name="connsiteY225" fmla="*/ 2194590 h 2323145"/>
              <a:gd name="connsiteX226" fmla="*/ 1515594 w 11269336"/>
              <a:gd name="connsiteY226" fmla="*/ 2189622 h 2323145"/>
              <a:gd name="connsiteX227" fmla="*/ 1512113 w 11269336"/>
              <a:gd name="connsiteY227" fmla="*/ 2188534 h 2323145"/>
              <a:gd name="connsiteX228" fmla="*/ 1498838 w 11269336"/>
              <a:gd name="connsiteY228" fmla="*/ 2189213 h 2323145"/>
              <a:gd name="connsiteX229" fmla="*/ 1494279 w 11269336"/>
              <a:gd name="connsiteY229" fmla="*/ 2183112 h 2323145"/>
              <a:gd name="connsiteX230" fmla="*/ 1473714 w 11269336"/>
              <a:gd name="connsiteY230" fmla="*/ 2179625 h 2323145"/>
              <a:gd name="connsiteX231" fmla="*/ 1449503 w 11269336"/>
              <a:gd name="connsiteY231" fmla="*/ 2182633 h 2323145"/>
              <a:gd name="connsiteX232" fmla="*/ 1266687 w 11269336"/>
              <a:gd name="connsiteY232" fmla="*/ 2212688 h 2323145"/>
              <a:gd name="connsiteX233" fmla="*/ 1239614 w 11269336"/>
              <a:gd name="connsiteY233" fmla="*/ 2209727 h 2323145"/>
              <a:gd name="connsiteX234" fmla="*/ 1202436 w 11269336"/>
              <a:gd name="connsiteY234" fmla="*/ 2209817 h 2323145"/>
              <a:gd name="connsiteX235" fmla="*/ 1136097 w 11269336"/>
              <a:gd name="connsiteY235" fmla="*/ 2205112 h 2323145"/>
              <a:gd name="connsiteX236" fmla="*/ 988232 w 11269336"/>
              <a:gd name="connsiteY236" fmla="*/ 2235635 h 2323145"/>
              <a:gd name="connsiteX237" fmla="*/ 981959 w 11269336"/>
              <a:gd name="connsiteY237" fmla="*/ 2231607 h 2323145"/>
              <a:gd name="connsiteX238" fmla="*/ 938600 w 11269336"/>
              <a:gd name="connsiteY238" fmla="*/ 2238113 h 2323145"/>
              <a:gd name="connsiteX239" fmla="*/ 791788 w 11269336"/>
              <a:gd name="connsiteY239" fmla="*/ 2293224 h 2323145"/>
              <a:gd name="connsiteX240" fmla="*/ 706914 w 11269336"/>
              <a:gd name="connsiteY240" fmla="*/ 2305046 h 2323145"/>
              <a:gd name="connsiteX241" fmla="*/ 675971 w 11269336"/>
              <a:gd name="connsiteY241" fmla="*/ 2304030 h 2323145"/>
              <a:gd name="connsiteX242" fmla="*/ 624180 w 11269336"/>
              <a:gd name="connsiteY242" fmla="*/ 2302650 h 2323145"/>
              <a:gd name="connsiteX243" fmla="*/ 583453 w 11269336"/>
              <a:gd name="connsiteY243" fmla="*/ 2288788 h 2323145"/>
              <a:gd name="connsiteX244" fmla="*/ 540946 w 11269336"/>
              <a:gd name="connsiteY244" fmla="*/ 2292721 h 2323145"/>
              <a:gd name="connsiteX245" fmla="*/ 533680 w 11269336"/>
              <a:gd name="connsiteY245" fmla="*/ 2310233 h 2323145"/>
              <a:gd name="connsiteX246" fmla="*/ 487366 w 11269336"/>
              <a:gd name="connsiteY246" fmla="*/ 2309053 h 2323145"/>
              <a:gd name="connsiteX247" fmla="*/ 416820 w 11269336"/>
              <a:gd name="connsiteY247" fmla="*/ 2305443 h 2323145"/>
              <a:gd name="connsiteX248" fmla="*/ 376805 w 11269336"/>
              <a:gd name="connsiteY248" fmla="*/ 2307647 h 2323145"/>
              <a:gd name="connsiteX249" fmla="*/ 266777 w 11269336"/>
              <a:gd name="connsiteY249" fmla="*/ 2309012 h 2323145"/>
              <a:gd name="connsiteX250" fmla="*/ 156013 w 11269336"/>
              <a:gd name="connsiteY250" fmla="*/ 2306832 h 2323145"/>
              <a:gd name="connsiteX251" fmla="*/ 87258 w 11269336"/>
              <a:gd name="connsiteY251" fmla="*/ 2285511 h 2323145"/>
              <a:gd name="connsiteX252" fmla="*/ 23798 w 11269336"/>
              <a:gd name="connsiteY252" fmla="*/ 2281822 h 2323145"/>
              <a:gd name="connsiteX253" fmla="*/ 0 w 11269336"/>
              <a:gd name="connsiteY253" fmla="*/ 2285369 h 2323145"/>
              <a:gd name="connsiteX254" fmla="*/ 0 w 11269336"/>
              <a:gd name="connsiteY254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67257 w 11269336"/>
              <a:gd name="connsiteY142" fmla="*/ 2196121 h 2323145"/>
              <a:gd name="connsiteX143" fmla="*/ 4405765 w 11269336"/>
              <a:gd name="connsiteY143" fmla="*/ 2199902 h 2323145"/>
              <a:gd name="connsiteX144" fmla="*/ 4401354 w 11269336"/>
              <a:gd name="connsiteY144" fmla="*/ 2194745 h 2323145"/>
              <a:gd name="connsiteX145" fmla="*/ 4366646 w 11269336"/>
              <a:gd name="connsiteY145" fmla="*/ 2198564 h 2323145"/>
              <a:gd name="connsiteX146" fmla="*/ 4354009 w 11269336"/>
              <a:gd name="connsiteY146" fmla="*/ 2204984 h 2323145"/>
              <a:gd name="connsiteX147" fmla="*/ 4348284 w 11269336"/>
              <a:gd name="connsiteY147" fmla="*/ 2205270 h 2323145"/>
              <a:gd name="connsiteX148" fmla="*/ 4333906 w 11269336"/>
              <a:gd name="connsiteY148" fmla="*/ 2205251 h 2323145"/>
              <a:gd name="connsiteX149" fmla="*/ 4308819 w 11269336"/>
              <a:gd name="connsiteY149" fmla="*/ 2203822 h 2323145"/>
              <a:gd name="connsiteX150" fmla="*/ 4301210 w 11269336"/>
              <a:gd name="connsiteY150" fmla="*/ 2204456 h 2323145"/>
              <a:gd name="connsiteX151" fmla="*/ 4283095 w 11269336"/>
              <a:gd name="connsiteY151" fmla="*/ 2198177 h 2323145"/>
              <a:gd name="connsiteX152" fmla="*/ 4250119 w 11269336"/>
              <a:gd name="connsiteY152" fmla="*/ 2196342 h 2323145"/>
              <a:gd name="connsiteX153" fmla="*/ 4189203 w 11269336"/>
              <a:gd name="connsiteY153" fmla="*/ 2178994 h 2323145"/>
              <a:gd name="connsiteX154" fmla="*/ 4154035 w 11269336"/>
              <a:gd name="connsiteY154" fmla="*/ 2171950 h 2323145"/>
              <a:gd name="connsiteX155" fmla="*/ 4129569 w 11269336"/>
              <a:gd name="connsiteY155" fmla="*/ 2163850 h 2323145"/>
              <a:gd name="connsiteX156" fmla="*/ 4061250 w 11269336"/>
              <a:gd name="connsiteY156" fmla="*/ 2159236 h 2323145"/>
              <a:gd name="connsiteX157" fmla="*/ 3945480 w 11269336"/>
              <a:gd name="connsiteY157" fmla="*/ 2158279 h 2323145"/>
              <a:gd name="connsiteX158" fmla="*/ 3921468 w 11269336"/>
              <a:gd name="connsiteY158" fmla="*/ 2156588 h 2323145"/>
              <a:gd name="connsiteX159" fmla="*/ 3903348 w 11269336"/>
              <a:gd name="connsiteY159" fmla="*/ 2149220 h 2323145"/>
              <a:gd name="connsiteX160" fmla="*/ 3901342 w 11269336"/>
              <a:gd name="connsiteY160" fmla="*/ 2142355 h 2323145"/>
              <a:gd name="connsiteX161" fmla="*/ 3888539 w 11269336"/>
              <a:gd name="connsiteY161" fmla="*/ 2140476 h 2323145"/>
              <a:gd name="connsiteX162" fmla="*/ 3885662 w 11269336"/>
              <a:gd name="connsiteY162" fmla="*/ 2138740 h 2323145"/>
              <a:gd name="connsiteX163" fmla="*/ 3868627 w 11269336"/>
              <a:gd name="connsiteY163" fmla="*/ 2130023 h 2323145"/>
              <a:gd name="connsiteX164" fmla="*/ 3819177 w 11269336"/>
              <a:gd name="connsiteY164" fmla="*/ 2142111 h 2323145"/>
              <a:gd name="connsiteX165" fmla="*/ 3769100 w 11269336"/>
              <a:gd name="connsiteY165" fmla="*/ 2131731 h 2323145"/>
              <a:gd name="connsiteX166" fmla="*/ 3562752 w 11269336"/>
              <a:gd name="connsiteY166" fmla="*/ 2131785 h 2323145"/>
              <a:gd name="connsiteX167" fmla="*/ 3541402 w 11269336"/>
              <a:gd name="connsiteY167" fmla="*/ 2106821 h 2323145"/>
              <a:gd name="connsiteX168" fmla="*/ 3365341 w 11269336"/>
              <a:gd name="connsiteY168" fmla="*/ 2077638 h 2323145"/>
              <a:gd name="connsiteX169" fmla="*/ 3170922 w 11269336"/>
              <a:gd name="connsiteY169" fmla="*/ 2115957 h 2323145"/>
              <a:gd name="connsiteX170" fmla="*/ 3156256 w 11269336"/>
              <a:gd name="connsiteY170" fmla="*/ 2124773 h 2323145"/>
              <a:gd name="connsiteX171" fmla="*/ 3140298 w 11269336"/>
              <a:gd name="connsiteY171" fmla="*/ 2129182 h 2323145"/>
              <a:gd name="connsiteX172" fmla="*/ 3138514 w 11269336"/>
              <a:gd name="connsiteY172" fmla="*/ 2128069 h 2323145"/>
              <a:gd name="connsiteX173" fmla="*/ 3120467 w 11269336"/>
              <a:gd name="connsiteY173" fmla="*/ 2128281 h 2323145"/>
              <a:gd name="connsiteX174" fmla="*/ 3116175 w 11269336"/>
              <a:gd name="connsiteY174" fmla="*/ 2131633 h 2323145"/>
              <a:gd name="connsiteX175" fmla="*/ 3103685 w 11269336"/>
              <a:gd name="connsiteY175" fmla="*/ 2132814 h 2323145"/>
              <a:gd name="connsiteX176" fmla="*/ 3078794 w 11269336"/>
              <a:gd name="connsiteY176" fmla="*/ 2137935 h 2323145"/>
              <a:gd name="connsiteX177" fmla="*/ 3074407 w 11269336"/>
              <a:gd name="connsiteY177" fmla="*/ 2136274 h 2323145"/>
              <a:gd name="connsiteX178" fmla="*/ 3037285 w 11269336"/>
              <a:gd name="connsiteY178" fmla="*/ 2139919 h 2323145"/>
              <a:gd name="connsiteX179" fmla="*/ 3036901 w 11269336"/>
              <a:gd name="connsiteY179" fmla="*/ 2138726 h 2323145"/>
              <a:gd name="connsiteX180" fmla="*/ 3026996 w 11269336"/>
              <a:gd name="connsiteY180" fmla="*/ 2134322 h 2323145"/>
              <a:gd name="connsiteX181" fmla="*/ 3007772 w 11269336"/>
              <a:gd name="connsiteY181" fmla="*/ 2128742 h 2323145"/>
              <a:gd name="connsiteX182" fmla="*/ 2965030 w 11269336"/>
              <a:gd name="connsiteY182" fmla="*/ 2100494 h 2323145"/>
              <a:gd name="connsiteX183" fmla="*/ 2926342 w 11269336"/>
              <a:gd name="connsiteY183" fmla="*/ 2104155 h 2323145"/>
              <a:gd name="connsiteX184" fmla="*/ 2918608 w 11269336"/>
              <a:gd name="connsiteY184" fmla="*/ 2104215 h 2323145"/>
              <a:gd name="connsiteX185" fmla="*/ 2918475 w 11269336"/>
              <a:gd name="connsiteY185" fmla="*/ 2103937 h 2323145"/>
              <a:gd name="connsiteX186" fmla="*/ 2910360 w 11269336"/>
              <a:gd name="connsiteY186" fmla="*/ 2103444 h 2323145"/>
              <a:gd name="connsiteX187" fmla="*/ 2904507 w 11269336"/>
              <a:gd name="connsiteY187" fmla="*/ 2104326 h 2323145"/>
              <a:gd name="connsiteX188" fmla="*/ 2889503 w 11269336"/>
              <a:gd name="connsiteY188" fmla="*/ 2104443 h 2323145"/>
              <a:gd name="connsiteX189" fmla="*/ 2884480 w 11269336"/>
              <a:gd name="connsiteY189" fmla="*/ 2102626 h 2323145"/>
              <a:gd name="connsiteX190" fmla="*/ 2882689 w 11269336"/>
              <a:gd name="connsiteY190" fmla="*/ 2099228 h 2323145"/>
              <a:gd name="connsiteX191" fmla="*/ 2881291 w 11269336"/>
              <a:gd name="connsiteY191" fmla="*/ 2099618 h 2323145"/>
              <a:gd name="connsiteX192" fmla="*/ 2853979 w 11269336"/>
              <a:gd name="connsiteY192" fmla="*/ 2090388 h 2323145"/>
              <a:gd name="connsiteX193" fmla="*/ 2791790 w 11269336"/>
              <a:gd name="connsiteY193" fmla="*/ 2080332 h 2323145"/>
              <a:gd name="connsiteX194" fmla="*/ 2755844 w 11269336"/>
              <a:gd name="connsiteY194" fmla="*/ 2078874 h 2323145"/>
              <a:gd name="connsiteX195" fmla="*/ 2657742 w 11269336"/>
              <a:gd name="connsiteY195" fmla="*/ 2070179 h 2323145"/>
              <a:gd name="connsiteX196" fmla="*/ 2559549 w 11269336"/>
              <a:gd name="connsiteY196" fmla="*/ 2057873 h 2323145"/>
              <a:gd name="connsiteX197" fmla="*/ 2512054 w 11269336"/>
              <a:gd name="connsiteY197" fmla="*/ 2031671 h 2323145"/>
              <a:gd name="connsiteX198" fmla="*/ 2506437 w 11269336"/>
              <a:gd name="connsiteY198" fmla="*/ 2030918 h 2323145"/>
              <a:gd name="connsiteX199" fmla="*/ 2491752 w 11269336"/>
              <a:gd name="connsiteY199" fmla="*/ 2033906 h 2323145"/>
              <a:gd name="connsiteX200" fmla="*/ 2486338 w 11269336"/>
              <a:gd name="connsiteY200" fmla="*/ 2035862 h 2323145"/>
              <a:gd name="connsiteX201" fmla="*/ 2478186 w 11269336"/>
              <a:gd name="connsiteY201" fmla="*/ 2036953 h 2323145"/>
              <a:gd name="connsiteX202" fmla="*/ 2477950 w 11269336"/>
              <a:gd name="connsiteY202" fmla="*/ 2036715 h 2323145"/>
              <a:gd name="connsiteX203" fmla="*/ 2470381 w 11269336"/>
              <a:gd name="connsiteY203" fmla="*/ 2038256 h 2323145"/>
              <a:gd name="connsiteX204" fmla="*/ 2433781 w 11269336"/>
              <a:gd name="connsiteY204" fmla="*/ 2049140 h 2323145"/>
              <a:gd name="connsiteX205" fmla="*/ 2381172 w 11269336"/>
              <a:gd name="connsiteY205" fmla="*/ 2030645 h 2323145"/>
              <a:gd name="connsiteX206" fmla="*/ 2360198 w 11269336"/>
              <a:gd name="connsiteY206" fmla="*/ 2029059 h 2323145"/>
              <a:gd name="connsiteX207" fmla="*/ 2348815 w 11269336"/>
              <a:gd name="connsiteY207" fmla="*/ 2026798 h 2323145"/>
              <a:gd name="connsiteX208" fmla="*/ 2347988 w 11269336"/>
              <a:gd name="connsiteY208" fmla="*/ 2025745 h 2323145"/>
              <a:gd name="connsiteX209" fmla="*/ 2312920 w 11269336"/>
              <a:gd name="connsiteY209" fmla="*/ 2036311 h 2323145"/>
              <a:gd name="connsiteX210" fmla="*/ 2307986 w 11269336"/>
              <a:gd name="connsiteY210" fmla="*/ 2035583 h 2323145"/>
              <a:gd name="connsiteX211" fmla="*/ 2285481 w 11269336"/>
              <a:gd name="connsiteY211" fmla="*/ 2045197 h 2323145"/>
              <a:gd name="connsiteX212" fmla="*/ 2273666 w 11269336"/>
              <a:gd name="connsiteY212" fmla="*/ 2048710 h 2323145"/>
              <a:gd name="connsiteX213" fmla="*/ 2270719 w 11269336"/>
              <a:gd name="connsiteY213" fmla="*/ 2052702 h 2323145"/>
              <a:gd name="connsiteX214" fmla="*/ 2253080 w 11269336"/>
              <a:gd name="connsiteY214" fmla="*/ 2056363 h 2323145"/>
              <a:gd name="connsiteX215" fmla="*/ 2250906 w 11269336"/>
              <a:gd name="connsiteY215" fmla="*/ 2055654 h 2323145"/>
              <a:gd name="connsiteX216" fmla="*/ 2236905 w 11269336"/>
              <a:gd name="connsiteY216" fmla="*/ 2062882 h 2323145"/>
              <a:gd name="connsiteX217" fmla="*/ 2225830 w 11269336"/>
              <a:gd name="connsiteY217" fmla="*/ 2074027 h 2323145"/>
              <a:gd name="connsiteX218" fmla="*/ 2073776 w 11269336"/>
              <a:gd name="connsiteY218" fmla="*/ 2089244 h 2323145"/>
              <a:gd name="connsiteX219" fmla="*/ 1948256 w 11269336"/>
              <a:gd name="connsiteY219" fmla="*/ 2146616 h 2323145"/>
              <a:gd name="connsiteX220" fmla="*/ 1865582 w 11269336"/>
              <a:gd name="connsiteY220" fmla="*/ 2153738 h 2323145"/>
              <a:gd name="connsiteX221" fmla="*/ 1835210 w 11269336"/>
              <a:gd name="connsiteY221" fmla="*/ 2134244 h 2323145"/>
              <a:gd name="connsiteX222" fmla="*/ 1632661 w 11269336"/>
              <a:gd name="connsiteY222" fmla="*/ 2173882 h 2323145"/>
              <a:gd name="connsiteX223" fmla="*/ 1579590 w 11269336"/>
              <a:gd name="connsiteY223" fmla="*/ 2173680 h 2323145"/>
              <a:gd name="connsiteX224" fmla="*/ 1535601 w 11269336"/>
              <a:gd name="connsiteY224" fmla="*/ 2194590 h 2323145"/>
              <a:gd name="connsiteX225" fmla="*/ 1515594 w 11269336"/>
              <a:gd name="connsiteY225" fmla="*/ 2189622 h 2323145"/>
              <a:gd name="connsiteX226" fmla="*/ 1512113 w 11269336"/>
              <a:gd name="connsiteY226" fmla="*/ 2188534 h 2323145"/>
              <a:gd name="connsiteX227" fmla="*/ 1498838 w 11269336"/>
              <a:gd name="connsiteY227" fmla="*/ 2189213 h 2323145"/>
              <a:gd name="connsiteX228" fmla="*/ 1494279 w 11269336"/>
              <a:gd name="connsiteY228" fmla="*/ 2183112 h 2323145"/>
              <a:gd name="connsiteX229" fmla="*/ 1473714 w 11269336"/>
              <a:gd name="connsiteY229" fmla="*/ 2179625 h 2323145"/>
              <a:gd name="connsiteX230" fmla="*/ 1449503 w 11269336"/>
              <a:gd name="connsiteY230" fmla="*/ 2182633 h 2323145"/>
              <a:gd name="connsiteX231" fmla="*/ 1266687 w 11269336"/>
              <a:gd name="connsiteY231" fmla="*/ 2212688 h 2323145"/>
              <a:gd name="connsiteX232" fmla="*/ 1239614 w 11269336"/>
              <a:gd name="connsiteY232" fmla="*/ 2209727 h 2323145"/>
              <a:gd name="connsiteX233" fmla="*/ 1202436 w 11269336"/>
              <a:gd name="connsiteY233" fmla="*/ 2209817 h 2323145"/>
              <a:gd name="connsiteX234" fmla="*/ 1136097 w 11269336"/>
              <a:gd name="connsiteY234" fmla="*/ 2205112 h 2323145"/>
              <a:gd name="connsiteX235" fmla="*/ 988232 w 11269336"/>
              <a:gd name="connsiteY235" fmla="*/ 2235635 h 2323145"/>
              <a:gd name="connsiteX236" fmla="*/ 981959 w 11269336"/>
              <a:gd name="connsiteY236" fmla="*/ 2231607 h 2323145"/>
              <a:gd name="connsiteX237" fmla="*/ 938600 w 11269336"/>
              <a:gd name="connsiteY237" fmla="*/ 2238113 h 2323145"/>
              <a:gd name="connsiteX238" fmla="*/ 791788 w 11269336"/>
              <a:gd name="connsiteY238" fmla="*/ 2293224 h 2323145"/>
              <a:gd name="connsiteX239" fmla="*/ 706914 w 11269336"/>
              <a:gd name="connsiteY239" fmla="*/ 2305046 h 2323145"/>
              <a:gd name="connsiteX240" fmla="*/ 675971 w 11269336"/>
              <a:gd name="connsiteY240" fmla="*/ 2304030 h 2323145"/>
              <a:gd name="connsiteX241" fmla="*/ 624180 w 11269336"/>
              <a:gd name="connsiteY241" fmla="*/ 2302650 h 2323145"/>
              <a:gd name="connsiteX242" fmla="*/ 583453 w 11269336"/>
              <a:gd name="connsiteY242" fmla="*/ 2288788 h 2323145"/>
              <a:gd name="connsiteX243" fmla="*/ 540946 w 11269336"/>
              <a:gd name="connsiteY243" fmla="*/ 2292721 h 2323145"/>
              <a:gd name="connsiteX244" fmla="*/ 533680 w 11269336"/>
              <a:gd name="connsiteY244" fmla="*/ 2310233 h 2323145"/>
              <a:gd name="connsiteX245" fmla="*/ 487366 w 11269336"/>
              <a:gd name="connsiteY245" fmla="*/ 2309053 h 2323145"/>
              <a:gd name="connsiteX246" fmla="*/ 416820 w 11269336"/>
              <a:gd name="connsiteY246" fmla="*/ 2305443 h 2323145"/>
              <a:gd name="connsiteX247" fmla="*/ 376805 w 11269336"/>
              <a:gd name="connsiteY247" fmla="*/ 2307647 h 2323145"/>
              <a:gd name="connsiteX248" fmla="*/ 266777 w 11269336"/>
              <a:gd name="connsiteY248" fmla="*/ 2309012 h 2323145"/>
              <a:gd name="connsiteX249" fmla="*/ 156013 w 11269336"/>
              <a:gd name="connsiteY249" fmla="*/ 2306832 h 2323145"/>
              <a:gd name="connsiteX250" fmla="*/ 87258 w 11269336"/>
              <a:gd name="connsiteY250" fmla="*/ 2285511 h 2323145"/>
              <a:gd name="connsiteX251" fmla="*/ 23798 w 11269336"/>
              <a:gd name="connsiteY251" fmla="*/ 2281822 h 2323145"/>
              <a:gd name="connsiteX252" fmla="*/ 0 w 11269336"/>
              <a:gd name="connsiteY252" fmla="*/ 2285369 h 2323145"/>
              <a:gd name="connsiteX253" fmla="*/ 0 w 11269336"/>
              <a:gd name="connsiteY25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467257 w 11269336"/>
              <a:gd name="connsiteY141" fmla="*/ 2196121 h 2323145"/>
              <a:gd name="connsiteX142" fmla="*/ 4405765 w 11269336"/>
              <a:gd name="connsiteY142" fmla="*/ 2199902 h 2323145"/>
              <a:gd name="connsiteX143" fmla="*/ 4401354 w 11269336"/>
              <a:gd name="connsiteY143" fmla="*/ 2194745 h 2323145"/>
              <a:gd name="connsiteX144" fmla="*/ 4366646 w 11269336"/>
              <a:gd name="connsiteY144" fmla="*/ 2198564 h 2323145"/>
              <a:gd name="connsiteX145" fmla="*/ 4354009 w 11269336"/>
              <a:gd name="connsiteY145" fmla="*/ 2204984 h 2323145"/>
              <a:gd name="connsiteX146" fmla="*/ 4348284 w 11269336"/>
              <a:gd name="connsiteY146" fmla="*/ 2205270 h 2323145"/>
              <a:gd name="connsiteX147" fmla="*/ 4333906 w 11269336"/>
              <a:gd name="connsiteY147" fmla="*/ 2205251 h 2323145"/>
              <a:gd name="connsiteX148" fmla="*/ 4308819 w 11269336"/>
              <a:gd name="connsiteY148" fmla="*/ 2203822 h 2323145"/>
              <a:gd name="connsiteX149" fmla="*/ 4301210 w 11269336"/>
              <a:gd name="connsiteY149" fmla="*/ 2204456 h 2323145"/>
              <a:gd name="connsiteX150" fmla="*/ 4283095 w 11269336"/>
              <a:gd name="connsiteY150" fmla="*/ 2198177 h 2323145"/>
              <a:gd name="connsiteX151" fmla="*/ 4250119 w 11269336"/>
              <a:gd name="connsiteY151" fmla="*/ 2196342 h 2323145"/>
              <a:gd name="connsiteX152" fmla="*/ 4189203 w 11269336"/>
              <a:gd name="connsiteY152" fmla="*/ 2178994 h 2323145"/>
              <a:gd name="connsiteX153" fmla="*/ 4154035 w 11269336"/>
              <a:gd name="connsiteY153" fmla="*/ 2171950 h 2323145"/>
              <a:gd name="connsiteX154" fmla="*/ 4129569 w 11269336"/>
              <a:gd name="connsiteY154" fmla="*/ 2163850 h 2323145"/>
              <a:gd name="connsiteX155" fmla="*/ 4061250 w 11269336"/>
              <a:gd name="connsiteY155" fmla="*/ 2159236 h 2323145"/>
              <a:gd name="connsiteX156" fmla="*/ 3945480 w 11269336"/>
              <a:gd name="connsiteY156" fmla="*/ 2158279 h 2323145"/>
              <a:gd name="connsiteX157" fmla="*/ 3921468 w 11269336"/>
              <a:gd name="connsiteY157" fmla="*/ 2156588 h 2323145"/>
              <a:gd name="connsiteX158" fmla="*/ 3903348 w 11269336"/>
              <a:gd name="connsiteY158" fmla="*/ 2149220 h 2323145"/>
              <a:gd name="connsiteX159" fmla="*/ 3901342 w 11269336"/>
              <a:gd name="connsiteY159" fmla="*/ 2142355 h 2323145"/>
              <a:gd name="connsiteX160" fmla="*/ 3888539 w 11269336"/>
              <a:gd name="connsiteY160" fmla="*/ 2140476 h 2323145"/>
              <a:gd name="connsiteX161" fmla="*/ 3885662 w 11269336"/>
              <a:gd name="connsiteY161" fmla="*/ 2138740 h 2323145"/>
              <a:gd name="connsiteX162" fmla="*/ 3868627 w 11269336"/>
              <a:gd name="connsiteY162" fmla="*/ 2130023 h 2323145"/>
              <a:gd name="connsiteX163" fmla="*/ 3819177 w 11269336"/>
              <a:gd name="connsiteY163" fmla="*/ 2142111 h 2323145"/>
              <a:gd name="connsiteX164" fmla="*/ 3769100 w 11269336"/>
              <a:gd name="connsiteY164" fmla="*/ 2131731 h 2323145"/>
              <a:gd name="connsiteX165" fmla="*/ 3562752 w 11269336"/>
              <a:gd name="connsiteY165" fmla="*/ 2131785 h 2323145"/>
              <a:gd name="connsiteX166" fmla="*/ 3541402 w 11269336"/>
              <a:gd name="connsiteY166" fmla="*/ 2106821 h 2323145"/>
              <a:gd name="connsiteX167" fmla="*/ 3365341 w 11269336"/>
              <a:gd name="connsiteY167" fmla="*/ 2077638 h 2323145"/>
              <a:gd name="connsiteX168" fmla="*/ 3170922 w 11269336"/>
              <a:gd name="connsiteY168" fmla="*/ 2115957 h 2323145"/>
              <a:gd name="connsiteX169" fmla="*/ 3156256 w 11269336"/>
              <a:gd name="connsiteY169" fmla="*/ 2124773 h 2323145"/>
              <a:gd name="connsiteX170" fmla="*/ 3140298 w 11269336"/>
              <a:gd name="connsiteY170" fmla="*/ 2129182 h 2323145"/>
              <a:gd name="connsiteX171" fmla="*/ 3138514 w 11269336"/>
              <a:gd name="connsiteY171" fmla="*/ 2128069 h 2323145"/>
              <a:gd name="connsiteX172" fmla="*/ 3120467 w 11269336"/>
              <a:gd name="connsiteY172" fmla="*/ 2128281 h 2323145"/>
              <a:gd name="connsiteX173" fmla="*/ 3116175 w 11269336"/>
              <a:gd name="connsiteY173" fmla="*/ 2131633 h 2323145"/>
              <a:gd name="connsiteX174" fmla="*/ 3103685 w 11269336"/>
              <a:gd name="connsiteY174" fmla="*/ 2132814 h 2323145"/>
              <a:gd name="connsiteX175" fmla="*/ 3078794 w 11269336"/>
              <a:gd name="connsiteY175" fmla="*/ 2137935 h 2323145"/>
              <a:gd name="connsiteX176" fmla="*/ 3074407 w 11269336"/>
              <a:gd name="connsiteY176" fmla="*/ 2136274 h 2323145"/>
              <a:gd name="connsiteX177" fmla="*/ 3037285 w 11269336"/>
              <a:gd name="connsiteY177" fmla="*/ 2139919 h 2323145"/>
              <a:gd name="connsiteX178" fmla="*/ 3036901 w 11269336"/>
              <a:gd name="connsiteY178" fmla="*/ 2138726 h 2323145"/>
              <a:gd name="connsiteX179" fmla="*/ 3026996 w 11269336"/>
              <a:gd name="connsiteY179" fmla="*/ 2134322 h 2323145"/>
              <a:gd name="connsiteX180" fmla="*/ 3007772 w 11269336"/>
              <a:gd name="connsiteY180" fmla="*/ 2128742 h 2323145"/>
              <a:gd name="connsiteX181" fmla="*/ 2965030 w 11269336"/>
              <a:gd name="connsiteY181" fmla="*/ 2100494 h 2323145"/>
              <a:gd name="connsiteX182" fmla="*/ 2926342 w 11269336"/>
              <a:gd name="connsiteY182" fmla="*/ 2104155 h 2323145"/>
              <a:gd name="connsiteX183" fmla="*/ 2918608 w 11269336"/>
              <a:gd name="connsiteY183" fmla="*/ 2104215 h 2323145"/>
              <a:gd name="connsiteX184" fmla="*/ 2918475 w 11269336"/>
              <a:gd name="connsiteY184" fmla="*/ 2103937 h 2323145"/>
              <a:gd name="connsiteX185" fmla="*/ 2910360 w 11269336"/>
              <a:gd name="connsiteY185" fmla="*/ 2103444 h 2323145"/>
              <a:gd name="connsiteX186" fmla="*/ 2904507 w 11269336"/>
              <a:gd name="connsiteY186" fmla="*/ 2104326 h 2323145"/>
              <a:gd name="connsiteX187" fmla="*/ 2889503 w 11269336"/>
              <a:gd name="connsiteY187" fmla="*/ 2104443 h 2323145"/>
              <a:gd name="connsiteX188" fmla="*/ 2884480 w 11269336"/>
              <a:gd name="connsiteY188" fmla="*/ 2102626 h 2323145"/>
              <a:gd name="connsiteX189" fmla="*/ 2882689 w 11269336"/>
              <a:gd name="connsiteY189" fmla="*/ 2099228 h 2323145"/>
              <a:gd name="connsiteX190" fmla="*/ 2881291 w 11269336"/>
              <a:gd name="connsiteY190" fmla="*/ 2099618 h 2323145"/>
              <a:gd name="connsiteX191" fmla="*/ 2853979 w 11269336"/>
              <a:gd name="connsiteY191" fmla="*/ 2090388 h 2323145"/>
              <a:gd name="connsiteX192" fmla="*/ 2791790 w 11269336"/>
              <a:gd name="connsiteY192" fmla="*/ 2080332 h 2323145"/>
              <a:gd name="connsiteX193" fmla="*/ 2755844 w 11269336"/>
              <a:gd name="connsiteY193" fmla="*/ 2078874 h 2323145"/>
              <a:gd name="connsiteX194" fmla="*/ 2657742 w 11269336"/>
              <a:gd name="connsiteY194" fmla="*/ 2070179 h 2323145"/>
              <a:gd name="connsiteX195" fmla="*/ 2559549 w 11269336"/>
              <a:gd name="connsiteY195" fmla="*/ 2057873 h 2323145"/>
              <a:gd name="connsiteX196" fmla="*/ 2512054 w 11269336"/>
              <a:gd name="connsiteY196" fmla="*/ 2031671 h 2323145"/>
              <a:gd name="connsiteX197" fmla="*/ 2506437 w 11269336"/>
              <a:gd name="connsiteY197" fmla="*/ 2030918 h 2323145"/>
              <a:gd name="connsiteX198" fmla="*/ 2491752 w 11269336"/>
              <a:gd name="connsiteY198" fmla="*/ 2033906 h 2323145"/>
              <a:gd name="connsiteX199" fmla="*/ 2486338 w 11269336"/>
              <a:gd name="connsiteY199" fmla="*/ 2035862 h 2323145"/>
              <a:gd name="connsiteX200" fmla="*/ 2478186 w 11269336"/>
              <a:gd name="connsiteY200" fmla="*/ 2036953 h 2323145"/>
              <a:gd name="connsiteX201" fmla="*/ 2477950 w 11269336"/>
              <a:gd name="connsiteY201" fmla="*/ 2036715 h 2323145"/>
              <a:gd name="connsiteX202" fmla="*/ 2470381 w 11269336"/>
              <a:gd name="connsiteY202" fmla="*/ 2038256 h 2323145"/>
              <a:gd name="connsiteX203" fmla="*/ 2433781 w 11269336"/>
              <a:gd name="connsiteY203" fmla="*/ 2049140 h 2323145"/>
              <a:gd name="connsiteX204" fmla="*/ 2381172 w 11269336"/>
              <a:gd name="connsiteY204" fmla="*/ 2030645 h 2323145"/>
              <a:gd name="connsiteX205" fmla="*/ 2360198 w 11269336"/>
              <a:gd name="connsiteY205" fmla="*/ 2029059 h 2323145"/>
              <a:gd name="connsiteX206" fmla="*/ 2348815 w 11269336"/>
              <a:gd name="connsiteY206" fmla="*/ 2026798 h 2323145"/>
              <a:gd name="connsiteX207" fmla="*/ 2347988 w 11269336"/>
              <a:gd name="connsiteY207" fmla="*/ 2025745 h 2323145"/>
              <a:gd name="connsiteX208" fmla="*/ 2312920 w 11269336"/>
              <a:gd name="connsiteY208" fmla="*/ 2036311 h 2323145"/>
              <a:gd name="connsiteX209" fmla="*/ 2307986 w 11269336"/>
              <a:gd name="connsiteY209" fmla="*/ 2035583 h 2323145"/>
              <a:gd name="connsiteX210" fmla="*/ 2285481 w 11269336"/>
              <a:gd name="connsiteY210" fmla="*/ 2045197 h 2323145"/>
              <a:gd name="connsiteX211" fmla="*/ 2273666 w 11269336"/>
              <a:gd name="connsiteY211" fmla="*/ 2048710 h 2323145"/>
              <a:gd name="connsiteX212" fmla="*/ 2270719 w 11269336"/>
              <a:gd name="connsiteY212" fmla="*/ 2052702 h 2323145"/>
              <a:gd name="connsiteX213" fmla="*/ 2253080 w 11269336"/>
              <a:gd name="connsiteY213" fmla="*/ 2056363 h 2323145"/>
              <a:gd name="connsiteX214" fmla="*/ 2250906 w 11269336"/>
              <a:gd name="connsiteY214" fmla="*/ 2055654 h 2323145"/>
              <a:gd name="connsiteX215" fmla="*/ 2236905 w 11269336"/>
              <a:gd name="connsiteY215" fmla="*/ 2062882 h 2323145"/>
              <a:gd name="connsiteX216" fmla="*/ 2225830 w 11269336"/>
              <a:gd name="connsiteY216" fmla="*/ 2074027 h 2323145"/>
              <a:gd name="connsiteX217" fmla="*/ 2073776 w 11269336"/>
              <a:gd name="connsiteY217" fmla="*/ 2089244 h 2323145"/>
              <a:gd name="connsiteX218" fmla="*/ 1948256 w 11269336"/>
              <a:gd name="connsiteY218" fmla="*/ 2146616 h 2323145"/>
              <a:gd name="connsiteX219" fmla="*/ 1865582 w 11269336"/>
              <a:gd name="connsiteY219" fmla="*/ 2153738 h 2323145"/>
              <a:gd name="connsiteX220" fmla="*/ 1835210 w 11269336"/>
              <a:gd name="connsiteY220" fmla="*/ 2134244 h 2323145"/>
              <a:gd name="connsiteX221" fmla="*/ 1632661 w 11269336"/>
              <a:gd name="connsiteY221" fmla="*/ 2173882 h 2323145"/>
              <a:gd name="connsiteX222" fmla="*/ 1579590 w 11269336"/>
              <a:gd name="connsiteY222" fmla="*/ 2173680 h 2323145"/>
              <a:gd name="connsiteX223" fmla="*/ 1535601 w 11269336"/>
              <a:gd name="connsiteY223" fmla="*/ 2194590 h 2323145"/>
              <a:gd name="connsiteX224" fmla="*/ 1515594 w 11269336"/>
              <a:gd name="connsiteY224" fmla="*/ 2189622 h 2323145"/>
              <a:gd name="connsiteX225" fmla="*/ 1512113 w 11269336"/>
              <a:gd name="connsiteY225" fmla="*/ 2188534 h 2323145"/>
              <a:gd name="connsiteX226" fmla="*/ 1498838 w 11269336"/>
              <a:gd name="connsiteY226" fmla="*/ 2189213 h 2323145"/>
              <a:gd name="connsiteX227" fmla="*/ 1494279 w 11269336"/>
              <a:gd name="connsiteY227" fmla="*/ 2183112 h 2323145"/>
              <a:gd name="connsiteX228" fmla="*/ 1473714 w 11269336"/>
              <a:gd name="connsiteY228" fmla="*/ 2179625 h 2323145"/>
              <a:gd name="connsiteX229" fmla="*/ 1449503 w 11269336"/>
              <a:gd name="connsiteY229" fmla="*/ 2182633 h 2323145"/>
              <a:gd name="connsiteX230" fmla="*/ 1266687 w 11269336"/>
              <a:gd name="connsiteY230" fmla="*/ 2212688 h 2323145"/>
              <a:gd name="connsiteX231" fmla="*/ 1239614 w 11269336"/>
              <a:gd name="connsiteY231" fmla="*/ 2209727 h 2323145"/>
              <a:gd name="connsiteX232" fmla="*/ 1202436 w 11269336"/>
              <a:gd name="connsiteY232" fmla="*/ 2209817 h 2323145"/>
              <a:gd name="connsiteX233" fmla="*/ 1136097 w 11269336"/>
              <a:gd name="connsiteY233" fmla="*/ 2205112 h 2323145"/>
              <a:gd name="connsiteX234" fmla="*/ 988232 w 11269336"/>
              <a:gd name="connsiteY234" fmla="*/ 2235635 h 2323145"/>
              <a:gd name="connsiteX235" fmla="*/ 981959 w 11269336"/>
              <a:gd name="connsiteY235" fmla="*/ 2231607 h 2323145"/>
              <a:gd name="connsiteX236" fmla="*/ 938600 w 11269336"/>
              <a:gd name="connsiteY236" fmla="*/ 2238113 h 2323145"/>
              <a:gd name="connsiteX237" fmla="*/ 791788 w 11269336"/>
              <a:gd name="connsiteY237" fmla="*/ 2293224 h 2323145"/>
              <a:gd name="connsiteX238" fmla="*/ 706914 w 11269336"/>
              <a:gd name="connsiteY238" fmla="*/ 2305046 h 2323145"/>
              <a:gd name="connsiteX239" fmla="*/ 675971 w 11269336"/>
              <a:gd name="connsiteY239" fmla="*/ 2304030 h 2323145"/>
              <a:gd name="connsiteX240" fmla="*/ 624180 w 11269336"/>
              <a:gd name="connsiteY240" fmla="*/ 2302650 h 2323145"/>
              <a:gd name="connsiteX241" fmla="*/ 583453 w 11269336"/>
              <a:gd name="connsiteY241" fmla="*/ 2288788 h 2323145"/>
              <a:gd name="connsiteX242" fmla="*/ 540946 w 11269336"/>
              <a:gd name="connsiteY242" fmla="*/ 2292721 h 2323145"/>
              <a:gd name="connsiteX243" fmla="*/ 533680 w 11269336"/>
              <a:gd name="connsiteY243" fmla="*/ 2310233 h 2323145"/>
              <a:gd name="connsiteX244" fmla="*/ 487366 w 11269336"/>
              <a:gd name="connsiteY244" fmla="*/ 2309053 h 2323145"/>
              <a:gd name="connsiteX245" fmla="*/ 416820 w 11269336"/>
              <a:gd name="connsiteY245" fmla="*/ 2305443 h 2323145"/>
              <a:gd name="connsiteX246" fmla="*/ 376805 w 11269336"/>
              <a:gd name="connsiteY246" fmla="*/ 2307647 h 2323145"/>
              <a:gd name="connsiteX247" fmla="*/ 266777 w 11269336"/>
              <a:gd name="connsiteY247" fmla="*/ 2309012 h 2323145"/>
              <a:gd name="connsiteX248" fmla="*/ 156013 w 11269336"/>
              <a:gd name="connsiteY248" fmla="*/ 2306832 h 2323145"/>
              <a:gd name="connsiteX249" fmla="*/ 87258 w 11269336"/>
              <a:gd name="connsiteY249" fmla="*/ 2285511 h 2323145"/>
              <a:gd name="connsiteX250" fmla="*/ 23798 w 11269336"/>
              <a:gd name="connsiteY250" fmla="*/ 2281822 h 2323145"/>
              <a:gd name="connsiteX251" fmla="*/ 0 w 11269336"/>
              <a:gd name="connsiteY251" fmla="*/ 2285369 h 2323145"/>
              <a:gd name="connsiteX252" fmla="*/ 0 w 11269336"/>
              <a:gd name="connsiteY25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405765 w 11269336"/>
              <a:gd name="connsiteY141" fmla="*/ 2199902 h 2323145"/>
              <a:gd name="connsiteX142" fmla="*/ 4401354 w 11269336"/>
              <a:gd name="connsiteY142" fmla="*/ 2194745 h 2323145"/>
              <a:gd name="connsiteX143" fmla="*/ 4366646 w 11269336"/>
              <a:gd name="connsiteY143" fmla="*/ 2198564 h 2323145"/>
              <a:gd name="connsiteX144" fmla="*/ 4354009 w 11269336"/>
              <a:gd name="connsiteY144" fmla="*/ 2204984 h 2323145"/>
              <a:gd name="connsiteX145" fmla="*/ 4348284 w 11269336"/>
              <a:gd name="connsiteY145" fmla="*/ 2205270 h 2323145"/>
              <a:gd name="connsiteX146" fmla="*/ 4333906 w 11269336"/>
              <a:gd name="connsiteY146" fmla="*/ 2205251 h 2323145"/>
              <a:gd name="connsiteX147" fmla="*/ 4308819 w 11269336"/>
              <a:gd name="connsiteY147" fmla="*/ 2203822 h 2323145"/>
              <a:gd name="connsiteX148" fmla="*/ 4301210 w 11269336"/>
              <a:gd name="connsiteY148" fmla="*/ 2204456 h 2323145"/>
              <a:gd name="connsiteX149" fmla="*/ 4283095 w 11269336"/>
              <a:gd name="connsiteY149" fmla="*/ 2198177 h 2323145"/>
              <a:gd name="connsiteX150" fmla="*/ 4250119 w 11269336"/>
              <a:gd name="connsiteY150" fmla="*/ 2196342 h 2323145"/>
              <a:gd name="connsiteX151" fmla="*/ 4189203 w 11269336"/>
              <a:gd name="connsiteY151" fmla="*/ 2178994 h 2323145"/>
              <a:gd name="connsiteX152" fmla="*/ 4154035 w 11269336"/>
              <a:gd name="connsiteY152" fmla="*/ 2171950 h 2323145"/>
              <a:gd name="connsiteX153" fmla="*/ 4129569 w 11269336"/>
              <a:gd name="connsiteY153" fmla="*/ 2163850 h 2323145"/>
              <a:gd name="connsiteX154" fmla="*/ 4061250 w 11269336"/>
              <a:gd name="connsiteY154" fmla="*/ 2159236 h 2323145"/>
              <a:gd name="connsiteX155" fmla="*/ 3945480 w 11269336"/>
              <a:gd name="connsiteY155" fmla="*/ 2158279 h 2323145"/>
              <a:gd name="connsiteX156" fmla="*/ 3921468 w 11269336"/>
              <a:gd name="connsiteY156" fmla="*/ 2156588 h 2323145"/>
              <a:gd name="connsiteX157" fmla="*/ 3903348 w 11269336"/>
              <a:gd name="connsiteY157" fmla="*/ 2149220 h 2323145"/>
              <a:gd name="connsiteX158" fmla="*/ 3901342 w 11269336"/>
              <a:gd name="connsiteY158" fmla="*/ 2142355 h 2323145"/>
              <a:gd name="connsiteX159" fmla="*/ 3888539 w 11269336"/>
              <a:gd name="connsiteY159" fmla="*/ 2140476 h 2323145"/>
              <a:gd name="connsiteX160" fmla="*/ 3885662 w 11269336"/>
              <a:gd name="connsiteY160" fmla="*/ 2138740 h 2323145"/>
              <a:gd name="connsiteX161" fmla="*/ 3868627 w 11269336"/>
              <a:gd name="connsiteY161" fmla="*/ 2130023 h 2323145"/>
              <a:gd name="connsiteX162" fmla="*/ 3819177 w 11269336"/>
              <a:gd name="connsiteY162" fmla="*/ 2142111 h 2323145"/>
              <a:gd name="connsiteX163" fmla="*/ 3769100 w 11269336"/>
              <a:gd name="connsiteY163" fmla="*/ 2131731 h 2323145"/>
              <a:gd name="connsiteX164" fmla="*/ 3562752 w 11269336"/>
              <a:gd name="connsiteY164" fmla="*/ 2131785 h 2323145"/>
              <a:gd name="connsiteX165" fmla="*/ 3541402 w 11269336"/>
              <a:gd name="connsiteY165" fmla="*/ 2106821 h 2323145"/>
              <a:gd name="connsiteX166" fmla="*/ 3365341 w 11269336"/>
              <a:gd name="connsiteY166" fmla="*/ 2077638 h 2323145"/>
              <a:gd name="connsiteX167" fmla="*/ 3170922 w 11269336"/>
              <a:gd name="connsiteY167" fmla="*/ 2115957 h 2323145"/>
              <a:gd name="connsiteX168" fmla="*/ 3156256 w 11269336"/>
              <a:gd name="connsiteY168" fmla="*/ 2124773 h 2323145"/>
              <a:gd name="connsiteX169" fmla="*/ 3140298 w 11269336"/>
              <a:gd name="connsiteY169" fmla="*/ 2129182 h 2323145"/>
              <a:gd name="connsiteX170" fmla="*/ 3138514 w 11269336"/>
              <a:gd name="connsiteY170" fmla="*/ 2128069 h 2323145"/>
              <a:gd name="connsiteX171" fmla="*/ 3120467 w 11269336"/>
              <a:gd name="connsiteY171" fmla="*/ 2128281 h 2323145"/>
              <a:gd name="connsiteX172" fmla="*/ 3116175 w 11269336"/>
              <a:gd name="connsiteY172" fmla="*/ 2131633 h 2323145"/>
              <a:gd name="connsiteX173" fmla="*/ 3103685 w 11269336"/>
              <a:gd name="connsiteY173" fmla="*/ 2132814 h 2323145"/>
              <a:gd name="connsiteX174" fmla="*/ 3078794 w 11269336"/>
              <a:gd name="connsiteY174" fmla="*/ 2137935 h 2323145"/>
              <a:gd name="connsiteX175" fmla="*/ 3074407 w 11269336"/>
              <a:gd name="connsiteY175" fmla="*/ 2136274 h 2323145"/>
              <a:gd name="connsiteX176" fmla="*/ 3037285 w 11269336"/>
              <a:gd name="connsiteY176" fmla="*/ 2139919 h 2323145"/>
              <a:gd name="connsiteX177" fmla="*/ 3036901 w 11269336"/>
              <a:gd name="connsiteY177" fmla="*/ 2138726 h 2323145"/>
              <a:gd name="connsiteX178" fmla="*/ 3026996 w 11269336"/>
              <a:gd name="connsiteY178" fmla="*/ 2134322 h 2323145"/>
              <a:gd name="connsiteX179" fmla="*/ 3007772 w 11269336"/>
              <a:gd name="connsiteY179" fmla="*/ 2128742 h 2323145"/>
              <a:gd name="connsiteX180" fmla="*/ 2965030 w 11269336"/>
              <a:gd name="connsiteY180" fmla="*/ 2100494 h 2323145"/>
              <a:gd name="connsiteX181" fmla="*/ 2926342 w 11269336"/>
              <a:gd name="connsiteY181" fmla="*/ 2104155 h 2323145"/>
              <a:gd name="connsiteX182" fmla="*/ 2918608 w 11269336"/>
              <a:gd name="connsiteY182" fmla="*/ 2104215 h 2323145"/>
              <a:gd name="connsiteX183" fmla="*/ 2918475 w 11269336"/>
              <a:gd name="connsiteY183" fmla="*/ 2103937 h 2323145"/>
              <a:gd name="connsiteX184" fmla="*/ 2910360 w 11269336"/>
              <a:gd name="connsiteY184" fmla="*/ 2103444 h 2323145"/>
              <a:gd name="connsiteX185" fmla="*/ 2904507 w 11269336"/>
              <a:gd name="connsiteY185" fmla="*/ 2104326 h 2323145"/>
              <a:gd name="connsiteX186" fmla="*/ 2889503 w 11269336"/>
              <a:gd name="connsiteY186" fmla="*/ 2104443 h 2323145"/>
              <a:gd name="connsiteX187" fmla="*/ 2884480 w 11269336"/>
              <a:gd name="connsiteY187" fmla="*/ 2102626 h 2323145"/>
              <a:gd name="connsiteX188" fmla="*/ 2882689 w 11269336"/>
              <a:gd name="connsiteY188" fmla="*/ 2099228 h 2323145"/>
              <a:gd name="connsiteX189" fmla="*/ 2881291 w 11269336"/>
              <a:gd name="connsiteY189" fmla="*/ 2099618 h 2323145"/>
              <a:gd name="connsiteX190" fmla="*/ 2853979 w 11269336"/>
              <a:gd name="connsiteY190" fmla="*/ 2090388 h 2323145"/>
              <a:gd name="connsiteX191" fmla="*/ 2791790 w 11269336"/>
              <a:gd name="connsiteY191" fmla="*/ 2080332 h 2323145"/>
              <a:gd name="connsiteX192" fmla="*/ 2755844 w 11269336"/>
              <a:gd name="connsiteY192" fmla="*/ 2078874 h 2323145"/>
              <a:gd name="connsiteX193" fmla="*/ 2657742 w 11269336"/>
              <a:gd name="connsiteY193" fmla="*/ 2070179 h 2323145"/>
              <a:gd name="connsiteX194" fmla="*/ 2559549 w 11269336"/>
              <a:gd name="connsiteY194" fmla="*/ 2057873 h 2323145"/>
              <a:gd name="connsiteX195" fmla="*/ 2512054 w 11269336"/>
              <a:gd name="connsiteY195" fmla="*/ 2031671 h 2323145"/>
              <a:gd name="connsiteX196" fmla="*/ 2506437 w 11269336"/>
              <a:gd name="connsiteY196" fmla="*/ 2030918 h 2323145"/>
              <a:gd name="connsiteX197" fmla="*/ 2491752 w 11269336"/>
              <a:gd name="connsiteY197" fmla="*/ 2033906 h 2323145"/>
              <a:gd name="connsiteX198" fmla="*/ 2486338 w 11269336"/>
              <a:gd name="connsiteY198" fmla="*/ 2035862 h 2323145"/>
              <a:gd name="connsiteX199" fmla="*/ 2478186 w 11269336"/>
              <a:gd name="connsiteY199" fmla="*/ 2036953 h 2323145"/>
              <a:gd name="connsiteX200" fmla="*/ 2477950 w 11269336"/>
              <a:gd name="connsiteY200" fmla="*/ 2036715 h 2323145"/>
              <a:gd name="connsiteX201" fmla="*/ 2470381 w 11269336"/>
              <a:gd name="connsiteY201" fmla="*/ 2038256 h 2323145"/>
              <a:gd name="connsiteX202" fmla="*/ 2433781 w 11269336"/>
              <a:gd name="connsiteY202" fmla="*/ 2049140 h 2323145"/>
              <a:gd name="connsiteX203" fmla="*/ 2381172 w 11269336"/>
              <a:gd name="connsiteY203" fmla="*/ 2030645 h 2323145"/>
              <a:gd name="connsiteX204" fmla="*/ 2360198 w 11269336"/>
              <a:gd name="connsiteY204" fmla="*/ 2029059 h 2323145"/>
              <a:gd name="connsiteX205" fmla="*/ 2348815 w 11269336"/>
              <a:gd name="connsiteY205" fmla="*/ 2026798 h 2323145"/>
              <a:gd name="connsiteX206" fmla="*/ 2347988 w 11269336"/>
              <a:gd name="connsiteY206" fmla="*/ 2025745 h 2323145"/>
              <a:gd name="connsiteX207" fmla="*/ 2312920 w 11269336"/>
              <a:gd name="connsiteY207" fmla="*/ 2036311 h 2323145"/>
              <a:gd name="connsiteX208" fmla="*/ 2307986 w 11269336"/>
              <a:gd name="connsiteY208" fmla="*/ 2035583 h 2323145"/>
              <a:gd name="connsiteX209" fmla="*/ 2285481 w 11269336"/>
              <a:gd name="connsiteY209" fmla="*/ 2045197 h 2323145"/>
              <a:gd name="connsiteX210" fmla="*/ 2273666 w 11269336"/>
              <a:gd name="connsiteY210" fmla="*/ 2048710 h 2323145"/>
              <a:gd name="connsiteX211" fmla="*/ 2270719 w 11269336"/>
              <a:gd name="connsiteY211" fmla="*/ 2052702 h 2323145"/>
              <a:gd name="connsiteX212" fmla="*/ 2253080 w 11269336"/>
              <a:gd name="connsiteY212" fmla="*/ 2056363 h 2323145"/>
              <a:gd name="connsiteX213" fmla="*/ 2250906 w 11269336"/>
              <a:gd name="connsiteY213" fmla="*/ 2055654 h 2323145"/>
              <a:gd name="connsiteX214" fmla="*/ 2236905 w 11269336"/>
              <a:gd name="connsiteY214" fmla="*/ 2062882 h 2323145"/>
              <a:gd name="connsiteX215" fmla="*/ 2225830 w 11269336"/>
              <a:gd name="connsiteY215" fmla="*/ 2074027 h 2323145"/>
              <a:gd name="connsiteX216" fmla="*/ 2073776 w 11269336"/>
              <a:gd name="connsiteY216" fmla="*/ 2089244 h 2323145"/>
              <a:gd name="connsiteX217" fmla="*/ 1948256 w 11269336"/>
              <a:gd name="connsiteY217" fmla="*/ 2146616 h 2323145"/>
              <a:gd name="connsiteX218" fmla="*/ 1865582 w 11269336"/>
              <a:gd name="connsiteY218" fmla="*/ 2153738 h 2323145"/>
              <a:gd name="connsiteX219" fmla="*/ 1835210 w 11269336"/>
              <a:gd name="connsiteY219" fmla="*/ 2134244 h 2323145"/>
              <a:gd name="connsiteX220" fmla="*/ 1632661 w 11269336"/>
              <a:gd name="connsiteY220" fmla="*/ 2173882 h 2323145"/>
              <a:gd name="connsiteX221" fmla="*/ 1579590 w 11269336"/>
              <a:gd name="connsiteY221" fmla="*/ 2173680 h 2323145"/>
              <a:gd name="connsiteX222" fmla="*/ 1535601 w 11269336"/>
              <a:gd name="connsiteY222" fmla="*/ 2194590 h 2323145"/>
              <a:gd name="connsiteX223" fmla="*/ 1515594 w 11269336"/>
              <a:gd name="connsiteY223" fmla="*/ 2189622 h 2323145"/>
              <a:gd name="connsiteX224" fmla="*/ 1512113 w 11269336"/>
              <a:gd name="connsiteY224" fmla="*/ 2188534 h 2323145"/>
              <a:gd name="connsiteX225" fmla="*/ 1498838 w 11269336"/>
              <a:gd name="connsiteY225" fmla="*/ 2189213 h 2323145"/>
              <a:gd name="connsiteX226" fmla="*/ 1494279 w 11269336"/>
              <a:gd name="connsiteY226" fmla="*/ 2183112 h 2323145"/>
              <a:gd name="connsiteX227" fmla="*/ 1473714 w 11269336"/>
              <a:gd name="connsiteY227" fmla="*/ 2179625 h 2323145"/>
              <a:gd name="connsiteX228" fmla="*/ 1449503 w 11269336"/>
              <a:gd name="connsiteY228" fmla="*/ 2182633 h 2323145"/>
              <a:gd name="connsiteX229" fmla="*/ 1266687 w 11269336"/>
              <a:gd name="connsiteY229" fmla="*/ 2212688 h 2323145"/>
              <a:gd name="connsiteX230" fmla="*/ 1239614 w 11269336"/>
              <a:gd name="connsiteY230" fmla="*/ 2209727 h 2323145"/>
              <a:gd name="connsiteX231" fmla="*/ 1202436 w 11269336"/>
              <a:gd name="connsiteY231" fmla="*/ 2209817 h 2323145"/>
              <a:gd name="connsiteX232" fmla="*/ 1136097 w 11269336"/>
              <a:gd name="connsiteY232" fmla="*/ 2205112 h 2323145"/>
              <a:gd name="connsiteX233" fmla="*/ 988232 w 11269336"/>
              <a:gd name="connsiteY233" fmla="*/ 2235635 h 2323145"/>
              <a:gd name="connsiteX234" fmla="*/ 981959 w 11269336"/>
              <a:gd name="connsiteY234" fmla="*/ 2231607 h 2323145"/>
              <a:gd name="connsiteX235" fmla="*/ 938600 w 11269336"/>
              <a:gd name="connsiteY235" fmla="*/ 2238113 h 2323145"/>
              <a:gd name="connsiteX236" fmla="*/ 791788 w 11269336"/>
              <a:gd name="connsiteY236" fmla="*/ 2293224 h 2323145"/>
              <a:gd name="connsiteX237" fmla="*/ 706914 w 11269336"/>
              <a:gd name="connsiteY237" fmla="*/ 2305046 h 2323145"/>
              <a:gd name="connsiteX238" fmla="*/ 675971 w 11269336"/>
              <a:gd name="connsiteY238" fmla="*/ 2304030 h 2323145"/>
              <a:gd name="connsiteX239" fmla="*/ 624180 w 11269336"/>
              <a:gd name="connsiteY239" fmla="*/ 2302650 h 2323145"/>
              <a:gd name="connsiteX240" fmla="*/ 583453 w 11269336"/>
              <a:gd name="connsiteY240" fmla="*/ 2288788 h 2323145"/>
              <a:gd name="connsiteX241" fmla="*/ 540946 w 11269336"/>
              <a:gd name="connsiteY241" fmla="*/ 2292721 h 2323145"/>
              <a:gd name="connsiteX242" fmla="*/ 533680 w 11269336"/>
              <a:gd name="connsiteY242" fmla="*/ 2310233 h 2323145"/>
              <a:gd name="connsiteX243" fmla="*/ 487366 w 11269336"/>
              <a:gd name="connsiteY243" fmla="*/ 2309053 h 2323145"/>
              <a:gd name="connsiteX244" fmla="*/ 416820 w 11269336"/>
              <a:gd name="connsiteY244" fmla="*/ 2305443 h 2323145"/>
              <a:gd name="connsiteX245" fmla="*/ 376805 w 11269336"/>
              <a:gd name="connsiteY245" fmla="*/ 2307647 h 2323145"/>
              <a:gd name="connsiteX246" fmla="*/ 266777 w 11269336"/>
              <a:gd name="connsiteY246" fmla="*/ 2309012 h 2323145"/>
              <a:gd name="connsiteX247" fmla="*/ 156013 w 11269336"/>
              <a:gd name="connsiteY247" fmla="*/ 2306832 h 2323145"/>
              <a:gd name="connsiteX248" fmla="*/ 87258 w 11269336"/>
              <a:gd name="connsiteY248" fmla="*/ 2285511 h 2323145"/>
              <a:gd name="connsiteX249" fmla="*/ 23798 w 11269336"/>
              <a:gd name="connsiteY249" fmla="*/ 2281822 h 2323145"/>
              <a:gd name="connsiteX250" fmla="*/ 0 w 11269336"/>
              <a:gd name="connsiteY250" fmla="*/ 2285369 h 2323145"/>
              <a:gd name="connsiteX251" fmla="*/ 0 w 11269336"/>
              <a:gd name="connsiteY251" fmla="*/ 0 h 2323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</a:cxnLst>
            <a:rect l="l" t="t" r="r" b="b"/>
            <a:pathLst>
              <a:path w="11269336" h="2323145">
                <a:moveTo>
                  <a:pt x="0" y="0"/>
                </a:moveTo>
                <a:lnTo>
                  <a:pt x="11269336" y="0"/>
                </a:lnTo>
                <a:lnTo>
                  <a:pt x="11268645" y="511"/>
                </a:lnTo>
                <a:cubicBezTo>
                  <a:pt x="11257520" y="14091"/>
                  <a:pt x="11248967" y="32073"/>
                  <a:pt x="11230739" y="37096"/>
                </a:cubicBezTo>
                <a:cubicBezTo>
                  <a:pt x="11194283" y="47141"/>
                  <a:pt x="11124351" y="55013"/>
                  <a:pt x="11082485" y="78590"/>
                </a:cubicBezTo>
                <a:cubicBezTo>
                  <a:pt x="11064655" y="69818"/>
                  <a:pt x="11049588" y="97621"/>
                  <a:pt x="11031776" y="79197"/>
                </a:cubicBezTo>
                <a:cubicBezTo>
                  <a:pt x="11016683" y="85023"/>
                  <a:pt x="11009945" y="92832"/>
                  <a:pt x="10995894" y="83459"/>
                </a:cubicBezTo>
                <a:cubicBezTo>
                  <a:pt x="10971843" y="134740"/>
                  <a:pt x="10888992" y="106042"/>
                  <a:pt x="10861177" y="147419"/>
                </a:cubicBezTo>
                <a:cubicBezTo>
                  <a:pt x="10850370" y="129415"/>
                  <a:pt x="10807086" y="138624"/>
                  <a:pt x="10782732" y="135645"/>
                </a:cubicBezTo>
                <a:cubicBezTo>
                  <a:pt x="10869014" y="196205"/>
                  <a:pt x="10693356" y="147304"/>
                  <a:pt x="10660773" y="179312"/>
                </a:cubicBezTo>
                <a:cubicBezTo>
                  <a:pt x="10667385" y="121467"/>
                  <a:pt x="10595265" y="182241"/>
                  <a:pt x="10564442" y="160738"/>
                </a:cubicBezTo>
                <a:cubicBezTo>
                  <a:pt x="10544419" y="190949"/>
                  <a:pt x="10518436" y="167191"/>
                  <a:pt x="10490200" y="183533"/>
                </a:cubicBezTo>
                <a:cubicBezTo>
                  <a:pt x="10423905" y="202688"/>
                  <a:pt x="10362764" y="244779"/>
                  <a:pt x="10271351" y="243104"/>
                </a:cubicBezTo>
                <a:cubicBezTo>
                  <a:pt x="10247818" y="329775"/>
                  <a:pt x="10135674" y="303068"/>
                  <a:pt x="10061033" y="364937"/>
                </a:cubicBezTo>
                <a:cubicBezTo>
                  <a:pt x="10014289" y="383940"/>
                  <a:pt x="9930032" y="360289"/>
                  <a:pt x="9921770" y="406154"/>
                </a:cubicBezTo>
                <a:cubicBezTo>
                  <a:pt x="9894276" y="384665"/>
                  <a:pt x="9881945" y="430851"/>
                  <a:pt x="9858388" y="439489"/>
                </a:cubicBezTo>
                <a:cubicBezTo>
                  <a:pt x="9835642" y="426888"/>
                  <a:pt x="9828901" y="443125"/>
                  <a:pt x="9811914" y="449865"/>
                </a:cubicBezTo>
                <a:cubicBezTo>
                  <a:pt x="9801869" y="441287"/>
                  <a:pt x="9787055" y="444835"/>
                  <a:pt x="9784394" y="457816"/>
                </a:cubicBezTo>
                <a:cubicBezTo>
                  <a:pt x="9797169" y="483924"/>
                  <a:pt x="9656844" y="450179"/>
                  <a:pt x="9656836" y="469967"/>
                </a:cubicBezTo>
                <a:cubicBezTo>
                  <a:pt x="9589537" y="485301"/>
                  <a:pt x="9662097" y="527310"/>
                  <a:pt x="9561575" y="559978"/>
                </a:cubicBezTo>
                <a:cubicBezTo>
                  <a:pt x="9479149" y="599104"/>
                  <a:pt x="9215234" y="670585"/>
                  <a:pt x="9162278" y="704724"/>
                </a:cubicBezTo>
                <a:cubicBezTo>
                  <a:pt x="9173017" y="730567"/>
                  <a:pt x="9063215" y="727685"/>
                  <a:pt x="9062863" y="754656"/>
                </a:cubicBezTo>
                <a:cubicBezTo>
                  <a:pt x="9021608" y="774940"/>
                  <a:pt x="8924639" y="816390"/>
                  <a:pt x="8914746" y="826428"/>
                </a:cubicBezTo>
                <a:lnTo>
                  <a:pt x="8917778" y="835198"/>
                </a:lnTo>
                <a:lnTo>
                  <a:pt x="8905560" y="838358"/>
                </a:lnTo>
                <a:lnTo>
                  <a:pt x="8897564" y="834287"/>
                </a:lnTo>
                <a:lnTo>
                  <a:pt x="8878040" y="844150"/>
                </a:lnTo>
                <a:cubicBezTo>
                  <a:pt x="8861112" y="848992"/>
                  <a:pt x="8812843" y="856499"/>
                  <a:pt x="8795998" y="863337"/>
                </a:cubicBezTo>
                <a:cubicBezTo>
                  <a:pt x="8792888" y="873975"/>
                  <a:pt x="8786153" y="880792"/>
                  <a:pt x="8776970" y="885177"/>
                </a:cubicBezTo>
                <a:lnTo>
                  <a:pt x="8755719" y="889754"/>
                </a:lnTo>
                <a:lnTo>
                  <a:pt x="8743257" y="904723"/>
                </a:lnTo>
                <a:cubicBezTo>
                  <a:pt x="8737642" y="908108"/>
                  <a:pt x="8730651" y="908759"/>
                  <a:pt x="8721366" y="904711"/>
                </a:cubicBezTo>
                <a:cubicBezTo>
                  <a:pt x="8711895" y="915873"/>
                  <a:pt x="8676250" y="900745"/>
                  <a:pt x="8678353" y="926318"/>
                </a:cubicBezTo>
                <a:cubicBezTo>
                  <a:pt x="8658506" y="928813"/>
                  <a:pt x="8647569" y="933735"/>
                  <a:pt x="8636849" y="937900"/>
                </a:cubicBezTo>
                <a:lnTo>
                  <a:pt x="8620213" y="943068"/>
                </a:lnTo>
                <a:lnTo>
                  <a:pt x="8612581" y="952695"/>
                </a:lnTo>
                <a:cubicBezTo>
                  <a:pt x="8605836" y="959769"/>
                  <a:pt x="8598255" y="964412"/>
                  <a:pt x="8589038" y="963892"/>
                </a:cubicBezTo>
                <a:lnTo>
                  <a:pt x="8579950" y="960899"/>
                </a:lnTo>
                <a:cubicBezTo>
                  <a:pt x="8579740" y="962476"/>
                  <a:pt x="8579529" y="964053"/>
                  <a:pt x="8579319" y="965630"/>
                </a:cubicBezTo>
                <a:cubicBezTo>
                  <a:pt x="8579138" y="972972"/>
                  <a:pt x="8576531" y="980010"/>
                  <a:pt x="8547429" y="984506"/>
                </a:cubicBezTo>
                <a:cubicBezTo>
                  <a:pt x="8529238" y="1001725"/>
                  <a:pt x="8505565" y="1015840"/>
                  <a:pt x="8478704" y="1025490"/>
                </a:cubicBezTo>
                <a:cubicBezTo>
                  <a:pt x="8473109" y="1019545"/>
                  <a:pt x="8465819" y="1032194"/>
                  <a:pt x="8461421" y="1035512"/>
                </a:cubicBezTo>
                <a:cubicBezTo>
                  <a:pt x="8459739" y="1031087"/>
                  <a:pt x="8447663" y="1032074"/>
                  <a:pt x="8445003" y="1036851"/>
                </a:cubicBezTo>
                <a:cubicBezTo>
                  <a:pt x="8366593" y="1075951"/>
                  <a:pt x="8398773" y="1021402"/>
                  <a:pt x="8357350" y="1060213"/>
                </a:cubicBezTo>
                <a:cubicBezTo>
                  <a:pt x="8349366" y="1063843"/>
                  <a:pt x="8342208" y="1063367"/>
                  <a:pt x="8335565" y="1061151"/>
                </a:cubicBezTo>
                <a:lnTo>
                  <a:pt x="8325267" y="1055919"/>
                </a:lnTo>
                <a:lnTo>
                  <a:pt x="8293586" y="1076144"/>
                </a:lnTo>
                <a:cubicBezTo>
                  <a:pt x="8277595" y="1084193"/>
                  <a:pt x="8260401" y="1090863"/>
                  <a:pt x="8242405" y="1095960"/>
                </a:cubicBezTo>
                <a:cubicBezTo>
                  <a:pt x="8226373" y="1101227"/>
                  <a:pt x="8224213" y="1102052"/>
                  <a:pt x="8197391" y="1107746"/>
                </a:cubicBezTo>
                <a:cubicBezTo>
                  <a:pt x="8090266" y="1152133"/>
                  <a:pt x="8141491" y="1082372"/>
                  <a:pt x="8081474" y="1130125"/>
                </a:cubicBezTo>
                <a:cubicBezTo>
                  <a:pt x="8070634" y="1134173"/>
                  <a:pt x="8061619" y="1132810"/>
                  <a:pt x="8053585" y="1129169"/>
                </a:cubicBezTo>
                <a:lnTo>
                  <a:pt x="8038422" y="1119092"/>
                </a:lnTo>
                <a:lnTo>
                  <a:pt x="8029450" y="1125592"/>
                </a:lnTo>
                <a:cubicBezTo>
                  <a:pt x="7992226" y="1133484"/>
                  <a:pt x="7978616" y="1122765"/>
                  <a:pt x="7959552" y="1140188"/>
                </a:cubicBezTo>
                <a:cubicBezTo>
                  <a:pt x="7922008" y="1119572"/>
                  <a:pt x="7937737" y="1141786"/>
                  <a:pt x="7914188" y="1150862"/>
                </a:cubicBezTo>
                <a:cubicBezTo>
                  <a:pt x="7896037" y="1160155"/>
                  <a:pt x="7933463" y="1163411"/>
                  <a:pt x="7914918" y="1168758"/>
                </a:cubicBezTo>
                <a:cubicBezTo>
                  <a:pt x="7893102" y="1165887"/>
                  <a:pt x="7898453" y="1187420"/>
                  <a:pt x="7875510" y="1183153"/>
                </a:cubicBezTo>
                <a:cubicBezTo>
                  <a:pt x="7877354" y="1165743"/>
                  <a:pt x="7834286" y="1194789"/>
                  <a:pt x="7829932" y="1180782"/>
                </a:cubicBezTo>
                <a:cubicBezTo>
                  <a:pt x="7816047" y="1204874"/>
                  <a:pt x="7801901" y="1181513"/>
                  <a:pt x="7779182" y="1192665"/>
                </a:cubicBezTo>
                <a:cubicBezTo>
                  <a:pt x="7769446" y="1202686"/>
                  <a:pt x="7761564" y="1205661"/>
                  <a:pt x="7748774" y="1199586"/>
                </a:cubicBezTo>
                <a:cubicBezTo>
                  <a:pt x="7704339" y="1247771"/>
                  <a:pt x="7717626" y="1207638"/>
                  <a:pt x="7671846" y="1231966"/>
                </a:cubicBezTo>
                <a:cubicBezTo>
                  <a:pt x="7632956" y="1255682"/>
                  <a:pt x="7587383" y="1275180"/>
                  <a:pt x="7554146" y="1319748"/>
                </a:cubicBezTo>
                <a:cubicBezTo>
                  <a:pt x="7548775" y="1331557"/>
                  <a:pt x="7531272" y="1339155"/>
                  <a:pt x="7515052" y="1336718"/>
                </a:cubicBezTo>
                <a:cubicBezTo>
                  <a:pt x="7512260" y="1336298"/>
                  <a:pt x="7509613" y="1335590"/>
                  <a:pt x="7507193" y="1334617"/>
                </a:cubicBezTo>
                <a:cubicBezTo>
                  <a:pt x="7488273" y="1365207"/>
                  <a:pt x="7468925" y="1356298"/>
                  <a:pt x="7461694" y="1375866"/>
                </a:cubicBezTo>
                <a:cubicBezTo>
                  <a:pt x="7422434" y="1391917"/>
                  <a:pt x="7384603" y="1382819"/>
                  <a:pt x="7377571" y="1400128"/>
                </a:cubicBezTo>
                <a:cubicBezTo>
                  <a:pt x="7356236" y="1403926"/>
                  <a:pt x="7322509" y="1393138"/>
                  <a:pt x="7311261" y="1412652"/>
                </a:cubicBezTo>
                <a:cubicBezTo>
                  <a:pt x="7305349" y="1400071"/>
                  <a:pt x="7289966" y="1428039"/>
                  <a:pt x="7275307" y="1422171"/>
                </a:cubicBezTo>
                <a:cubicBezTo>
                  <a:pt x="7264529" y="1416601"/>
                  <a:pt x="7257348" y="1423786"/>
                  <a:pt x="7247783" y="1426330"/>
                </a:cubicBezTo>
                <a:cubicBezTo>
                  <a:pt x="7233839" y="1423056"/>
                  <a:pt x="7194363" y="1442037"/>
                  <a:pt x="7185047" y="1451812"/>
                </a:cubicBezTo>
                <a:cubicBezTo>
                  <a:pt x="7164447" y="1483396"/>
                  <a:pt x="7101577" y="1475742"/>
                  <a:pt x="7084117" y="1500281"/>
                </a:cubicBezTo>
                <a:cubicBezTo>
                  <a:pt x="7076899" y="1504821"/>
                  <a:pt x="7069494" y="1507565"/>
                  <a:pt x="7062011" y="1509183"/>
                </a:cubicBezTo>
                <a:lnTo>
                  <a:pt x="7040555" y="1511207"/>
                </a:lnTo>
                <a:lnTo>
                  <a:pt x="7033438" y="1506772"/>
                </a:lnTo>
                <a:lnTo>
                  <a:pt x="7020886" y="1510764"/>
                </a:lnTo>
                <a:lnTo>
                  <a:pt x="7017033" y="1510650"/>
                </a:lnTo>
                <a:lnTo>
                  <a:pt x="6995460" y="1511173"/>
                </a:lnTo>
                <a:cubicBezTo>
                  <a:pt x="7010208" y="1537643"/>
                  <a:pt x="6938512" y="1522467"/>
                  <a:pt x="6962144" y="1541508"/>
                </a:cubicBezTo>
                <a:cubicBezTo>
                  <a:pt x="6926351" y="1550586"/>
                  <a:pt x="6958236" y="1566326"/>
                  <a:pt x="6910674" y="1554793"/>
                </a:cubicBezTo>
                <a:cubicBezTo>
                  <a:pt x="6859225" y="1589274"/>
                  <a:pt x="6769015" y="1598548"/>
                  <a:pt x="6732152" y="1642538"/>
                </a:cubicBezTo>
                <a:cubicBezTo>
                  <a:pt x="6734901" y="1628031"/>
                  <a:pt x="6709146" y="1622413"/>
                  <a:pt x="6694106" y="1632377"/>
                </a:cubicBezTo>
                <a:cubicBezTo>
                  <a:pt x="6702628" y="1575914"/>
                  <a:pt x="6638899" y="1692862"/>
                  <a:pt x="6617223" y="1659889"/>
                </a:cubicBezTo>
                <a:cubicBezTo>
                  <a:pt x="6623246" y="1693349"/>
                  <a:pt x="6561228" y="1764690"/>
                  <a:pt x="6521138" y="1744340"/>
                </a:cubicBezTo>
                <a:cubicBezTo>
                  <a:pt x="6469831" y="1761656"/>
                  <a:pt x="6438109" y="1796731"/>
                  <a:pt x="6380677" y="1796883"/>
                </a:cubicBezTo>
                <a:cubicBezTo>
                  <a:pt x="6379865" y="1801686"/>
                  <a:pt x="6377810" y="1805986"/>
                  <a:pt x="6374897" y="1809910"/>
                </a:cubicBezTo>
                <a:lnTo>
                  <a:pt x="6364545" y="1820090"/>
                </a:lnTo>
                <a:lnTo>
                  <a:pt x="6362126" y="1819991"/>
                </a:lnTo>
                <a:cubicBezTo>
                  <a:pt x="6353055" y="1821720"/>
                  <a:pt x="6348796" y="1824537"/>
                  <a:pt x="6346673" y="1827824"/>
                </a:cubicBezTo>
                <a:lnTo>
                  <a:pt x="6345588" y="1832232"/>
                </a:lnTo>
                <a:lnTo>
                  <a:pt x="6335708" y="1838451"/>
                </a:lnTo>
                <a:lnTo>
                  <a:pt x="6318182" y="1852975"/>
                </a:lnTo>
                <a:lnTo>
                  <a:pt x="6313084" y="1853561"/>
                </a:lnTo>
                <a:lnTo>
                  <a:pt x="6283816" y="1872148"/>
                </a:lnTo>
                <a:lnTo>
                  <a:pt x="6282550" y="1871392"/>
                </a:lnTo>
                <a:cubicBezTo>
                  <a:pt x="6279041" y="1870121"/>
                  <a:pt x="6275192" y="1869982"/>
                  <a:pt x="6270527" y="1872208"/>
                </a:cubicBezTo>
                <a:cubicBezTo>
                  <a:pt x="6265029" y="1853962"/>
                  <a:pt x="6262790" y="1867903"/>
                  <a:pt x="6249518" y="1876079"/>
                </a:cubicBezTo>
                <a:cubicBezTo>
                  <a:pt x="6238019" y="1849564"/>
                  <a:pt x="6207959" y="1881750"/>
                  <a:pt x="6190386" y="1872478"/>
                </a:cubicBezTo>
                <a:cubicBezTo>
                  <a:pt x="6180893" y="1879083"/>
                  <a:pt x="6170646" y="1885584"/>
                  <a:pt x="6159777" y="1891745"/>
                </a:cubicBezTo>
                <a:lnTo>
                  <a:pt x="6153131" y="1895079"/>
                </a:lnTo>
                <a:lnTo>
                  <a:pt x="6152798" y="1894920"/>
                </a:lnTo>
                <a:cubicBezTo>
                  <a:pt x="6150925" y="1895166"/>
                  <a:pt x="6148578" y="1896082"/>
                  <a:pt x="6145388" y="1897990"/>
                </a:cubicBezTo>
                <a:lnTo>
                  <a:pt x="6141014" y="1901155"/>
                </a:lnTo>
                <a:lnTo>
                  <a:pt x="6128122" y="1907623"/>
                </a:lnTo>
                <a:lnTo>
                  <a:pt x="6122351" y="1908359"/>
                </a:lnTo>
                <a:cubicBezTo>
                  <a:pt x="6099508" y="1905910"/>
                  <a:pt x="6088334" y="1869006"/>
                  <a:pt x="6064750" y="1896394"/>
                </a:cubicBezTo>
                <a:cubicBezTo>
                  <a:pt x="6025977" y="1903785"/>
                  <a:pt x="5997095" y="1889190"/>
                  <a:pt x="5964230" y="1910038"/>
                </a:cubicBezTo>
                <a:cubicBezTo>
                  <a:pt x="5927910" y="1916874"/>
                  <a:pt x="5894873" y="1914928"/>
                  <a:pt x="5865399" y="1926966"/>
                </a:cubicBezTo>
                <a:cubicBezTo>
                  <a:pt x="5851644" y="1923038"/>
                  <a:pt x="5839380" y="1922808"/>
                  <a:pt x="5829951" y="1934755"/>
                </a:cubicBezTo>
                <a:cubicBezTo>
                  <a:pt x="5795498" y="1938369"/>
                  <a:pt x="5784532" y="1926246"/>
                  <a:pt x="5765285" y="1941322"/>
                </a:cubicBezTo>
                <a:cubicBezTo>
                  <a:pt x="5741789" y="1922874"/>
                  <a:pt x="5742385" y="1931607"/>
                  <a:pt x="5734750" y="1939793"/>
                </a:cubicBezTo>
                <a:lnTo>
                  <a:pt x="5733569" y="1940505"/>
                </a:lnTo>
                <a:lnTo>
                  <a:pt x="5730329" y="1937845"/>
                </a:lnTo>
                <a:lnTo>
                  <a:pt x="5724661" y="1937455"/>
                </a:lnTo>
                <a:lnTo>
                  <a:pt x="5710186" y="1941370"/>
                </a:lnTo>
                <a:lnTo>
                  <a:pt x="5704910" y="1943663"/>
                </a:lnTo>
                <a:cubicBezTo>
                  <a:pt x="5701213" y="1944937"/>
                  <a:pt x="5698678" y="1945391"/>
                  <a:pt x="5696836" y="1945271"/>
                </a:cubicBezTo>
                <a:lnTo>
                  <a:pt x="5696583" y="1945050"/>
                </a:lnTo>
                <a:lnTo>
                  <a:pt x="5689123" y="1947067"/>
                </a:lnTo>
                <a:cubicBezTo>
                  <a:pt x="5676655" y="1951072"/>
                  <a:pt x="5664639" y="1955533"/>
                  <a:pt x="5653291" y="1960245"/>
                </a:cubicBezTo>
                <a:cubicBezTo>
                  <a:pt x="5640346" y="1947636"/>
                  <a:pt x="5600180" y="1973739"/>
                  <a:pt x="5599385" y="1945198"/>
                </a:cubicBezTo>
                <a:cubicBezTo>
                  <a:pt x="5583913" y="1950736"/>
                  <a:pt x="5576590" y="1964134"/>
                  <a:pt x="5578300" y="1944963"/>
                </a:cubicBezTo>
                <a:cubicBezTo>
                  <a:pt x="5573104" y="1946266"/>
                  <a:pt x="5569560" y="1945382"/>
                  <a:pt x="5566758" y="1943441"/>
                </a:cubicBezTo>
                <a:lnTo>
                  <a:pt x="5565857" y="1942445"/>
                </a:lnTo>
                <a:lnTo>
                  <a:pt x="5531534" y="1955208"/>
                </a:lnTo>
                <a:lnTo>
                  <a:pt x="5526552" y="1954799"/>
                </a:lnTo>
                <a:lnTo>
                  <a:pt x="5504723" y="1965811"/>
                </a:lnTo>
                <a:lnTo>
                  <a:pt x="5493156" y="1970063"/>
                </a:lnTo>
                <a:lnTo>
                  <a:pt x="5490486" y="1974227"/>
                </a:lnTo>
                <a:cubicBezTo>
                  <a:pt x="5487271" y="1977077"/>
                  <a:pt x="5482233" y="1979045"/>
                  <a:pt x="5473107" y="1979001"/>
                </a:cubicBezTo>
                <a:lnTo>
                  <a:pt x="5470885" y="1978432"/>
                </a:lnTo>
                <a:lnTo>
                  <a:pt x="5457393" y="1986525"/>
                </a:lnTo>
                <a:cubicBezTo>
                  <a:pt x="5453194" y="1989853"/>
                  <a:pt x="5449663" y="1993721"/>
                  <a:pt x="5447102" y="1998329"/>
                </a:cubicBezTo>
                <a:cubicBezTo>
                  <a:pt x="5386283" y="2017364"/>
                  <a:pt x="5223545" y="2015483"/>
                  <a:pt x="5159151" y="2029640"/>
                </a:cubicBezTo>
                <a:cubicBezTo>
                  <a:pt x="5141359" y="2036610"/>
                  <a:pt x="5090827" y="2076822"/>
                  <a:pt x="5098838" y="2062961"/>
                </a:cubicBezTo>
                <a:cubicBezTo>
                  <a:pt x="5047883" y="2099457"/>
                  <a:pt x="4922007" y="2111466"/>
                  <a:pt x="4860988" y="2135698"/>
                </a:cubicBezTo>
                <a:cubicBezTo>
                  <a:pt x="4805413" y="2152292"/>
                  <a:pt x="4784714" y="2158665"/>
                  <a:pt x="4765388" y="2162525"/>
                </a:cubicBezTo>
                <a:cubicBezTo>
                  <a:pt x="4758560" y="2161978"/>
                  <a:pt x="4751823" y="2160531"/>
                  <a:pt x="4745033" y="2158859"/>
                </a:cubicBezTo>
                <a:lnTo>
                  <a:pt x="4741475" y="2157998"/>
                </a:lnTo>
                <a:lnTo>
                  <a:pt x="4728247" y="2159526"/>
                </a:lnTo>
                <a:lnTo>
                  <a:pt x="4723263" y="2153742"/>
                </a:lnTo>
                <a:lnTo>
                  <a:pt x="4593061" y="2171597"/>
                </a:lnTo>
                <a:lnTo>
                  <a:pt x="4405765" y="2199902"/>
                </a:lnTo>
                <a:cubicBezTo>
                  <a:pt x="4403942" y="2198353"/>
                  <a:pt x="4402457" y="2196614"/>
                  <a:pt x="4401354" y="2194745"/>
                </a:cubicBezTo>
                <a:lnTo>
                  <a:pt x="4366646" y="2198564"/>
                </a:lnTo>
                <a:lnTo>
                  <a:pt x="4354009" y="2204984"/>
                </a:lnTo>
                <a:lnTo>
                  <a:pt x="4348284" y="2205270"/>
                </a:lnTo>
                <a:lnTo>
                  <a:pt x="4333906" y="2205251"/>
                </a:lnTo>
                <a:cubicBezTo>
                  <a:pt x="4326429" y="2204713"/>
                  <a:pt x="4318024" y="2203940"/>
                  <a:pt x="4308819" y="2203822"/>
                </a:cubicBezTo>
                <a:lnTo>
                  <a:pt x="4301210" y="2204456"/>
                </a:lnTo>
                <a:lnTo>
                  <a:pt x="4283095" y="2198177"/>
                </a:lnTo>
                <a:cubicBezTo>
                  <a:pt x="4269863" y="2193337"/>
                  <a:pt x="4259612" y="2190345"/>
                  <a:pt x="4250119" y="2196342"/>
                </a:cubicBezTo>
                <a:cubicBezTo>
                  <a:pt x="4230702" y="2190559"/>
                  <a:pt x="4213171" y="2166890"/>
                  <a:pt x="4189203" y="2178994"/>
                </a:cubicBezTo>
                <a:cubicBezTo>
                  <a:pt x="4194512" y="2165594"/>
                  <a:pt x="4160734" y="2183257"/>
                  <a:pt x="4154035" y="2171950"/>
                </a:cubicBezTo>
                <a:cubicBezTo>
                  <a:pt x="4150098" y="2162547"/>
                  <a:pt x="4138934" y="2165714"/>
                  <a:pt x="4129569" y="2163850"/>
                </a:cubicBezTo>
                <a:cubicBezTo>
                  <a:pt x="4121391" y="2155090"/>
                  <a:pt x="4076089" y="2154737"/>
                  <a:pt x="4061250" y="2159236"/>
                </a:cubicBezTo>
                <a:cubicBezTo>
                  <a:pt x="4020618" y="2177811"/>
                  <a:pt x="3978175" y="2144465"/>
                  <a:pt x="3945480" y="2158279"/>
                </a:cubicBezTo>
                <a:cubicBezTo>
                  <a:pt x="3936362" y="2159139"/>
                  <a:pt x="3928502" y="2158369"/>
                  <a:pt x="3921468" y="2156588"/>
                </a:cubicBezTo>
                <a:lnTo>
                  <a:pt x="3903348" y="2149220"/>
                </a:lnTo>
                <a:lnTo>
                  <a:pt x="3901342" y="2142355"/>
                </a:lnTo>
                <a:lnTo>
                  <a:pt x="3888539" y="2140476"/>
                </a:lnTo>
                <a:lnTo>
                  <a:pt x="3885662" y="2138740"/>
                </a:lnTo>
                <a:cubicBezTo>
                  <a:pt x="3880178" y="2135398"/>
                  <a:pt x="3874645" y="2132286"/>
                  <a:pt x="3868627" y="2130023"/>
                </a:cubicBezTo>
                <a:cubicBezTo>
                  <a:pt x="3859240" y="2159198"/>
                  <a:pt x="3815892" y="2115590"/>
                  <a:pt x="3819177" y="2142111"/>
                </a:cubicBezTo>
                <a:cubicBezTo>
                  <a:pt x="3784478" y="2134756"/>
                  <a:pt x="3796708" y="2161930"/>
                  <a:pt x="3769100" y="2131731"/>
                </a:cubicBezTo>
                <a:cubicBezTo>
                  <a:pt x="3702423" y="2139704"/>
                  <a:pt x="3625642" y="2109386"/>
                  <a:pt x="3562752" y="2131785"/>
                </a:cubicBezTo>
                <a:cubicBezTo>
                  <a:pt x="3576244" y="2120400"/>
                  <a:pt x="3560801" y="2104591"/>
                  <a:pt x="3541402" y="2106821"/>
                </a:cubicBezTo>
                <a:cubicBezTo>
                  <a:pt x="3592232" y="2061584"/>
                  <a:pt x="3356194" y="2115384"/>
                  <a:pt x="3365341" y="2077638"/>
                </a:cubicBezTo>
                <a:cubicBezTo>
                  <a:pt x="3303594" y="2079161"/>
                  <a:pt x="3221644" y="2111487"/>
                  <a:pt x="3170922" y="2115957"/>
                </a:cubicBezTo>
                <a:cubicBezTo>
                  <a:pt x="3166532" y="2119769"/>
                  <a:pt x="3161579" y="2122617"/>
                  <a:pt x="3156256" y="2124773"/>
                </a:cubicBezTo>
                <a:lnTo>
                  <a:pt x="3140298" y="2129182"/>
                </a:lnTo>
                <a:lnTo>
                  <a:pt x="3138514" y="2128069"/>
                </a:lnTo>
                <a:cubicBezTo>
                  <a:pt x="3130169" y="2125710"/>
                  <a:pt x="3124679" y="2126336"/>
                  <a:pt x="3120467" y="2128281"/>
                </a:cubicBezTo>
                <a:lnTo>
                  <a:pt x="3116175" y="2131633"/>
                </a:lnTo>
                <a:lnTo>
                  <a:pt x="3103685" y="2132814"/>
                </a:lnTo>
                <a:lnTo>
                  <a:pt x="3078794" y="2137935"/>
                </a:lnTo>
                <a:lnTo>
                  <a:pt x="3074407" y="2136274"/>
                </a:lnTo>
                <a:lnTo>
                  <a:pt x="3037285" y="2139919"/>
                </a:lnTo>
                <a:lnTo>
                  <a:pt x="3036901" y="2138726"/>
                </a:lnTo>
                <a:cubicBezTo>
                  <a:pt x="3035193" y="2136135"/>
                  <a:pt x="3032337" y="2134379"/>
                  <a:pt x="3026996" y="2134322"/>
                </a:cubicBezTo>
                <a:cubicBezTo>
                  <a:pt x="3037063" y="2116196"/>
                  <a:pt x="3024412" y="2127308"/>
                  <a:pt x="3007772" y="2128742"/>
                </a:cubicBezTo>
                <a:cubicBezTo>
                  <a:pt x="3019697" y="2100910"/>
                  <a:pt x="2971305" y="2115987"/>
                  <a:pt x="2965030" y="2100494"/>
                </a:cubicBezTo>
                <a:cubicBezTo>
                  <a:pt x="2952539" y="2102174"/>
                  <a:pt x="2939545" y="2103445"/>
                  <a:pt x="2926342" y="2104155"/>
                </a:cubicBezTo>
                <a:lnTo>
                  <a:pt x="2918608" y="2104215"/>
                </a:lnTo>
                <a:cubicBezTo>
                  <a:pt x="2918564" y="2104122"/>
                  <a:pt x="2918519" y="2104030"/>
                  <a:pt x="2918475" y="2103937"/>
                </a:cubicBezTo>
                <a:cubicBezTo>
                  <a:pt x="2916840" y="2103354"/>
                  <a:pt x="2914314" y="2103149"/>
                  <a:pt x="2910360" y="2103444"/>
                </a:cubicBezTo>
                <a:lnTo>
                  <a:pt x="2904507" y="2104326"/>
                </a:lnTo>
                <a:lnTo>
                  <a:pt x="2889503" y="2104443"/>
                </a:lnTo>
                <a:lnTo>
                  <a:pt x="2884480" y="2102626"/>
                </a:lnTo>
                <a:lnTo>
                  <a:pt x="2882689" y="2099228"/>
                </a:lnTo>
                <a:lnTo>
                  <a:pt x="2881291" y="2099618"/>
                </a:lnTo>
                <a:cubicBezTo>
                  <a:pt x="2870663" y="2105606"/>
                  <a:pt x="2867338" y="2114210"/>
                  <a:pt x="2853979" y="2090388"/>
                </a:cubicBezTo>
                <a:cubicBezTo>
                  <a:pt x="2829652" y="2100099"/>
                  <a:pt x="2824975" y="2085577"/>
                  <a:pt x="2791790" y="2080332"/>
                </a:cubicBezTo>
                <a:cubicBezTo>
                  <a:pt x="2777850" y="2089504"/>
                  <a:pt x="2766709" y="2086170"/>
                  <a:pt x="2755844" y="2078874"/>
                </a:cubicBezTo>
                <a:cubicBezTo>
                  <a:pt x="2723488" y="2083049"/>
                  <a:pt x="2694065" y="2072780"/>
                  <a:pt x="2657742" y="2070179"/>
                </a:cubicBezTo>
                <a:cubicBezTo>
                  <a:pt x="2618372" y="2082020"/>
                  <a:pt x="2598368" y="2060559"/>
                  <a:pt x="2559549" y="2057873"/>
                </a:cubicBezTo>
                <a:cubicBezTo>
                  <a:pt x="2525789" y="2078403"/>
                  <a:pt x="2531908" y="2039838"/>
                  <a:pt x="2512054" y="2031671"/>
                </a:cubicBezTo>
                <a:lnTo>
                  <a:pt x="2506437" y="2030918"/>
                </a:lnTo>
                <a:lnTo>
                  <a:pt x="2491752" y="2033906"/>
                </a:lnTo>
                <a:lnTo>
                  <a:pt x="2486338" y="2035862"/>
                </a:lnTo>
                <a:cubicBezTo>
                  <a:pt x="2482568" y="2036899"/>
                  <a:pt x="2480011" y="2037191"/>
                  <a:pt x="2478186" y="2036953"/>
                </a:cubicBezTo>
                <a:lnTo>
                  <a:pt x="2477950" y="2036715"/>
                </a:lnTo>
                <a:lnTo>
                  <a:pt x="2470381" y="2038256"/>
                </a:lnTo>
                <a:cubicBezTo>
                  <a:pt x="2457686" y="2041461"/>
                  <a:pt x="2445410" y="2045155"/>
                  <a:pt x="2433781" y="2049140"/>
                </a:cubicBezTo>
                <a:cubicBezTo>
                  <a:pt x="2421781" y="2035703"/>
                  <a:pt x="2379959" y="2059234"/>
                  <a:pt x="2381172" y="2030645"/>
                </a:cubicBezTo>
                <a:cubicBezTo>
                  <a:pt x="2365380" y="2035192"/>
                  <a:pt x="2357148" y="2048120"/>
                  <a:pt x="2360198" y="2029059"/>
                </a:cubicBezTo>
                <a:cubicBezTo>
                  <a:pt x="2354933" y="2030031"/>
                  <a:pt x="2351467" y="2028919"/>
                  <a:pt x="2348815" y="2026798"/>
                </a:cubicBezTo>
                <a:lnTo>
                  <a:pt x="2347988" y="2025745"/>
                </a:lnTo>
                <a:lnTo>
                  <a:pt x="2312920" y="2036311"/>
                </a:lnTo>
                <a:lnTo>
                  <a:pt x="2307986" y="2035583"/>
                </a:lnTo>
                <a:lnTo>
                  <a:pt x="2285481" y="2045197"/>
                </a:lnTo>
                <a:lnTo>
                  <a:pt x="2273666" y="2048710"/>
                </a:lnTo>
                <a:lnTo>
                  <a:pt x="2270719" y="2052702"/>
                </a:lnTo>
                <a:cubicBezTo>
                  <a:pt x="2267315" y="2055347"/>
                  <a:pt x="2262161" y="2056992"/>
                  <a:pt x="2253080" y="2056363"/>
                </a:cubicBezTo>
                <a:lnTo>
                  <a:pt x="2250906" y="2055654"/>
                </a:lnTo>
                <a:lnTo>
                  <a:pt x="2236905" y="2062882"/>
                </a:lnTo>
                <a:cubicBezTo>
                  <a:pt x="2232493" y="2065942"/>
                  <a:pt x="2228705" y="2069583"/>
                  <a:pt x="2225830" y="2074027"/>
                </a:cubicBezTo>
                <a:cubicBezTo>
                  <a:pt x="2173117" y="2059597"/>
                  <a:pt x="2128486" y="2085502"/>
                  <a:pt x="2073776" y="2089244"/>
                </a:cubicBezTo>
                <a:cubicBezTo>
                  <a:pt x="2046050" y="2059365"/>
                  <a:pt x="1957570" y="2112693"/>
                  <a:pt x="1948256" y="2146616"/>
                </a:cubicBezTo>
                <a:cubicBezTo>
                  <a:pt x="1943005" y="2109192"/>
                  <a:pt x="1832736" y="2206239"/>
                  <a:pt x="1865582" y="2153738"/>
                </a:cubicBezTo>
                <a:cubicBezTo>
                  <a:pt x="1847376" y="2159567"/>
                  <a:pt x="1826258" y="2147592"/>
                  <a:pt x="1835210" y="2134244"/>
                </a:cubicBezTo>
                <a:cubicBezTo>
                  <a:pt x="1781916" y="2167476"/>
                  <a:pt x="1695112" y="2153556"/>
                  <a:pt x="1632661" y="2173882"/>
                </a:cubicBezTo>
                <a:cubicBezTo>
                  <a:pt x="1594177" y="2150642"/>
                  <a:pt x="1616426" y="2173975"/>
                  <a:pt x="1579590" y="2173680"/>
                </a:cubicBezTo>
                <a:cubicBezTo>
                  <a:pt x="1592812" y="2198112"/>
                  <a:pt x="1533818" y="2165220"/>
                  <a:pt x="1535601" y="2194590"/>
                </a:cubicBezTo>
                <a:cubicBezTo>
                  <a:pt x="1528840" y="2193608"/>
                  <a:pt x="1522236" y="2191728"/>
                  <a:pt x="1515594" y="2189622"/>
                </a:cubicBezTo>
                <a:lnTo>
                  <a:pt x="1512113" y="2188534"/>
                </a:lnTo>
                <a:lnTo>
                  <a:pt x="1498838" y="2189213"/>
                </a:lnTo>
                <a:lnTo>
                  <a:pt x="1494279" y="2183112"/>
                </a:lnTo>
                <a:lnTo>
                  <a:pt x="1473714" y="2179625"/>
                </a:lnTo>
                <a:cubicBezTo>
                  <a:pt x="1466138" y="2179292"/>
                  <a:pt x="1458132" y="2180071"/>
                  <a:pt x="1449503" y="2182633"/>
                </a:cubicBezTo>
                <a:lnTo>
                  <a:pt x="1266687" y="2212688"/>
                </a:lnTo>
                <a:cubicBezTo>
                  <a:pt x="1256792" y="2212722"/>
                  <a:pt x="1247024" y="2217857"/>
                  <a:pt x="1239614" y="2209727"/>
                </a:cubicBezTo>
                <a:cubicBezTo>
                  <a:pt x="1228778" y="2200326"/>
                  <a:pt x="1202276" y="2223497"/>
                  <a:pt x="1202436" y="2209817"/>
                </a:cubicBezTo>
                <a:cubicBezTo>
                  <a:pt x="1183471" y="2225854"/>
                  <a:pt x="1157340" y="2206849"/>
                  <a:pt x="1136097" y="2205112"/>
                </a:cubicBezTo>
                <a:cubicBezTo>
                  <a:pt x="1100396" y="2209415"/>
                  <a:pt x="1013922" y="2231219"/>
                  <a:pt x="988232" y="2235635"/>
                </a:cubicBezTo>
                <a:cubicBezTo>
                  <a:pt x="986445" y="2234079"/>
                  <a:pt x="984332" y="2232722"/>
                  <a:pt x="981959" y="2231607"/>
                </a:cubicBezTo>
                <a:cubicBezTo>
                  <a:pt x="968170" y="2225130"/>
                  <a:pt x="948759" y="2228043"/>
                  <a:pt x="938600" y="2238113"/>
                </a:cubicBezTo>
                <a:cubicBezTo>
                  <a:pt x="888371" y="2272824"/>
                  <a:pt x="837950" y="2280135"/>
                  <a:pt x="791788" y="2293224"/>
                </a:cubicBezTo>
                <a:cubicBezTo>
                  <a:pt x="739035" y="2305159"/>
                  <a:pt x="769009" y="2269676"/>
                  <a:pt x="706914" y="2305046"/>
                </a:cubicBezTo>
                <a:cubicBezTo>
                  <a:pt x="697882" y="2295919"/>
                  <a:pt x="689339" y="2296797"/>
                  <a:pt x="675971" y="2304030"/>
                </a:cubicBezTo>
                <a:cubicBezTo>
                  <a:pt x="650201" y="2309060"/>
                  <a:pt x="647591" y="2282853"/>
                  <a:pt x="624180" y="2302650"/>
                </a:cubicBezTo>
                <a:cubicBezTo>
                  <a:pt x="626400" y="2287987"/>
                  <a:pt x="574045" y="2305175"/>
                  <a:pt x="583453" y="2288788"/>
                </a:cubicBezTo>
                <a:cubicBezTo>
                  <a:pt x="564313" y="2278832"/>
                  <a:pt x="559671" y="2301039"/>
                  <a:pt x="540946" y="2292721"/>
                </a:cubicBezTo>
                <a:cubicBezTo>
                  <a:pt x="521576" y="2293191"/>
                  <a:pt x="554439" y="2305843"/>
                  <a:pt x="533680" y="2310233"/>
                </a:cubicBezTo>
                <a:cubicBezTo>
                  <a:pt x="508069" y="2313043"/>
                  <a:pt x="512638" y="2338541"/>
                  <a:pt x="487366" y="2309053"/>
                </a:cubicBezTo>
                <a:cubicBezTo>
                  <a:pt x="462164" y="2321083"/>
                  <a:pt x="454441" y="2307251"/>
                  <a:pt x="416820" y="2305443"/>
                </a:cubicBezTo>
                <a:cubicBezTo>
                  <a:pt x="403012" y="2315890"/>
                  <a:pt x="390105" y="2313733"/>
                  <a:pt x="376805" y="2307647"/>
                </a:cubicBezTo>
                <a:cubicBezTo>
                  <a:pt x="341751" y="2315035"/>
                  <a:pt x="307408" y="2307897"/>
                  <a:pt x="266777" y="2309012"/>
                </a:cubicBezTo>
                <a:cubicBezTo>
                  <a:pt x="225310" y="2324664"/>
                  <a:pt x="199419" y="2305548"/>
                  <a:pt x="156013" y="2306832"/>
                </a:cubicBezTo>
                <a:cubicBezTo>
                  <a:pt x="117457" y="2333851"/>
                  <a:pt x="122965" y="2279562"/>
                  <a:pt x="87258" y="2285511"/>
                </a:cubicBezTo>
                <a:cubicBezTo>
                  <a:pt x="38977" y="2309189"/>
                  <a:pt x="74043" y="2277969"/>
                  <a:pt x="23798" y="2281822"/>
                </a:cubicBezTo>
                <a:lnTo>
                  <a:pt x="0" y="2285369"/>
                </a:lnTo>
                <a:lnTo>
                  <a:pt x="0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F9072787-C156-4A2E-8066-A0436A5564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7973" y="393380"/>
            <a:ext cx="7655427" cy="739881"/>
          </a:xfrm>
        </p:spPr>
        <p:txBody>
          <a:bodyPr>
            <a:normAutofit fontScale="90000"/>
          </a:bodyPr>
          <a:lstStyle/>
          <a:p>
            <a:pPr algn="l"/>
            <a:r>
              <a:rPr lang="pl-PL" sz="3600" b="1" dirty="0"/>
              <a:t>Etapy procesu planowania strategicznego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E763B7BE-2864-3EF8-BB02-5A1D1B24F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4221" y="1133262"/>
            <a:ext cx="5934979" cy="393377"/>
          </a:xfrm>
        </p:spPr>
        <p:txBody>
          <a:bodyPr>
            <a:normAutofit/>
          </a:bodyPr>
          <a:lstStyle/>
          <a:p>
            <a:pPr algn="l"/>
            <a:r>
              <a:rPr lang="pl-PL" sz="1600" dirty="0"/>
              <a:t>(</a:t>
            </a:r>
            <a:r>
              <a:rPr lang="pl-PL" sz="1600" dirty="0" err="1"/>
              <a:t>European</a:t>
            </a:r>
            <a:r>
              <a:rPr lang="pl-PL" sz="1600" dirty="0"/>
              <a:t> </a:t>
            </a:r>
            <a:r>
              <a:rPr lang="pl-PL" sz="1600" dirty="0" err="1"/>
              <a:t>Handball</a:t>
            </a:r>
            <a:r>
              <a:rPr lang="pl-PL" sz="1600" dirty="0"/>
              <a:t> </a:t>
            </a:r>
            <a:r>
              <a:rPr lang="pl-PL" sz="1600" dirty="0" err="1"/>
              <a:t>Federation</a:t>
            </a:r>
            <a:r>
              <a:rPr lang="pl-PL" sz="1600" dirty="0"/>
              <a:t>, PZPN)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78721260-DD60-7F0B-1CEA-BCB580006D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307088" y="6277971"/>
            <a:ext cx="6884912" cy="580030"/>
          </a:xfrm>
          <a:custGeom>
            <a:avLst/>
            <a:gdLst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59043 h 1161397"/>
              <a:gd name="connsiteX5" fmla="*/ 119094 w 6884912"/>
              <a:gd name="connsiteY5" fmla="*/ 1148463 h 1161397"/>
              <a:gd name="connsiteX6" fmla="*/ 171824 w 6884912"/>
              <a:gd name="connsiteY6" fmla="*/ 1133224 h 1161397"/>
              <a:gd name="connsiteX7" fmla="*/ 376455 w 6884912"/>
              <a:gd name="connsiteY7" fmla="*/ 1137381 h 1161397"/>
              <a:gd name="connsiteX8" fmla="*/ 478946 w 6884912"/>
              <a:gd name="connsiteY8" fmla="*/ 1106011 h 1161397"/>
              <a:gd name="connsiteX9" fmla="*/ 512111 w 6884912"/>
              <a:gd name="connsiteY9" fmla="*/ 1085599 h 1161397"/>
              <a:gd name="connsiteX10" fmla="*/ 567875 w 6884912"/>
              <a:gd name="connsiteY10" fmla="*/ 1051976 h 1161397"/>
              <a:gd name="connsiteX11" fmla="*/ 601644 w 6884912"/>
              <a:gd name="connsiteY11" fmla="*/ 1003997 h 1161397"/>
              <a:gd name="connsiteX12" fmla="*/ 651408 w 6884912"/>
              <a:gd name="connsiteY12" fmla="*/ 984938 h 1161397"/>
              <a:gd name="connsiteX13" fmla="*/ 673197 w 6884912"/>
              <a:gd name="connsiteY13" fmla="*/ 1010060 h 1161397"/>
              <a:gd name="connsiteX14" fmla="*/ 723108 w 6884912"/>
              <a:gd name="connsiteY14" fmla="*/ 980081 h 1161397"/>
              <a:gd name="connsiteX15" fmla="*/ 797699 w 6884912"/>
              <a:gd name="connsiteY15" fmla="*/ 931362 h 1161397"/>
              <a:gd name="connsiteX16" fmla="*/ 843359 w 6884912"/>
              <a:gd name="connsiteY16" fmla="*/ 910894 h 1161397"/>
              <a:gd name="connsiteX17" fmla="*/ 965215 w 6884912"/>
              <a:gd name="connsiteY17" fmla="*/ 846701 h 1161397"/>
              <a:gd name="connsiteX18" fmla="*/ 1085080 w 6884912"/>
              <a:gd name="connsiteY18" fmla="*/ 776086 h 1161397"/>
              <a:gd name="connsiteX19" fmla="*/ 1131224 w 6884912"/>
              <a:gd name="connsiteY19" fmla="*/ 706160 h 1161397"/>
              <a:gd name="connsiteX20" fmla="*/ 1138051 w 6884912"/>
              <a:gd name="connsiteY20" fmla="*/ 702034 h 1161397"/>
              <a:gd name="connsiteX21" fmla="*/ 1158800 w 6884912"/>
              <a:gd name="connsiteY21" fmla="*/ 700004 h 1161397"/>
              <a:gd name="connsiteX22" fmla="*/ 1166947 w 6884912"/>
              <a:gd name="connsiteY22" fmla="*/ 700762 h 1161397"/>
              <a:gd name="connsiteX23" fmla="*/ 1178135 w 6884912"/>
              <a:gd name="connsiteY23" fmla="*/ 698631 h 1161397"/>
              <a:gd name="connsiteX24" fmla="*/ 1178301 w 6884912"/>
              <a:gd name="connsiteY24" fmla="*/ 698094 h 1161397"/>
              <a:gd name="connsiteX25" fmla="*/ 1188995 w 6884912"/>
              <a:gd name="connsiteY25" fmla="*/ 697048 h 1161397"/>
              <a:gd name="connsiteX26" fmla="*/ 1242716 w 6884912"/>
              <a:gd name="connsiteY26" fmla="*/ 698052 h 1161397"/>
              <a:gd name="connsiteX27" fmla="*/ 1299977 w 6884912"/>
              <a:gd name="connsiteY27" fmla="*/ 639196 h 1161397"/>
              <a:gd name="connsiteX28" fmla="*/ 1326190 w 6884912"/>
              <a:gd name="connsiteY28" fmla="*/ 625955 h 1161397"/>
              <a:gd name="connsiteX29" fmla="*/ 1339600 w 6884912"/>
              <a:gd name="connsiteY29" fmla="*/ 616295 h 1161397"/>
              <a:gd name="connsiteX30" fmla="*/ 1340054 w 6884912"/>
              <a:gd name="connsiteY30" fmla="*/ 614022 h 1161397"/>
              <a:gd name="connsiteX31" fmla="*/ 1391606 w 6884912"/>
              <a:gd name="connsiteY31" fmla="*/ 615229 h 1161397"/>
              <a:gd name="connsiteX32" fmla="*/ 1397565 w 6884912"/>
              <a:gd name="connsiteY32" fmla="*/ 611490 h 1161397"/>
              <a:gd name="connsiteX33" fmla="*/ 1432302 w 6884912"/>
              <a:gd name="connsiteY33" fmla="*/ 617267 h 1161397"/>
              <a:gd name="connsiteX34" fmla="*/ 1449644 w 6884912"/>
              <a:gd name="connsiteY34" fmla="*/ 617591 h 1161397"/>
              <a:gd name="connsiteX35" fmla="*/ 1455793 w 6884912"/>
              <a:gd name="connsiteY35" fmla="*/ 623174 h 1161397"/>
              <a:gd name="connsiteX36" fmla="*/ 1480758 w 6884912"/>
              <a:gd name="connsiteY36" fmla="*/ 620863 h 1161397"/>
              <a:gd name="connsiteX37" fmla="*/ 1483154 w 6884912"/>
              <a:gd name="connsiteY37" fmla="*/ 618527 h 1161397"/>
              <a:gd name="connsiteX38" fmla="*/ 1505495 w 6884912"/>
              <a:gd name="connsiteY38" fmla="*/ 624325 h 1161397"/>
              <a:gd name="connsiteX39" fmla="*/ 1526340 w 6884912"/>
              <a:gd name="connsiteY39" fmla="*/ 638496 h 1161397"/>
              <a:gd name="connsiteX40" fmla="*/ 1731986 w 6884912"/>
              <a:gd name="connsiteY40" fmla="*/ 589682 h 1161397"/>
              <a:gd name="connsiteX41" fmla="*/ 1927935 w 6884912"/>
              <a:gd name="connsiteY41" fmla="*/ 628540 h 1161397"/>
              <a:gd name="connsiteX42" fmla="*/ 2039075 w 6884912"/>
              <a:gd name="connsiteY42" fmla="*/ 599964 h 1161397"/>
              <a:gd name="connsiteX43" fmla="*/ 2066980 w 6884912"/>
              <a:gd name="connsiteY43" fmla="*/ 550413 h 1161397"/>
              <a:gd name="connsiteX44" fmla="*/ 2352236 w 6884912"/>
              <a:gd name="connsiteY44" fmla="*/ 519602 h 1161397"/>
              <a:gd name="connsiteX45" fmla="*/ 2420791 w 6884912"/>
              <a:gd name="connsiteY45" fmla="*/ 492826 h 1161397"/>
              <a:gd name="connsiteX46" fmla="*/ 2489932 w 6884912"/>
              <a:gd name="connsiteY46" fmla="*/ 507864 h 1161397"/>
              <a:gd name="connsiteX47" fmla="*/ 2512917 w 6884912"/>
              <a:gd name="connsiteY47" fmla="*/ 489127 h 1161397"/>
              <a:gd name="connsiteX48" fmla="*/ 2516783 w 6884912"/>
              <a:gd name="connsiteY48" fmla="*/ 485473 h 1161397"/>
              <a:gd name="connsiteX49" fmla="*/ 2534360 w 6884912"/>
              <a:gd name="connsiteY49" fmla="*/ 480064 h 1161397"/>
              <a:gd name="connsiteX50" fmla="*/ 2536691 w 6884912"/>
              <a:gd name="connsiteY50" fmla="*/ 467018 h 1161397"/>
              <a:gd name="connsiteX51" fmla="*/ 2561265 w 6884912"/>
              <a:gd name="connsiteY51" fmla="*/ 450623 h 1161397"/>
              <a:gd name="connsiteX52" fmla="*/ 2594349 w 6884912"/>
              <a:gd name="connsiteY52" fmla="*/ 443884 h 1161397"/>
              <a:gd name="connsiteX53" fmla="*/ 2754324 w 6884912"/>
              <a:gd name="connsiteY53" fmla="*/ 424766 h 1161397"/>
              <a:gd name="connsiteX54" fmla="*/ 2848470 w 6884912"/>
              <a:gd name="connsiteY54" fmla="*/ 405966 h 1161397"/>
              <a:gd name="connsiteX55" fmla="*/ 2881772 w 6884912"/>
              <a:gd name="connsiteY55" fmla="*/ 387260 h 1161397"/>
              <a:gd name="connsiteX56" fmla="*/ 2929932 w 6884912"/>
              <a:gd name="connsiteY56" fmla="*/ 368912 h 1161397"/>
              <a:gd name="connsiteX57" fmla="*/ 3013020 w 6884912"/>
              <a:gd name="connsiteY57" fmla="*/ 327578 h 1161397"/>
              <a:gd name="connsiteX58" fmla="*/ 3127968 w 6884912"/>
              <a:gd name="connsiteY58" fmla="*/ 287613 h 1161397"/>
              <a:gd name="connsiteX59" fmla="*/ 3222191 w 6884912"/>
              <a:gd name="connsiteY59" fmla="*/ 307887 h 1161397"/>
              <a:gd name="connsiteX60" fmla="*/ 3227953 w 6884912"/>
              <a:gd name="connsiteY60" fmla="*/ 297650 h 1161397"/>
              <a:gd name="connsiteX61" fmla="*/ 3287859 w 6884912"/>
              <a:gd name="connsiteY61" fmla="*/ 287558 h 1161397"/>
              <a:gd name="connsiteX62" fmla="*/ 3510042 w 6884912"/>
              <a:gd name="connsiteY62" fmla="*/ 311820 h 1161397"/>
              <a:gd name="connsiteX63" fmla="*/ 3626773 w 6884912"/>
              <a:gd name="connsiteY63" fmla="*/ 290452 h 1161397"/>
              <a:gd name="connsiteX64" fmla="*/ 3666217 w 6884912"/>
              <a:gd name="connsiteY64" fmla="*/ 273255 h 1161397"/>
              <a:gd name="connsiteX65" fmla="*/ 3732427 w 6884912"/>
              <a:gd name="connsiteY65" fmla="*/ 245039 h 1161397"/>
              <a:gd name="connsiteX66" fmla="*/ 3777022 w 6884912"/>
              <a:gd name="connsiteY66" fmla="*/ 200276 h 1161397"/>
              <a:gd name="connsiteX67" fmla="*/ 3791246 w 6884912"/>
              <a:gd name="connsiteY67" fmla="*/ 189996 h 1161397"/>
              <a:gd name="connsiteX68" fmla="*/ 3819864 w 6884912"/>
              <a:gd name="connsiteY68" fmla="*/ 194605 h 1161397"/>
              <a:gd name="connsiteX69" fmla="*/ 3830398 w 6884912"/>
              <a:gd name="connsiteY69" fmla="*/ 188383 h 1161397"/>
              <a:gd name="connsiteX70" fmla="*/ 3834360 w 6884912"/>
              <a:gd name="connsiteY70" fmla="*/ 188992 h 1161397"/>
              <a:gd name="connsiteX71" fmla="*/ 3843715 w 6884912"/>
              <a:gd name="connsiteY71" fmla="*/ 188752 h 1161397"/>
              <a:gd name="connsiteX72" fmla="*/ 3842609 w 6884912"/>
              <a:gd name="connsiteY72" fmla="*/ 197386 h 1161397"/>
              <a:gd name="connsiteX73" fmla="*/ 3853961 w 6884912"/>
              <a:gd name="connsiteY73" fmla="*/ 213380 h 1161397"/>
              <a:gd name="connsiteX74" fmla="*/ 3907640 w 6884912"/>
              <a:gd name="connsiteY74" fmla="*/ 207568 h 1161397"/>
              <a:gd name="connsiteX75" fmla="*/ 3910449 w 6884912"/>
              <a:gd name="connsiteY75" fmla="*/ 197808 h 1161397"/>
              <a:gd name="connsiteX76" fmla="*/ 3917197 w 6884912"/>
              <a:gd name="connsiteY76" fmla="*/ 196121 h 1161397"/>
              <a:gd name="connsiteX77" fmla="*/ 3922400 w 6884912"/>
              <a:gd name="connsiteY77" fmla="*/ 205056 h 1161397"/>
              <a:gd name="connsiteX78" fmla="*/ 4013061 w 6884912"/>
              <a:gd name="connsiteY78" fmla="*/ 224874 h 1161397"/>
              <a:gd name="connsiteX79" fmla="*/ 4134285 w 6884912"/>
              <a:gd name="connsiteY79" fmla="*/ 235592 h 1161397"/>
              <a:gd name="connsiteX80" fmla="*/ 4220717 w 6884912"/>
              <a:gd name="connsiteY80" fmla="*/ 192946 h 1161397"/>
              <a:gd name="connsiteX81" fmla="*/ 4228802 w 6884912"/>
              <a:gd name="connsiteY81" fmla="*/ 201468 h 1161397"/>
              <a:gd name="connsiteX82" fmla="*/ 4289361 w 6884912"/>
              <a:gd name="connsiteY82" fmla="*/ 196642 h 1161397"/>
              <a:gd name="connsiteX83" fmla="*/ 4498913 w 6884912"/>
              <a:gd name="connsiteY83" fmla="*/ 118915 h 1161397"/>
              <a:gd name="connsiteX84" fmla="*/ 4617330 w 6884912"/>
              <a:gd name="connsiteY84" fmla="*/ 111163 h 1161397"/>
              <a:gd name="connsiteX85" fmla="*/ 4659778 w 6884912"/>
              <a:gd name="connsiteY85" fmla="*/ 118219 h 1161397"/>
              <a:gd name="connsiteX86" fmla="*/ 4730870 w 6884912"/>
              <a:gd name="connsiteY86" fmla="*/ 129432 h 1161397"/>
              <a:gd name="connsiteX87" fmla="*/ 4785037 w 6884912"/>
              <a:gd name="connsiteY87" fmla="*/ 161964 h 1161397"/>
              <a:gd name="connsiteX88" fmla="*/ 4844073 w 6884912"/>
              <a:gd name="connsiteY88" fmla="*/ 161768 h 1161397"/>
              <a:gd name="connsiteX89" fmla="*/ 4856454 w 6884912"/>
              <a:gd name="connsiteY89" fmla="*/ 130488 h 1161397"/>
              <a:gd name="connsiteX90" fmla="*/ 4920038 w 6884912"/>
              <a:gd name="connsiteY90" fmla="*/ 140418 h 1161397"/>
              <a:gd name="connsiteX91" fmla="*/ 5016639 w 6884912"/>
              <a:gd name="connsiteY91" fmla="*/ 158905 h 1161397"/>
              <a:gd name="connsiteX92" fmla="*/ 5072009 w 6884912"/>
              <a:gd name="connsiteY92" fmla="*/ 161502 h 1161397"/>
              <a:gd name="connsiteX93" fmla="*/ 5223626 w 6884912"/>
              <a:gd name="connsiteY93" fmla="*/ 177356 h 1161397"/>
              <a:gd name="connsiteX94" fmla="*/ 5375773 w 6884912"/>
              <a:gd name="connsiteY94" fmla="*/ 199913 h 1161397"/>
              <a:gd name="connsiteX95" fmla="*/ 5467502 w 6884912"/>
              <a:gd name="connsiteY95" fmla="*/ 250963 h 1161397"/>
              <a:gd name="connsiteX96" fmla="*/ 5592395 w 6884912"/>
              <a:gd name="connsiteY96" fmla="*/ 265434 h 1161397"/>
              <a:gd name="connsiteX97" fmla="*/ 5613532 w 6884912"/>
              <a:gd name="connsiteY97" fmla="*/ 273379 h 1161397"/>
              <a:gd name="connsiteX98" fmla="*/ 5642173 w 6884912"/>
              <a:gd name="connsiteY98" fmla="*/ 266904 h 1161397"/>
              <a:gd name="connsiteX99" fmla="*/ 5756910 w 6884912"/>
              <a:gd name="connsiteY99" fmla="*/ 239211 h 1161397"/>
              <a:gd name="connsiteX100" fmla="*/ 5846667 w 6884912"/>
              <a:gd name="connsiteY100" fmla="*/ 201786 h 1161397"/>
              <a:gd name="connsiteX101" fmla="*/ 5960732 w 6884912"/>
              <a:gd name="connsiteY101" fmla="*/ 220708 h 1161397"/>
              <a:gd name="connsiteX102" fmla="*/ 6029542 w 6884912"/>
              <a:gd name="connsiteY102" fmla="*/ 210339 h 1161397"/>
              <a:gd name="connsiteX103" fmla="*/ 6141123 w 6884912"/>
              <a:gd name="connsiteY103" fmla="*/ 159923 h 1161397"/>
              <a:gd name="connsiteX104" fmla="*/ 6290640 w 6884912"/>
              <a:gd name="connsiteY104" fmla="*/ 167441 h 1161397"/>
              <a:gd name="connsiteX105" fmla="*/ 6322806 w 6884912"/>
              <a:gd name="connsiteY105" fmla="*/ 213293 h 1161397"/>
              <a:gd name="connsiteX106" fmla="*/ 6364914 w 6884912"/>
              <a:gd name="connsiteY106" fmla="*/ 240140 h 1161397"/>
              <a:gd name="connsiteX107" fmla="*/ 6380420 w 6884912"/>
              <a:gd name="connsiteY107" fmla="*/ 173195 h 1161397"/>
              <a:gd name="connsiteX108" fmla="*/ 6507891 w 6884912"/>
              <a:gd name="connsiteY108" fmla="*/ 118474 h 1161397"/>
              <a:gd name="connsiteX109" fmla="*/ 6571807 w 6884912"/>
              <a:gd name="connsiteY109" fmla="*/ 98636 h 1161397"/>
              <a:gd name="connsiteX110" fmla="*/ 6671880 w 6884912"/>
              <a:gd name="connsiteY110" fmla="*/ 82931 h 1161397"/>
              <a:gd name="connsiteX111" fmla="*/ 6702266 w 6884912"/>
              <a:gd name="connsiteY111" fmla="*/ 75470 h 1161397"/>
              <a:gd name="connsiteX112" fmla="*/ 6845802 w 6884912"/>
              <a:gd name="connsiteY112" fmla="*/ 24496 h 1161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6884912" h="1161397">
                <a:moveTo>
                  <a:pt x="6884912" y="0"/>
                </a:moveTo>
                <a:lnTo>
                  <a:pt x="6884912" y="1161397"/>
                </a:lnTo>
                <a:lnTo>
                  <a:pt x="0" y="1161397"/>
                </a:lnTo>
                <a:lnTo>
                  <a:pt x="27135" y="1147460"/>
                </a:lnTo>
                <a:cubicBezTo>
                  <a:pt x="57431" y="1167048"/>
                  <a:pt x="61886" y="1135904"/>
                  <a:pt x="115388" y="1159043"/>
                </a:cubicBezTo>
                <a:cubicBezTo>
                  <a:pt x="116121" y="1155340"/>
                  <a:pt x="117370" y="1151777"/>
                  <a:pt x="119094" y="1148463"/>
                </a:cubicBezTo>
                <a:cubicBezTo>
                  <a:pt x="129121" y="1129214"/>
                  <a:pt x="152727" y="1122391"/>
                  <a:pt x="171824" y="1133224"/>
                </a:cubicBezTo>
                <a:cubicBezTo>
                  <a:pt x="254344" y="1161369"/>
                  <a:pt x="315458" y="1143220"/>
                  <a:pt x="376455" y="1137381"/>
                </a:cubicBezTo>
                <a:cubicBezTo>
                  <a:pt x="443775" y="1125614"/>
                  <a:pt x="382885" y="1083927"/>
                  <a:pt x="478946" y="1106011"/>
                </a:cubicBezTo>
                <a:cubicBezTo>
                  <a:pt x="481662" y="1085172"/>
                  <a:pt x="491731" y="1081489"/>
                  <a:pt x="512111" y="1085599"/>
                </a:cubicBezTo>
                <a:cubicBezTo>
                  <a:pt x="544368" y="1078502"/>
                  <a:pt x="526559" y="1032754"/>
                  <a:pt x="567875" y="1051976"/>
                </a:cubicBezTo>
                <a:cubicBezTo>
                  <a:pt x="553871" y="1028602"/>
                  <a:pt x="624901" y="1025930"/>
                  <a:pt x="601644" y="1003997"/>
                </a:cubicBezTo>
                <a:cubicBezTo>
                  <a:pt x="614803" y="975652"/>
                  <a:pt x="637415" y="1010272"/>
                  <a:pt x="651408" y="984938"/>
                </a:cubicBezTo>
                <a:cubicBezTo>
                  <a:pt x="673042" y="974024"/>
                  <a:pt x="646948" y="1015207"/>
                  <a:pt x="673197" y="1010060"/>
                </a:cubicBezTo>
                <a:cubicBezTo>
                  <a:pt x="703527" y="999318"/>
                  <a:pt x="718626" y="1045053"/>
                  <a:pt x="723108" y="980081"/>
                </a:cubicBezTo>
                <a:cubicBezTo>
                  <a:pt x="760262" y="985126"/>
                  <a:pt x="757827" y="957145"/>
                  <a:pt x="797699" y="931362"/>
                </a:cubicBezTo>
                <a:cubicBezTo>
                  <a:pt x="821097" y="940623"/>
                  <a:pt x="833565" y="929189"/>
                  <a:pt x="843359" y="910894"/>
                </a:cubicBezTo>
                <a:cubicBezTo>
                  <a:pt x="887668" y="902160"/>
                  <a:pt x="919738" y="869376"/>
                  <a:pt x="965215" y="846701"/>
                </a:cubicBezTo>
                <a:cubicBezTo>
                  <a:pt x="1023081" y="848019"/>
                  <a:pt x="1036422" y="800154"/>
                  <a:pt x="1085080" y="776086"/>
                </a:cubicBezTo>
                <a:cubicBezTo>
                  <a:pt x="1140763" y="795544"/>
                  <a:pt x="1110309" y="730471"/>
                  <a:pt x="1131224" y="706160"/>
                </a:cubicBezTo>
                <a:lnTo>
                  <a:pt x="1138051" y="702034"/>
                </a:lnTo>
                <a:lnTo>
                  <a:pt x="1158800" y="700004"/>
                </a:lnTo>
                <a:lnTo>
                  <a:pt x="1166947" y="700762"/>
                </a:lnTo>
                <a:cubicBezTo>
                  <a:pt x="1172432" y="700717"/>
                  <a:pt x="1175913" y="699961"/>
                  <a:pt x="1178135" y="698631"/>
                </a:cubicBezTo>
                <a:lnTo>
                  <a:pt x="1178301" y="698094"/>
                </a:lnTo>
                <a:lnTo>
                  <a:pt x="1188995" y="697048"/>
                </a:lnTo>
                <a:cubicBezTo>
                  <a:pt x="1207294" y="696390"/>
                  <a:pt x="1225337" y="696802"/>
                  <a:pt x="1242716" y="698052"/>
                </a:cubicBezTo>
                <a:cubicBezTo>
                  <a:pt x="1250387" y="668345"/>
                  <a:pt x="1318259" y="689091"/>
                  <a:pt x="1299977" y="639196"/>
                </a:cubicBezTo>
                <a:cubicBezTo>
                  <a:pt x="1323072" y="639367"/>
                  <a:pt x="1341279" y="658105"/>
                  <a:pt x="1326190" y="625955"/>
                </a:cubicBezTo>
                <a:cubicBezTo>
                  <a:pt x="1333572" y="625050"/>
                  <a:pt x="1337406" y="621362"/>
                  <a:pt x="1339600" y="616295"/>
                </a:cubicBezTo>
                <a:lnTo>
                  <a:pt x="1340054" y="614022"/>
                </a:lnTo>
                <a:lnTo>
                  <a:pt x="1391606" y="615229"/>
                </a:lnTo>
                <a:lnTo>
                  <a:pt x="1397565" y="611490"/>
                </a:lnTo>
                <a:lnTo>
                  <a:pt x="1432302" y="617267"/>
                </a:lnTo>
                <a:lnTo>
                  <a:pt x="1449644" y="617591"/>
                </a:lnTo>
                <a:lnTo>
                  <a:pt x="1455793" y="623174"/>
                </a:lnTo>
                <a:cubicBezTo>
                  <a:pt x="1461744" y="626151"/>
                  <a:pt x="1469373" y="626493"/>
                  <a:pt x="1480758" y="620863"/>
                </a:cubicBezTo>
                <a:lnTo>
                  <a:pt x="1483154" y="618527"/>
                </a:lnTo>
                <a:lnTo>
                  <a:pt x="1505495" y="624325"/>
                </a:lnTo>
                <a:cubicBezTo>
                  <a:pt x="1512992" y="627532"/>
                  <a:pt x="1520025" y="632078"/>
                  <a:pt x="1526340" y="638496"/>
                </a:cubicBezTo>
                <a:cubicBezTo>
                  <a:pt x="1586113" y="586768"/>
                  <a:pt x="1659006" y="610309"/>
                  <a:pt x="1731986" y="589682"/>
                </a:cubicBezTo>
                <a:cubicBezTo>
                  <a:pt x="1750397" y="523106"/>
                  <a:pt x="1896056" y="573257"/>
                  <a:pt x="1927935" y="628540"/>
                </a:cubicBezTo>
                <a:cubicBezTo>
                  <a:pt x="1912854" y="559823"/>
                  <a:pt x="2112261" y="676347"/>
                  <a:pt x="2039075" y="599964"/>
                </a:cubicBezTo>
                <a:cubicBezTo>
                  <a:pt x="2066036" y="601198"/>
                  <a:pt x="2086366" y="569532"/>
                  <a:pt x="2066980" y="550413"/>
                </a:cubicBezTo>
                <a:cubicBezTo>
                  <a:pt x="2155364" y="582582"/>
                  <a:pt x="2259548" y="514786"/>
                  <a:pt x="2352236" y="519602"/>
                </a:cubicBezTo>
                <a:cubicBezTo>
                  <a:pt x="2388450" y="459394"/>
                  <a:pt x="2373298" y="511682"/>
                  <a:pt x="2420791" y="492826"/>
                </a:cubicBezTo>
                <a:cubicBezTo>
                  <a:pt x="2417962" y="542563"/>
                  <a:pt x="2475071" y="455098"/>
                  <a:pt x="2489932" y="507864"/>
                </a:cubicBezTo>
                <a:cubicBezTo>
                  <a:pt x="2498105" y="502761"/>
                  <a:pt x="2505553" y="496153"/>
                  <a:pt x="2512917" y="489127"/>
                </a:cubicBezTo>
                <a:lnTo>
                  <a:pt x="2516783" y="485473"/>
                </a:lnTo>
                <a:lnTo>
                  <a:pt x="2534360" y="480064"/>
                </a:lnTo>
                <a:lnTo>
                  <a:pt x="2536691" y="467018"/>
                </a:lnTo>
                <a:lnTo>
                  <a:pt x="2561265" y="450623"/>
                </a:lnTo>
                <a:cubicBezTo>
                  <a:pt x="2570872" y="446262"/>
                  <a:pt x="2581686" y="443655"/>
                  <a:pt x="2594349" y="443884"/>
                </a:cubicBezTo>
                <a:cubicBezTo>
                  <a:pt x="2640435" y="464638"/>
                  <a:pt x="2696955" y="396361"/>
                  <a:pt x="2754324" y="424766"/>
                </a:cubicBezTo>
                <a:cubicBezTo>
                  <a:pt x="2775130" y="430896"/>
                  <a:pt x="2837731" y="423458"/>
                  <a:pt x="2848470" y="405966"/>
                </a:cubicBezTo>
                <a:cubicBezTo>
                  <a:pt x="2861295" y="401100"/>
                  <a:pt x="2876936" y="405309"/>
                  <a:pt x="2881772" y="387260"/>
                </a:cubicBezTo>
                <a:cubicBezTo>
                  <a:pt x="2890299" y="365261"/>
                  <a:pt x="2938134" y="392997"/>
                  <a:pt x="2929932" y="368912"/>
                </a:cubicBezTo>
                <a:cubicBezTo>
                  <a:pt x="2963844" y="387799"/>
                  <a:pt x="2986550" y="341223"/>
                  <a:pt x="3013020" y="327578"/>
                </a:cubicBezTo>
                <a:cubicBezTo>
                  <a:pt x="3040041" y="346996"/>
                  <a:pt x="3068934" y="299222"/>
                  <a:pt x="3127968" y="287613"/>
                </a:cubicBezTo>
                <a:cubicBezTo>
                  <a:pt x="3157770" y="310215"/>
                  <a:pt x="3167695" y="279445"/>
                  <a:pt x="3222191" y="307887"/>
                </a:cubicBezTo>
                <a:cubicBezTo>
                  <a:pt x="3223593" y="304249"/>
                  <a:pt x="3225533" y="300801"/>
                  <a:pt x="3227953" y="297650"/>
                </a:cubicBezTo>
                <a:cubicBezTo>
                  <a:pt x="3242008" y="279345"/>
                  <a:pt x="3268831" y="274825"/>
                  <a:pt x="3287859" y="287558"/>
                </a:cubicBezTo>
                <a:cubicBezTo>
                  <a:pt x="3373144" y="323866"/>
                  <a:pt x="3442657" y="311681"/>
                  <a:pt x="3510042" y="311820"/>
                </a:cubicBezTo>
                <a:cubicBezTo>
                  <a:pt x="3585274" y="306641"/>
                  <a:pt x="3525753" y="258887"/>
                  <a:pt x="3626773" y="290452"/>
                </a:cubicBezTo>
                <a:cubicBezTo>
                  <a:pt x="3633124" y="269835"/>
                  <a:pt x="3644693" y="267134"/>
                  <a:pt x="3666217" y="273255"/>
                </a:cubicBezTo>
                <a:cubicBezTo>
                  <a:pt x="3702502" y="269310"/>
                  <a:pt x="3690563" y="221720"/>
                  <a:pt x="3732427" y="245039"/>
                </a:cubicBezTo>
                <a:cubicBezTo>
                  <a:pt x="3720985" y="220241"/>
                  <a:pt x="3798776" y="224539"/>
                  <a:pt x="3777022" y="200276"/>
                </a:cubicBezTo>
                <a:cubicBezTo>
                  <a:pt x="3781759" y="193499"/>
                  <a:pt x="3786499" y="190723"/>
                  <a:pt x="3791246" y="189996"/>
                </a:cubicBezTo>
                <a:cubicBezTo>
                  <a:pt x="3800740" y="188542"/>
                  <a:pt x="3810265" y="195284"/>
                  <a:pt x="3819864" y="194605"/>
                </a:cubicBezTo>
                <a:lnTo>
                  <a:pt x="3830398" y="188383"/>
                </a:lnTo>
                <a:lnTo>
                  <a:pt x="3834360" y="188992"/>
                </a:lnTo>
                <a:lnTo>
                  <a:pt x="3843715" y="188752"/>
                </a:lnTo>
                <a:lnTo>
                  <a:pt x="3842609" y="197386"/>
                </a:lnTo>
                <a:cubicBezTo>
                  <a:pt x="3840673" y="205638"/>
                  <a:pt x="3839248" y="214671"/>
                  <a:pt x="3853961" y="213380"/>
                </a:cubicBezTo>
                <a:cubicBezTo>
                  <a:pt x="3884396" y="206569"/>
                  <a:pt x="3895082" y="241941"/>
                  <a:pt x="3907640" y="207568"/>
                </a:cubicBezTo>
                <a:lnTo>
                  <a:pt x="3910449" y="197808"/>
                </a:lnTo>
                <a:lnTo>
                  <a:pt x="3917197" y="196121"/>
                </a:lnTo>
                <a:cubicBezTo>
                  <a:pt x="3920833" y="196372"/>
                  <a:pt x="3922919" y="198717"/>
                  <a:pt x="3922400" y="205056"/>
                </a:cubicBezTo>
                <a:cubicBezTo>
                  <a:pt x="3950680" y="178467"/>
                  <a:pt x="3984062" y="218098"/>
                  <a:pt x="4013061" y="224874"/>
                </a:cubicBezTo>
                <a:cubicBezTo>
                  <a:pt x="4034530" y="199451"/>
                  <a:pt x="4074202" y="238734"/>
                  <a:pt x="4134285" y="235592"/>
                </a:cubicBezTo>
                <a:cubicBezTo>
                  <a:pt x="4157674" y="206403"/>
                  <a:pt x="4174806" y="233822"/>
                  <a:pt x="4220717" y="192946"/>
                </a:cubicBezTo>
                <a:cubicBezTo>
                  <a:pt x="4222964" y="196132"/>
                  <a:pt x="4225687" y="199002"/>
                  <a:pt x="4228802" y="201468"/>
                </a:cubicBezTo>
                <a:cubicBezTo>
                  <a:pt x="4246898" y="215792"/>
                  <a:pt x="4274013" y="213632"/>
                  <a:pt x="4289361" y="196642"/>
                </a:cubicBezTo>
                <a:cubicBezTo>
                  <a:pt x="4363212" y="140627"/>
                  <a:pt x="4433598" y="135488"/>
                  <a:pt x="4498913" y="118915"/>
                </a:cubicBezTo>
                <a:cubicBezTo>
                  <a:pt x="4573135" y="105586"/>
                  <a:pt x="4527062" y="166416"/>
                  <a:pt x="4617330" y="111163"/>
                </a:cubicBezTo>
                <a:cubicBezTo>
                  <a:pt x="4628518" y="129608"/>
                  <a:pt x="4640397" y="129405"/>
                  <a:pt x="4659778" y="118219"/>
                </a:cubicBezTo>
                <a:cubicBezTo>
                  <a:pt x="4695929" y="113193"/>
                  <a:pt x="4695958" y="162259"/>
                  <a:pt x="4730870" y="129432"/>
                </a:cubicBezTo>
                <a:cubicBezTo>
                  <a:pt x="4725822" y="156271"/>
                  <a:pt x="4800214" y="133127"/>
                  <a:pt x="4785037" y="161964"/>
                </a:cubicBezTo>
                <a:cubicBezTo>
                  <a:pt x="4810025" y="183633"/>
                  <a:pt x="4819434" y="143205"/>
                  <a:pt x="4844073" y="161768"/>
                </a:cubicBezTo>
                <a:cubicBezTo>
                  <a:pt x="4870797" y="164132"/>
                  <a:pt x="4827288" y="135164"/>
                  <a:pt x="4856454" y="130488"/>
                </a:cubicBezTo>
                <a:cubicBezTo>
                  <a:pt x="4892086" y="129553"/>
                  <a:pt x="4889263" y="81477"/>
                  <a:pt x="4920038" y="140418"/>
                </a:cubicBezTo>
                <a:cubicBezTo>
                  <a:pt x="4956358" y="122308"/>
                  <a:pt x="4965108" y="149263"/>
                  <a:pt x="5016639" y="158905"/>
                </a:cubicBezTo>
                <a:cubicBezTo>
                  <a:pt x="5037063" y="141828"/>
                  <a:pt x="5054534" y="147986"/>
                  <a:pt x="5072009" y="161502"/>
                </a:cubicBezTo>
                <a:cubicBezTo>
                  <a:pt x="5121260" y="153653"/>
                  <a:pt x="5167555" y="172635"/>
                  <a:pt x="5223626" y="177356"/>
                </a:cubicBezTo>
                <a:cubicBezTo>
                  <a:pt x="5282824" y="155243"/>
                  <a:pt x="5315859" y="195041"/>
                  <a:pt x="5375773" y="199913"/>
                </a:cubicBezTo>
                <a:cubicBezTo>
                  <a:pt x="5432511" y="156218"/>
                  <a:pt x="5417550" y="256036"/>
                  <a:pt x="5467502" y="250963"/>
                </a:cubicBezTo>
                <a:cubicBezTo>
                  <a:pt x="5547124" y="209975"/>
                  <a:pt x="5467171" y="283839"/>
                  <a:pt x="5592395" y="265434"/>
                </a:cubicBezTo>
                <a:cubicBezTo>
                  <a:pt x="5599201" y="258867"/>
                  <a:pt x="5614752" y="264706"/>
                  <a:pt x="5613532" y="273379"/>
                </a:cubicBezTo>
                <a:cubicBezTo>
                  <a:pt x="5621390" y="270408"/>
                  <a:pt x="5639720" y="253173"/>
                  <a:pt x="5642173" y="266904"/>
                </a:cubicBezTo>
                <a:cubicBezTo>
                  <a:pt x="5682296" y="267049"/>
                  <a:pt x="5721812" y="257513"/>
                  <a:pt x="5756910" y="239211"/>
                </a:cubicBezTo>
                <a:cubicBezTo>
                  <a:pt x="5834998" y="260050"/>
                  <a:pt x="5790596" y="197229"/>
                  <a:pt x="5846667" y="201786"/>
                </a:cubicBezTo>
                <a:cubicBezTo>
                  <a:pt x="5892444" y="227312"/>
                  <a:pt x="5908324" y="204527"/>
                  <a:pt x="5960732" y="220708"/>
                </a:cubicBezTo>
                <a:cubicBezTo>
                  <a:pt x="5977124" y="175349"/>
                  <a:pt x="6009640" y="223654"/>
                  <a:pt x="6029542" y="210339"/>
                </a:cubicBezTo>
                <a:cubicBezTo>
                  <a:pt x="6063108" y="261420"/>
                  <a:pt x="6107411" y="160034"/>
                  <a:pt x="6141123" y="159923"/>
                </a:cubicBezTo>
                <a:cubicBezTo>
                  <a:pt x="6198068" y="167749"/>
                  <a:pt x="6260628" y="219715"/>
                  <a:pt x="6290640" y="167441"/>
                </a:cubicBezTo>
                <a:cubicBezTo>
                  <a:pt x="6295193" y="188689"/>
                  <a:pt x="6290494" y="217816"/>
                  <a:pt x="6322806" y="213293"/>
                </a:cubicBezTo>
                <a:cubicBezTo>
                  <a:pt x="6335911" y="223881"/>
                  <a:pt x="6338726" y="256581"/>
                  <a:pt x="6364914" y="240140"/>
                </a:cubicBezTo>
                <a:cubicBezTo>
                  <a:pt x="6331888" y="211628"/>
                  <a:pt x="6385856" y="207033"/>
                  <a:pt x="6380420" y="173195"/>
                </a:cubicBezTo>
                <a:cubicBezTo>
                  <a:pt x="6420580" y="151473"/>
                  <a:pt x="6513519" y="179296"/>
                  <a:pt x="6507891" y="118474"/>
                </a:cubicBezTo>
                <a:cubicBezTo>
                  <a:pt x="6519398" y="82452"/>
                  <a:pt x="6571830" y="137398"/>
                  <a:pt x="6571807" y="98636"/>
                </a:cubicBezTo>
                <a:cubicBezTo>
                  <a:pt x="6594702" y="123421"/>
                  <a:pt x="6634676" y="82071"/>
                  <a:pt x="6671880" y="82931"/>
                </a:cubicBezTo>
                <a:cubicBezTo>
                  <a:pt x="6678855" y="65407"/>
                  <a:pt x="6687415" y="66196"/>
                  <a:pt x="6702266" y="75470"/>
                </a:cubicBezTo>
                <a:cubicBezTo>
                  <a:pt x="6747004" y="78450"/>
                  <a:pt x="6798307" y="53072"/>
                  <a:pt x="6845802" y="24496"/>
                </a:cubicBez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6DCACC40-5723-CF08-336C-2B09280848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27775"/>
            <a:ext cx="5160553" cy="5040211"/>
          </a:xfrm>
          <a:prstGeom prst="rect">
            <a:avLst/>
          </a:prstGeom>
        </p:spPr>
      </p:pic>
      <p:pic>
        <p:nvPicPr>
          <p:cNvPr id="8" name="Obraz 7" descr="Obraz zawierający tekst, zrzut ekranu, Czcionka&#10;&#10;Zawartość wygenerowana przez AI może być niepoprawna.">
            <a:extLst>
              <a:ext uri="{FF2B5EF4-FFF2-40B4-BE49-F238E27FC236}">
                <a16:creationId xmlns:a16="http://schemas.microsoft.com/office/drawing/2014/main" id="{D02AE595-69A3-F1AF-237F-0F27CC8B94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6881" y="1328079"/>
            <a:ext cx="6262118" cy="4396659"/>
          </a:xfrm>
          <a:prstGeom prst="rect">
            <a:avLst/>
          </a:prstGeom>
        </p:spPr>
      </p:pic>
      <p:sp>
        <p:nvSpPr>
          <p:cNvPr id="5" name="pole tekstowe 4">
            <a:extLst>
              <a:ext uri="{FF2B5EF4-FFF2-40B4-BE49-F238E27FC236}">
                <a16:creationId xmlns:a16="http://schemas.microsoft.com/office/drawing/2014/main" id="{EF18F339-503C-49B5-6290-EEBBF8F915DC}"/>
              </a:ext>
            </a:extLst>
          </p:cNvPr>
          <p:cNvSpPr txBox="1"/>
          <p:nvPr/>
        </p:nvSpPr>
        <p:spPr>
          <a:xfrm>
            <a:off x="5742792" y="6106321"/>
            <a:ext cx="65957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/>
              <a:t>Źródło: </a:t>
            </a:r>
            <a:r>
              <a:rPr lang="pl-PL" sz="1200" dirty="0">
                <a:hlinkClick r:id="rId4"/>
              </a:rPr>
              <a:t>https://www.eurohandball.com/en/what-we-do/development/master-plan/</a:t>
            </a:r>
            <a:endParaRPr lang="pl-PL" sz="1200" dirty="0"/>
          </a:p>
          <a:p>
            <a:r>
              <a:rPr lang="pl-PL" sz="1200" dirty="0"/>
              <a:t> </a:t>
            </a:r>
            <a:r>
              <a:rPr lang="pl-PL" sz="1200" dirty="0">
                <a:hlinkClick r:id="rId5"/>
              </a:rPr>
              <a:t>https://www.pzpn.pl/public/files/strategia%20zrownowazonego%20rozwoju_2023_2027.pdf</a:t>
            </a:r>
            <a:r>
              <a:rPr lang="pl-PL" sz="1200" dirty="0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7782570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AAA7DCC-BEC3-C1F6-70F6-D65B68AFA0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8C13071-1A5A-1884-10BD-C299BF5ADF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B1BBD84A-8F62-4D2F-BEE9-9CC72CCF65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1269336" cy="2008639"/>
          </a:xfrm>
          <a:custGeom>
            <a:avLst/>
            <a:gdLst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296127 w 11269336"/>
              <a:gd name="connsiteY139" fmla="*/ 2023208 h 2323145"/>
              <a:gd name="connsiteX140" fmla="*/ 5174645 w 11269336"/>
              <a:gd name="connsiteY140" fmla="*/ 2088358 h 2323145"/>
              <a:gd name="connsiteX141" fmla="*/ 5092476 w 11269336"/>
              <a:gd name="connsiteY141" fmla="*/ 2100737 h 2323145"/>
              <a:gd name="connsiteX142" fmla="*/ 5060738 w 11269336"/>
              <a:gd name="connsiteY142" fmla="*/ 2083274 h 2323145"/>
              <a:gd name="connsiteX143" fmla="*/ 4860988 w 11269336"/>
              <a:gd name="connsiteY143" fmla="*/ 2135698 h 2323145"/>
              <a:gd name="connsiteX144" fmla="*/ 4807902 w 11269336"/>
              <a:gd name="connsiteY144" fmla="*/ 2138894 h 2323145"/>
              <a:gd name="connsiteX145" fmla="*/ 4765388 w 11269336"/>
              <a:gd name="connsiteY145" fmla="*/ 2162525 h 2323145"/>
              <a:gd name="connsiteX146" fmla="*/ 4745033 w 11269336"/>
              <a:gd name="connsiteY146" fmla="*/ 2158859 h 2323145"/>
              <a:gd name="connsiteX147" fmla="*/ 4741475 w 11269336"/>
              <a:gd name="connsiteY147" fmla="*/ 2157998 h 2323145"/>
              <a:gd name="connsiteX148" fmla="*/ 4728247 w 11269336"/>
              <a:gd name="connsiteY148" fmla="*/ 2159526 h 2323145"/>
              <a:gd name="connsiteX149" fmla="*/ 4723263 w 11269336"/>
              <a:gd name="connsiteY149" fmla="*/ 2153742 h 2323145"/>
              <a:gd name="connsiteX150" fmla="*/ 4702453 w 11269336"/>
              <a:gd name="connsiteY150" fmla="*/ 2151586 h 2323145"/>
              <a:gd name="connsiteX151" fmla="*/ 4678455 w 11269336"/>
              <a:gd name="connsiteY151" fmla="*/ 2156131 h 2323145"/>
              <a:gd name="connsiteX152" fmla="*/ 4593061 w 11269336"/>
              <a:gd name="connsiteY152" fmla="*/ 2171597 h 2323145"/>
              <a:gd name="connsiteX153" fmla="*/ 4579902 w 11269336"/>
              <a:gd name="connsiteY153" fmla="*/ 2177927 h 2323145"/>
              <a:gd name="connsiteX154" fmla="*/ 4533444 w 11269336"/>
              <a:gd name="connsiteY154" fmla="*/ 2181200 h 2323145"/>
              <a:gd name="connsiteX155" fmla="*/ 4492832 w 11269336"/>
              <a:gd name="connsiteY155" fmla="*/ 2188033 h 2323145"/>
              <a:gd name="connsiteX156" fmla="*/ 4467257 w 11269336"/>
              <a:gd name="connsiteY156" fmla="*/ 2196121 h 2323145"/>
              <a:gd name="connsiteX157" fmla="*/ 4459937 w 11269336"/>
              <a:gd name="connsiteY157" fmla="*/ 2195182 h 2323145"/>
              <a:gd name="connsiteX158" fmla="*/ 4433312 w 11269336"/>
              <a:gd name="connsiteY158" fmla="*/ 2199004 h 2323145"/>
              <a:gd name="connsiteX159" fmla="*/ 4420601 w 11269336"/>
              <a:gd name="connsiteY159" fmla="*/ 2205158 h 2323145"/>
              <a:gd name="connsiteX160" fmla="*/ 4405765 w 11269336"/>
              <a:gd name="connsiteY160" fmla="*/ 2199902 h 2323145"/>
              <a:gd name="connsiteX161" fmla="*/ 4401354 w 11269336"/>
              <a:gd name="connsiteY161" fmla="*/ 2194745 h 2323145"/>
              <a:gd name="connsiteX162" fmla="*/ 4383151 w 11269336"/>
              <a:gd name="connsiteY162" fmla="*/ 2201140 h 2323145"/>
              <a:gd name="connsiteX163" fmla="*/ 4366646 w 11269336"/>
              <a:gd name="connsiteY163" fmla="*/ 2198564 h 2323145"/>
              <a:gd name="connsiteX164" fmla="*/ 4354009 w 11269336"/>
              <a:gd name="connsiteY164" fmla="*/ 2204984 h 2323145"/>
              <a:gd name="connsiteX165" fmla="*/ 4348284 w 11269336"/>
              <a:gd name="connsiteY165" fmla="*/ 2205270 h 2323145"/>
              <a:gd name="connsiteX166" fmla="*/ 4333906 w 11269336"/>
              <a:gd name="connsiteY166" fmla="*/ 2205251 h 2323145"/>
              <a:gd name="connsiteX167" fmla="*/ 4308819 w 11269336"/>
              <a:gd name="connsiteY167" fmla="*/ 2203822 h 2323145"/>
              <a:gd name="connsiteX168" fmla="*/ 4301210 w 11269336"/>
              <a:gd name="connsiteY168" fmla="*/ 2204456 h 2323145"/>
              <a:gd name="connsiteX169" fmla="*/ 4283095 w 11269336"/>
              <a:gd name="connsiteY169" fmla="*/ 2198177 h 2323145"/>
              <a:gd name="connsiteX170" fmla="*/ 4250119 w 11269336"/>
              <a:gd name="connsiteY170" fmla="*/ 2196342 h 2323145"/>
              <a:gd name="connsiteX171" fmla="*/ 4189203 w 11269336"/>
              <a:gd name="connsiteY171" fmla="*/ 2178994 h 2323145"/>
              <a:gd name="connsiteX172" fmla="*/ 4154035 w 11269336"/>
              <a:gd name="connsiteY172" fmla="*/ 2171950 h 2323145"/>
              <a:gd name="connsiteX173" fmla="*/ 4129569 w 11269336"/>
              <a:gd name="connsiteY173" fmla="*/ 2163850 h 2323145"/>
              <a:gd name="connsiteX174" fmla="*/ 4061250 w 11269336"/>
              <a:gd name="connsiteY174" fmla="*/ 2159236 h 2323145"/>
              <a:gd name="connsiteX175" fmla="*/ 3945480 w 11269336"/>
              <a:gd name="connsiteY175" fmla="*/ 2158279 h 2323145"/>
              <a:gd name="connsiteX176" fmla="*/ 3921468 w 11269336"/>
              <a:gd name="connsiteY176" fmla="*/ 2156588 h 2323145"/>
              <a:gd name="connsiteX177" fmla="*/ 3903348 w 11269336"/>
              <a:gd name="connsiteY177" fmla="*/ 2149220 h 2323145"/>
              <a:gd name="connsiteX178" fmla="*/ 3901342 w 11269336"/>
              <a:gd name="connsiteY178" fmla="*/ 2142355 h 2323145"/>
              <a:gd name="connsiteX179" fmla="*/ 3888539 w 11269336"/>
              <a:gd name="connsiteY179" fmla="*/ 2140476 h 2323145"/>
              <a:gd name="connsiteX180" fmla="*/ 3885662 w 11269336"/>
              <a:gd name="connsiteY180" fmla="*/ 2138740 h 2323145"/>
              <a:gd name="connsiteX181" fmla="*/ 3868627 w 11269336"/>
              <a:gd name="connsiteY181" fmla="*/ 2130023 h 2323145"/>
              <a:gd name="connsiteX182" fmla="*/ 3819177 w 11269336"/>
              <a:gd name="connsiteY182" fmla="*/ 2142111 h 2323145"/>
              <a:gd name="connsiteX183" fmla="*/ 3769100 w 11269336"/>
              <a:gd name="connsiteY183" fmla="*/ 2131731 h 2323145"/>
              <a:gd name="connsiteX184" fmla="*/ 3562752 w 11269336"/>
              <a:gd name="connsiteY184" fmla="*/ 2131785 h 2323145"/>
              <a:gd name="connsiteX185" fmla="*/ 3541402 w 11269336"/>
              <a:gd name="connsiteY185" fmla="*/ 2106821 h 2323145"/>
              <a:gd name="connsiteX186" fmla="*/ 3460591 w 11269336"/>
              <a:gd name="connsiteY186" fmla="*/ 2097951 h 2323145"/>
              <a:gd name="connsiteX187" fmla="*/ 3320348 w 11269336"/>
              <a:gd name="connsiteY187" fmla="*/ 2130191 h 2323145"/>
              <a:gd name="connsiteX188" fmla="*/ 3170922 w 11269336"/>
              <a:gd name="connsiteY188" fmla="*/ 2115957 h 2323145"/>
              <a:gd name="connsiteX189" fmla="*/ 3156256 w 11269336"/>
              <a:gd name="connsiteY189" fmla="*/ 2124773 h 2323145"/>
              <a:gd name="connsiteX190" fmla="*/ 3140298 w 11269336"/>
              <a:gd name="connsiteY190" fmla="*/ 2129182 h 2323145"/>
              <a:gd name="connsiteX191" fmla="*/ 3138514 w 11269336"/>
              <a:gd name="connsiteY191" fmla="*/ 2128069 h 2323145"/>
              <a:gd name="connsiteX192" fmla="*/ 3120467 w 11269336"/>
              <a:gd name="connsiteY192" fmla="*/ 2128281 h 2323145"/>
              <a:gd name="connsiteX193" fmla="*/ 3116175 w 11269336"/>
              <a:gd name="connsiteY193" fmla="*/ 2131633 h 2323145"/>
              <a:gd name="connsiteX194" fmla="*/ 3103685 w 11269336"/>
              <a:gd name="connsiteY194" fmla="*/ 2132814 h 2323145"/>
              <a:gd name="connsiteX195" fmla="*/ 3078794 w 11269336"/>
              <a:gd name="connsiteY195" fmla="*/ 2137935 h 2323145"/>
              <a:gd name="connsiteX196" fmla="*/ 3074407 w 11269336"/>
              <a:gd name="connsiteY196" fmla="*/ 2136274 h 2323145"/>
              <a:gd name="connsiteX197" fmla="*/ 3037285 w 11269336"/>
              <a:gd name="connsiteY197" fmla="*/ 2139919 h 2323145"/>
              <a:gd name="connsiteX198" fmla="*/ 3036901 w 11269336"/>
              <a:gd name="connsiteY198" fmla="*/ 2138726 h 2323145"/>
              <a:gd name="connsiteX199" fmla="*/ 3026996 w 11269336"/>
              <a:gd name="connsiteY199" fmla="*/ 2134322 h 2323145"/>
              <a:gd name="connsiteX200" fmla="*/ 3007772 w 11269336"/>
              <a:gd name="connsiteY200" fmla="*/ 2128742 h 2323145"/>
              <a:gd name="connsiteX201" fmla="*/ 2965030 w 11269336"/>
              <a:gd name="connsiteY201" fmla="*/ 2100494 h 2323145"/>
              <a:gd name="connsiteX202" fmla="*/ 2926342 w 11269336"/>
              <a:gd name="connsiteY202" fmla="*/ 2104155 h 2323145"/>
              <a:gd name="connsiteX203" fmla="*/ 2918608 w 11269336"/>
              <a:gd name="connsiteY203" fmla="*/ 2104215 h 2323145"/>
              <a:gd name="connsiteX204" fmla="*/ 2918475 w 11269336"/>
              <a:gd name="connsiteY204" fmla="*/ 2103937 h 2323145"/>
              <a:gd name="connsiteX205" fmla="*/ 2910360 w 11269336"/>
              <a:gd name="connsiteY205" fmla="*/ 2103444 h 2323145"/>
              <a:gd name="connsiteX206" fmla="*/ 2904507 w 11269336"/>
              <a:gd name="connsiteY206" fmla="*/ 2104326 h 2323145"/>
              <a:gd name="connsiteX207" fmla="*/ 2889503 w 11269336"/>
              <a:gd name="connsiteY207" fmla="*/ 2104443 h 2323145"/>
              <a:gd name="connsiteX208" fmla="*/ 2884480 w 11269336"/>
              <a:gd name="connsiteY208" fmla="*/ 2102626 h 2323145"/>
              <a:gd name="connsiteX209" fmla="*/ 2882689 w 11269336"/>
              <a:gd name="connsiteY209" fmla="*/ 2099228 h 2323145"/>
              <a:gd name="connsiteX210" fmla="*/ 2881291 w 11269336"/>
              <a:gd name="connsiteY210" fmla="*/ 2099618 h 2323145"/>
              <a:gd name="connsiteX211" fmla="*/ 2853979 w 11269336"/>
              <a:gd name="connsiteY211" fmla="*/ 2090388 h 2323145"/>
              <a:gd name="connsiteX212" fmla="*/ 2791790 w 11269336"/>
              <a:gd name="connsiteY212" fmla="*/ 2080332 h 2323145"/>
              <a:gd name="connsiteX213" fmla="*/ 2755844 w 11269336"/>
              <a:gd name="connsiteY213" fmla="*/ 2078874 h 2323145"/>
              <a:gd name="connsiteX214" fmla="*/ 2657742 w 11269336"/>
              <a:gd name="connsiteY214" fmla="*/ 2070179 h 2323145"/>
              <a:gd name="connsiteX215" fmla="*/ 2559549 w 11269336"/>
              <a:gd name="connsiteY215" fmla="*/ 2057873 h 2323145"/>
              <a:gd name="connsiteX216" fmla="*/ 2512054 w 11269336"/>
              <a:gd name="connsiteY216" fmla="*/ 2031671 h 2323145"/>
              <a:gd name="connsiteX217" fmla="*/ 2506437 w 11269336"/>
              <a:gd name="connsiteY217" fmla="*/ 2030918 h 2323145"/>
              <a:gd name="connsiteX218" fmla="*/ 2491752 w 11269336"/>
              <a:gd name="connsiteY218" fmla="*/ 2033906 h 2323145"/>
              <a:gd name="connsiteX219" fmla="*/ 2486338 w 11269336"/>
              <a:gd name="connsiteY219" fmla="*/ 2035862 h 2323145"/>
              <a:gd name="connsiteX220" fmla="*/ 2478186 w 11269336"/>
              <a:gd name="connsiteY220" fmla="*/ 2036953 h 2323145"/>
              <a:gd name="connsiteX221" fmla="*/ 2477950 w 11269336"/>
              <a:gd name="connsiteY221" fmla="*/ 2036715 h 2323145"/>
              <a:gd name="connsiteX222" fmla="*/ 2470381 w 11269336"/>
              <a:gd name="connsiteY222" fmla="*/ 2038256 h 2323145"/>
              <a:gd name="connsiteX223" fmla="*/ 2433781 w 11269336"/>
              <a:gd name="connsiteY223" fmla="*/ 2049140 h 2323145"/>
              <a:gd name="connsiteX224" fmla="*/ 2381172 w 11269336"/>
              <a:gd name="connsiteY224" fmla="*/ 2030645 h 2323145"/>
              <a:gd name="connsiteX225" fmla="*/ 2360198 w 11269336"/>
              <a:gd name="connsiteY225" fmla="*/ 2029059 h 2323145"/>
              <a:gd name="connsiteX226" fmla="*/ 2348815 w 11269336"/>
              <a:gd name="connsiteY226" fmla="*/ 2026798 h 2323145"/>
              <a:gd name="connsiteX227" fmla="*/ 2347988 w 11269336"/>
              <a:gd name="connsiteY227" fmla="*/ 2025745 h 2323145"/>
              <a:gd name="connsiteX228" fmla="*/ 2312920 w 11269336"/>
              <a:gd name="connsiteY228" fmla="*/ 2036311 h 2323145"/>
              <a:gd name="connsiteX229" fmla="*/ 2307986 w 11269336"/>
              <a:gd name="connsiteY229" fmla="*/ 2035583 h 2323145"/>
              <a:gd name="connsiteX230" fmla="*/ 2285481 w 11269336"/>
              <a:gd name="connsiteY230" fmla="*/ 2045197 h 2323145"/>
              <a:gd name="connsiteX231" fmla="*/ 2273666 w 11269336"/>
              <a:gd name="connsiteY231" fmla="*/ 2048710 h 2323145"/>
              <a:gd name="connsiteX232" fmla="*/ 2270719 w 11269336"/>
              <a:gd name="connsiteY232" fmla="*/ 2052702 h 2323145"/>
              <a:gd name="connsiteX233" fmla="*/ 2253080 w 11269336"/>
              <a:gd name="connsiteY233" fmla="*/ 2056363 h 2323145"/>
              <a:gd name="connsiteX234" fmla="*/ 2250906 w 11269336"/>
              <a:gd name="connsiteY234" fmla="*/ 2055654 h 2323145"/>
              <a:gd name="connsiteX235" fmla="*/ 2236905 w 11269336"/>
              <a:gd name="connsiteY235" fmla="*/ 2062882 h 2323145"/>
              <a:gd name="connsiteX236" fmla="*/ 2225830 w 11269336"/>
              <a:gd name="connsiteY236" fmla="*/ 2074027 h 2323145"/>
              <a:gd name="connsiteX237" fmla="*/ 2073776 w 11269336"/>
              <a:gd name="connsiteY237" fmla="*/ 2089244 h 2323145"/>
              <a:gd name="connsiteX238" fmla="*/ 1948256 w 11269336"/>
              <a:gd name="connsiteY238" fmla="*/ 2146616 h 2323145"/>
              <a:gd name="connsiteX239" fmla="*/ 1865582 w 11269336"/>
              <a:gd name="connsiteY239" fmla="*/ 2153738 h 2323145"/>
              <a:gd name="connsiteX240" fmla="*/ 1835210 w 11269336"/>
              <a:gd name="connsiteY240" fmla="*/ 2134244 h 2323145"/>
              <a:gd name="connsiteX241" fmla="*/ 1632661 w 11269336"/>
              <a:gd name="connsiteY241" fmla="*/ 2173882 h 2323145"/>
              <a:gd name="connsiteX242" fmla="*/ 1579590 w 11269336"/>
              <a:gd name="connsiteY242" fmla="*/ 2173680 h 2323145"/>
              <a:gd name="connsiteX243" fmla="*/ 1535601 w 11269336"/>
              <a:gd name="connsiteY243" fmla="*/ 2194590 h 2323145"/>
              <a:gd name="connsiteX244" fmla="*/ 1515594 w 11269336"/>
              <a:gd name="connsiteY244" fmla="*/ 2189622 h 2323145"/>
              <a:gd name="connsiteX245" fmla="*/ 1512113 w 11269336"/>
              <a:gd name="connsiteY245" fmla="*/ 2188534 h 2323145"/>
              <a:gd name="connsiteX246" fmla="*/ 1498838 w 11269336"/>
              <a:gd name="connsiteY246" fmla="*/ 2189213 h 2323145"/>
              <a:gd name="connsiteX247" fmla="*/ 1494279 w 11269336"/>
              <a:gd name="connsiteY247" fmla="*/ 2183112 h 2323145"/>
              <a:gd name="connsiteX248" fmla="*/ 1473714 w 11269336"/>
              <a:gd name="connsiteY248" fmla="*/ 2179625 h 2323145"/>
              <a:gd name="connsiteX249" fmla="*/ 1449503 w 11269336"/>
              <a:gd name="connsiteY249" fmla="*/ 2182633 h 2323145"/>
              <a:gd name="connsiteX250" fmla="*/ 1335495 w 11269336"/>
              <a:gd name="connsiteY250" fmla="*/ 2203940 h 2323145"/>
              <a:gd name="connsiteX251" fmla="*/ 1266687 w 11269336"/>
              <a:gd name="connsiteY251" fmla="*/ 2212688 h 2323145"/>
              <a:gd name="connsiteX252" fmla="*/ 1239614 w 11269336"/>
              <a:gd name="connsiteY252" fmla="*/ 2209727 h 2323145"/>
              <a:gd name="connsiteX253" fmla="*/ 1202436 w 11269336"/>
              <a:gd name="connsiteY253" fmla="*/ 2209817 h 2323145"/>
              <a:gd name="connsiteX254" fmla="*/ 1136097 w 11269336"/>
              <a:gd name="connsiteY254" fmla="*/ 2205112 h 2323145"/>
              <a:gd name="connsiteX255" fmla="*/ 1048229 w 11269336"/>
              <a:gd name="connsiteY255" fmla="*/ 2207249 h 2323145"/>
              <a:gd name="connsiteX256" fmla="*/ 988232 w 11269336"/>
              <a:gd name="connsiteY256" fmla="*/ 2235635 h 2323145"/>
              <a:gd name="connsiteX257" fmla="*/ 981959 w 11269336"/>
              <a:gd name="connsiteY257" fmla="*/ 2231607 h 2323145"/>
              <a:gd name="connsiteX258" fmla="*/ 938600 w 11269336"/>
              <a:gd name="connsiteY258" fmla="*/ 2238113 h 2323145"/>
              <a:gd name="connsiteX259" fmla="*/ 791788 w 11269336"/>
              <a:gd name="connsiteY259" fmla="*/ 2293224 h 2323145"/>
              <a:gd name="connsiteX260" fmla="*/ 706914 w 11269336"/>
              <a:gd name="connsiteY260" fmla="*/ 2305046 h 2323145"/>
              <a:gd name="connsiteX261" fmla="*/ 675971 w 11269336"/>
              <a:gd name="connsiteY261" fmla="*/ 2304030 h 2323145"/>
              <a:gd name="connsiteX262" fmla="*/ 624180 w 11269336"/>
              <a:gd name="connsiteY262" fmla="*/ 2302650 h 2323145"/>
              <a:gd name="connsiteX263" fmla="*/ 583453 w 11269336"/>
              <a:gd name="connsiteY263" fmla="*/ 2288788 h 2323145"/>
              <a:gd name="connsiteX264" fmla="*/ 540946 w 11269336"/>
              <a:gd name="connsiteY264" fmla="*/ 2292721 h 2323145"/>
              <a:gd name="connsiteX265" fmla="*/ 533680 w 11269336"/>
              <a:gd name="connsiteY265" fmla="*/ 2310233 h 2323145"/>
              <a:gd name="connsiteX266" fmla="*/ 487366 w 11269336"/>
              <a:gd name="connsiteY266" fmla="*/ 2309053 h 2323145"/>
              <a:gd name="connsiteX267" fmla="*/ 416820 w 11269336"/>
              <a:gd name="connsiteY267" fmla="*/ 2305443 h 2323145"/>
              <a:gd name="connsiteX268" fmla="*/ 376805 w 11269336"/>
              <a:gd name="connsiteY268" fmla="*/ 2307647 h 2323145"/>
              <a:gd name="connsiteX269" fmla="*/ 266777 w 11269336"/>
              <a:gd name="connsiteY269" fmla="*/ 2309012 h 2323145"/>
              <a:gd name="connsiteX270" fmla="*/ 156013 w 11269336"/>
              <a:gd name="connsiteY270" fmla="*/ 2306832 h 2323145"/>
              <a:gd name="connsiteX271" fmla="*/ 87258 w 11269336"/>
              <a:gd name="connsiteY271" fmla="*/ 2285511 h 2323145"/>
              <a:gd name="connsiteX272" fmla="*/ 23798 w 11269336"/>
              <a:gd name="connsiteY272" fmla="*/ 2281822 h 2323145"/>
              <a:gd name="connsiteX273" fmla="*/ 0 w 11269336"/>
              <a:gd name="connsiteY273" fmla="*/ 2285369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296127 w 11269336"/>
              <a:gd name="connsiteY139" fmla="*/ 2023208 h 2323145"/>
              <a:gd name="connsiteX140" fmla="*/ 5092476 w 11269336"/>
              <a:gd name="connsiteY140" fmla="*/ 2100737 h 2323145"/>
              <a:gd name="connsiteX141" fmla="*/ 5060738 w 11269336"/>
              <a:gd name="connsiteY141" fmla="*/ 2083274 h 2323145"/>
              <a:gd name="connsiteX142" fmla="*/ 4860988 w 11269336"/>
              <a:gd name="connsiteY142" fmla="*/ 2135698 h 2323145"/>
              <a:gd name="connsiteX143" fmla="*/ 4807902 w 11269336"/>
              <a:gd name="connsiteY143" fmla="*/ 2138894 h 2323145"/>
              <a:gd name="connsiteX144" fmla="*/ 4765388 w 11269336"/>
              <a:gd name="connsiteY144" fmla="*/ 2162525 h 2323145"/>
              <a:gd name="connsiteX145" fmla="*/ 4745033 w 11269336"/>
              <a:gd name="connsiteY145" fmla="*/ 2158859 h 2323145"/>
              <a:gd name="connsiteX146" fmla="*/ 4741475 w 11269336"/>
              <a:gd name="connsiteY146" fmla="*/ 2157998 h 2323145"/>
              <a:gd name="connsiteX147" fmla="*/ 4728247 w 11269336"/>
              <a:gd name="connsiteY147" fmla="*/ 2159526 h 2323145"/>
              <a:gd name="connsiteX148" fmla="*/ 4723263 w 11269336"/>
              <a:gd name="connsiteY148" fmla="*/ 2153742 h 2323145"/>
              <a:gd name="connsiteX149" fmla="*/ 4702453 w 11269336"/>
              <a:gd name="connsiteY149" fmla="*/ 2151586 h 2323145"/>
              <a:gd name="connsiteX150" fmla="*/ 4678455 w 11269336"/>
              <a:gd name="connsiteY150" fmla="*/ 2156131 h 2323145"/>
              <a:gd name="connsiteX151" fmla="*/ 4593061 w 11269336"/>
              <a:gd name="connsiteY151" fmla="*/ 2171597 h 2323145"/>
              <a:gd name="connsiteX152" fmla="*/ 4579902 w 11269336"/>
              <a:gd name="connsiteY152" fmla="*/ 2177927 h 2323145"/>
              <a:gd name="connsiteX153" fmla="*/ 4533444 w 11269336"/>
              <a:gd name="connsiteY153" fmla="*/ 2181200 h 2323145"/>
              <a:gd name="connsiteX154" fmla="*/ 4492832 w 11269336"/>
              <a:gd name="connsiteY154" fmla="*/ 2188033 h 2323145"/>
              <a:gd name="connsiteX155" fmla="*/ 4467257 w 11269336"/>
              <a:gd name="connsiteY155" fmla="*/ 2196121 h 2323145"/>
              <a:gd name="connsiteX156" fmla="*/ 4459937 w 11269336"/>
              <a:gd name="connsiteY156" fmla="*/ 2195182 h 2323145"/>
              <a:gd name="connsiteX157" fmla="*/ 4433312 w 11269336"/>
              <a:gd name="connsiteY157" fmla="*/ 2199004 h 2323145"/>
              <a:gd name="connsiteX158" fmla="*/ 4420601 w 11269336"/>
              <a:gd name="connsiteY158" fmla="*/ 2205158 h 2323145"/>
              <a:gd name="connsiteX159" fmla="*/ 4405765 w 11269336"/>
              <a:gd name="connsiteY159" fmla="*/ 2199902 h 2323145"/>
              <a:gd name="connsiteX160" fmla="*/ 4401354 w 11269336"/>
              <a:gd name="connsiteY160" fmla="*/ 2194745 h 2323145"/>
              <a:gd name="connsiteX161" fmla="*/ 4383151 w 11269336"/>
              <a:gd name="connsiteY161" fmla="*/ 2201140 h 2323145"/>
              <a:gd name="connsiteX162" fmla="*/ 4366646 w 11269336"/>
              <a:gd name="connsiteY162" fmla="*/ 2198564 h 2323145"/>
              <a:gd name="connsiteX163" fmla="*/ 4354009 w 11269336"/>
              <a:gd name="connsiteY163" fmla="*/ 2204984 h 2323145"/>
              <a:gd name="connsiteX164" fmla="*/ 4348284 w 11269336"/>
              <a:gd name="connsiteY164" fmla="*/ 2205270 h 2323145"/>
              <a:gd name="connsiteX165" fmla="*/ 4333906 w 11269336"/>
              <a:gd name="connsiteY165" fmla="*/ 2205251 h 2323145"/>
              <a:gd name="connsiteX166" fmla="*/ 4308819 w 11269336"/>
              <a:gd name="connsiteY166" fmla="*/ 2203822 h 2323145"/>
              <a:gd name="connsiteX167" fmla="*/ 4301210 w 11269336"/>
              <a:gd name="connsiteY167" fmla="*/ 2204456 h 2323145"/>
              <a:gd name="connsiteX168" fmla="*/ 4283095 w 11269336"/>
              <a:gd name="connsiteY168" fmla="*/ 2198177 h 2323145"/>
              <a:gd name="connsiteX169" fmla="*/ 4250119 w 11269336"/>
              <a:gd name="connsiteY169" fmla="*/ 2196342 h 2323145"/>
              <a:gd name="connsiteX170" fmla="*/ 4189203 w 11269336"/>
              <a:gd name="connsiteY170" fmla="*/ 2178994 h 2323145"/>
              <a:gd name="connsiteX171" fmla="*/ 4154035 w 11269336"/>
              <a:gd name="connsiteY171" fmla="*/ 2171950 h 2323145"/>
              <a:gd name="connsiteX172" fmla="*/ 4129569 w 11269336"/>
              <a:gd name="connsiteY172" fmla="*/ 2163850 h 2323145"/>
              <a:gd name="connsiteX173" fmla="*/ 4061250 w 11269336"/>
              <a:gd name="connsiteY173" fmla="*/ 2159236 h 2323145"/>
              <a:gd name="connsiteX174" fmla="*/ 3945480 w 11269336"/>
              <a:gd name="connsiteY174" fmla="*/ 2158279 h 2323145"/>
              <a:gd name="connsiteX175" fmla="*/ 3921468 w 11269336"/>
              <a:gd name="connsiteY175" fmla="*/ 2156588 h 2323145"/>
              <a:gd name="connsiteX176" fmla="*/ 3903348 w 11269336"/>
              <a:gd name="connsiteY176" fmla="*/ 2149220 h 2323145"/>
              <a:gd name="connsiteX177" fmla="*/ 3901342 w 11269336"/>
              <a:gd name="connsiteY177" fmla="*/ 2142355 h 2323145"/>
              <a:gd name="connsiteX178" fmla="*/ 3888539 w 11269336"/>
              <a:gd name="connsiteY178" fmla="*/ 2140476 h 2323145"/>
              <a:gd name="connsiteX179" fmla="*/ 3885662 w 11269336"/>
              <a:gd name="connsiteY179" fmla="*/ 2138740 h 2323145"/>
              <a:gd name="connsiteX180" fmla="*/ 3868627 w 11269336"/>
              <a:gd name="connsiteY180" fmla="*/ 2130023 h 2323145"/>
              <a:gd name="connsiteX181" fmla="*/ 3819177 w 11269336"/>
              <a:gd name="connsiteY181" fmla="*/ 2142111 h 2323145"/>
              <a:gd name="connsiteX182" fmla="*/ 3769100 w 11269336"/>
              <a:gd name="connsiteY182" fmla="*/ 2131731 h 2323145"/>
              <a:gd name="connsiteX183" fmla="*/ 3562752 w 11269336"/>
              <a:gd name="connsiteY183" fmla="*/ 2131785 h 2323145"/>
              <a:gd name="connsiteX184" fmla="*/ 3541402 w 11269336"/>
              <a:gd name="connsiteY184" fmla="*/ 2106821 h 2323145"/>
              <a:gd name="connsiteX185" fmla="*/ 3460591 w 11269336"/>
              <a:gd name="connsiteY185" fmla="*/ 2097951 h 2323145"/>
              <a:gd name="connsiteX186" fmla="*/ 3320348 w 11269336"/>
              <a:gd name="connsiteY186" fmla="*/ 2130191 h 2323145"/>
              <a:gd name="connsiteX187" fmla="*/ 3170922 w 11269336"/>
              <a:gd name="connsiteY187" fmla="*/ 2115957 h 2323145"/>
              <a:gd name="connsiteX188" fmla="*/ 3156256 w 11269336"/>
              <a:gd name="connsiteY188" fmla="*/ 2124773 h 2323145"/>
              <a:gd name="connsiteX189" fmla="*/ 3140298 w 11269336"/>
              <a:gd name="connsiteY189" fmla="*/ 2129182 h 2323145"/>
              <a:gd name="connsiteX190" fmla="*/ 3138514 w 11269336"/>
              <a:gd name="connsiteY190" fmla="*/ 2128069 h 2323145"/>
              <a:gd name="connsiteX191" fmla="*/ 3120467 w 11269336"/>
              <a:gd name="connsiteY191" fmla="*/ 2128281 h 2323145"/>
              <a:gd name="connsiteX192" fmla="*/ 3116175 w 11269336"/>
              <a:gd name="connsiteY192" fmla="*/ 2131633 h 2323145"/>
              <a:gd name="connsiteX193" fmla="*/ 3103685 w 11269336"/>
              <a:gd name="connsiteY193" fmla="*/ 2132814 h 2323145"/>
              <a:gd name="connsiteX194" fmla="*/ 3078794 w 11269336"/>
              <a:gd name="connsiteY194" fmla="*/ 2137935 h 2323145"/>
              <a:gd name="connsiteX195" fmla="*/ 3074407 w 11269336"/>
              <a:gd name="connsiteY195" fmla="*/ 2136274 h 2323145"/>
              <a:gd name="connsiteX196" fmla="*/ 3037285 w 11269336"/>
              <a:gd name="connsiteY196" fmla="*/ 2139919 h 2323145"/>
              <a:gd name="connsiteX197" fmla="*/ 3036901 w 11269336"/>
              <a:gd name="connsiteY197" fmla="*/ 2138726 h 2323145"/>
              <a:gd name="connsiteX198" fmla="*/ 3026996 w 11269336"/>
              <a:gd name="connsiteY198" fmla="*/ 2134322 h 2323145"/>
              <a:gd name="connsiteX199" fmla="*/ 3007772 w 11269336"/>
              <a:gd name="connsiteY199" fmla="*/ 2128742 h 2323145"/>
              <a:gd name="connsiteX200" fmla="*/ 2965030 w 11269336"/>
              <a:gd name="connsiteY200" fmla="*/ 2100494 h 2323145"/>
              <a:gd name="connsiteX201" fmla="*/ 2926342 w 11269336"/>
              <a:gd name="connsiteY201" fmla="*/ 2104155 h 2323145"/>
              <a:gd name="connsiteX202" fmla="*/ 2918608 w 11269336"/>
              <a:gd name="connsiteY202" fmla="*/ 2104215 h 2323145"/>
              <a:gd name="connsiteX203" fmla="*/ 2918475 w 11269336"/>
              <a:gd name="connsiteY203" fmla="*/ 2103937 h 2323145"/>
              <a:gd name="connsiteX204" fmla="*/ 2910360 w 11269336"/>
              <a:gd name="connsiteY204" fmla="*/ 2103444 h 2323145"/>
              <a:gd name="connsiteX205" fmla="*/ 2904507 w 11269336"/>
              <a:gd name="connsiteY205" fmla="*/ 2104326 h 2323145"/>
              <a:gd name="connsiteX206" fmla="*/ 2889503 w 11269336"/>
              <a:gd name="connsiteY206" fmla="*/ 2104443 h 2323145"/>
              <a:gd name="connsiteX207" fmla="*/ 2884480 w 11269336"/>
              <a:gd name="connsiteY207" fmla="*/ 2102626 h 2323145"/>
              <a:gd name="connsiteX208" fmla="*/ 2882689 w 11269336"/>
              <a:gd name="connsiteY208" fmla="*/ 2099228 h 2323145"/>
              <a:gd name="connsiteX209" fmla="*/ 2881291 w 11269336"/>
              <a:gd name="connsiteY209" fmla="*/ 2099618 h 2323145"/>
              <a:gd name="connsiteX210" fmla="*/ 2853979 w 11269336"/>
              <a:gd name="connsiteY210" fmla="*/ 2090388 h 2323145"/>
              <a:gd name="connsiteX211" fmla="*/ 2791790 w 11269336"/>
              <a:gd name="connsiteY211" fmla="*/ 2080332 h 2323145"/>
              <a:gd name="connsiteX212" fmla="*/ 2755844 w 11269336"/>
              <a:gd name="connsiteY212" fmla="*/ 2078874 h 2323145"/>
              <a:gd name="connsiteX213" fmla="*/ 2657742 w 11269336"/>
              <a:gd name="connsiteY213" fmla="*/ 2070179 h 2323145"/>
              <a:gd name="connsiteX214" fmla="*/ 2559549 w 11269336"/>
              <a:gd name="connsiteY214" fmla="*/ 2057873 h 2323145"/>
              <a:gd name="connsiteX215" fmla="*/ 2512054 w 11269336"/>
              <a:gd name="connsiteY215" fmla="*/ 2031671 h 2323145"/>
              <a:gd name="connsiteX216" fmla="*/ 2506437 w 11269336"/>
              <a:gd name="connsiteY216" fmla="*/ 2030918 h 2323145"/>
              <a:gd name="connsiteX217" fmla="*/ 2491752 w 11269336"/>
              <a:gd name="connsiteY217" fmla="*/ 2033906 h 2323145"/>
              <a:gd name="connsiteX218" fmla="*/ 2486338 w 11269336"/>
              <a:gd name="connsiteY218" fmla="*/ 2035862 h 2323145"/>
              <a:gd name="connsiteX219" fmla="*/ 2478186 w 11269336"/>
              <a:gd name="connsiteY219" fmla="*/ 2036953 h 2323145"/>
              <a:gd name="connsiteX220" fmla="*/ 2477950 w 11269336"/>
              <a:gd name="connsiteY220" fmla="*/ 2036715 h 2323145"/>
              <a:gd name="connsiteX221" fmla="*/ 2470381 w 11269336"/>
              <a:gd name="connsiteY221" fmla="*/ 2038256 h 2323145"/>
              <a:gd name="connsiteX222" fmla="*/ 2433781 w 11269336"/>
              <a:gd name="connsiteY222" fmla="*/ 2049140 h 2323145"/>
              <a:gd name="connsiteX223" fmla="*/ 2381172 w 11269336"/>
              <a:gd name="connsiteY223" fmla="*/ 2030645 h 2323145"/>
              <a:gd name="connsiteX224" fmla="*/ 2360198 w 11269336"/>
              <a:gd name="connsiteY224" fmla="*/ 2029059 h 2323145"/>
              <a:gd name="connsiteX225" fmla="*/ 2348815 w 11269336"/>
              <a:gd name="connsiteY225" fmla="*/ 2026798 h 2323145"/>
              <a:gd name="connsiteX226" fmla="*/ 2347988 w 11269336"/>
              <a:gd name="connsiteY226" fmla="*/ 2025745 h 2323145"/>
              <a:gd name="connsiteX227" fmla="*/ 2312920 w 11269336"/>
              <a:gd name="connsiteY227" fmla="*/ 2036311 h 2323145"/>
              <a:gd name="connsiteX228" fmla="*/ 2307986 w 11269336"/>
              <a:gd name="connsiteY228" fmla="*/ 2035583 h 2323145"/>
              <a:gd name="connsiteX229" fmla="*/ 2285481 w 11269336"/>
              <a:gd name="connsiteY229" fmla="*/ 2045197 h 2323145"/>
              <a:gd name="connsiteX230" fmla="*/ 2273666 w 11269336"/>
              <a:gd name="connsiteY230" fmla="*/ 2048710 h 2323145"/>
              <a:gd name="connsiteX231" fmla="*/ 2270719 w 11269336"/>
              <a:gd name="connsiteY231" fmla="*/ 2052702 h 2323145"/>
              <a:gd name="connsiteX232" fmla="*/ 2253080 w 11269336"/>
              <a:gd name="connsiteY232" fmla="*/ 2056363 h 2323145"/>
              <a:gd name="connsiteX233" fmla="*/ 2250906 w 11269336"/>
              <a:gd name="connsiteY233" fmla="*/ 2055654 h 2323145"/>
              <a:gd name="connsiteX234" fmla="*/ 2236905 w 11269336"/>
              <a:gd name="connsiteY234" fmla="*/ 2062882 h 2323145"/>
              <a:gd name="connsiteX235" fmla="*/ 2225830 w 11269336"/>
              <a:gd name="connsiteY235" fmla="*/ 2074027 h 2323145"/>
              <a:gd name="connsiteX236" fmla="*/ 2073776 w 11269336"/>
              <a:gd name="connsiteY236" fmla="*/ 2089244 h 2323145"/>
              <a:gd name="connsiteX237" fmla="*/ 1948256 w 11269336"/>
              <a:gd name="connsiteY237" fmla="*/ 2146616 h 2323145"/>
              <a:gd name="connsiteX238" fmla="*/ 1865582 w 11269336"/>
              <a:gd name="connsiteY238" fmla="*/ 2153738 h 2323145"/>
              <a:gd name="connsiteX239" fmla="*/ 1835210 w 11269336"/>
              <a:gd name="connsiteY239" fmla="*/ 2134244 h 2323145"/>
              <a:gd name="connsiteX240" fmla="*/ 1632661 w 11269336"/>
              <a:gd name="connsiteY240" fmla="*/ 2173882 h 2323145"/>
              <a:gd name="connsiteX241" fmla="*/ 1579590 w 11269336"/>
              <a:gd name="connsiteY241" fmla="*/ 2173680 h 2323145"/>
              <a:gd name="connsiteX242" fmla="*/ 1535601 w 11269336"/>
              <a:gd name="connsiteY242" fmla="*/ 2194590 h 2323145"/>
              <a:gd name="connsiteX243" fmla="*/ 1515594 w 11269336"/>
              <a:gd name="connsiteY243" fmla="*/ 2189622 h 2323145"/>
              <a:gd name="connsiteX244" fmla="*/ 1512113 w 11269336"/>
              <a:gd name="connsiteY244" fmla="*/ 2188534 h 2323145"/>
              <a:gd name="connsiteX245" fmla="*/ 1498838 w 11269336"/>
              <a:gd name="connsiteY245" fmla="*/ 2189213 h 2323145"/>
              <a:gd name="connsiteX246" fmla="*/ 1494279 w 11269336"/>
              <a:gd name="connsiteY246" fmla="*/ 2183112 h 2323145"/>
              <a:gd name="connsiteX247" fmla="*/ 1473714 w 11269336"/>
              <a:gd name="connsiteY247" fmla="*/ 2179625 h 2323145"/>
              <a:gd name="connsiteX248" fmla="*/ 1449503 w 11269336"/>
              <a:gd name="connsiteY248" fmla="*/ 2182633 h 2323145"/>
              <a:gd name="connsiteX249" fmla="*/ 1335495 w 11269336"/>
              <a:gd name="connsiteY249" fmla="*/ 2203940 h 2323145"/>
              <a:gd name="connsiteX250" fmla="*/ 1266687 w 11269336"/>
              <a:gd name="connsiteY250" fmla="*/ 2212688 h 2323145"/>
              <a:gd name="connsiteX251" fmla="*/ 1239614 w 11269336"/>
              <a:gd name="connsiteY251" fmla="*/ 2209727 h 2323145"/>
              <a:gd name="connsiteX252" fmla="*/ 1202436 w 11269336"/>
              <a:gd name="connsiteY252" fmla="*/ 2209817 h 2323145"/>
              <a:gd name="connsiteX253" fmla="*/ 1136097 w 11269336"/>
              <a:gd name="connsiteY253" fmla="*/ 2205112 h 2323145"/>
              <a:gd name="connsiteX254" fmla="*/ 1048229 w 11269336"/>
              <a:gd name="connsiteY254" fmla="*/ 2207249 h 2323145"/>
              <a:gd name="connsiteX255" fmla="*/ 988232 w 11269336"/>
              <a:gd name="connsiteY255" fmla="*/ 2235635 h 2323145"/>
              <a:gd name="connsiteX256" fmla="*/ 981959 w 11269336"/>
              <a:gd name="connsiteY256" fmla="*/ 2231607 h 2323145"/>
              <a:gd name="connsiteX257" fmla="*/ 938600 w 11269336"/>
              <a:gd name="connsiteY257" fmla="*/ 2238113 h 2323145"/>
              <a:gd name="connsiteX258" fmla="*/ 791788 w 11269336"/>
              <a:gd name="connsiteY258" fmla="*/ 2293224 h 2323145"/>
              <a:gd name="connsiteX259" fmla="*/ 706914 w 11269336"/>
              <a:gd name="connsiteY259" fmla="*/ 2305046 h 2323145"/>
              <a:gd name="connsiteX260" fmla="*/ 675971 w 11269336"/>
              <a:gd name="connsiteY260" fmla="*/ 2304030 h 2323145"/>
              <a:gd name="connsiteX261" fmla="*/ 624180 w 11269336"/>
              <a:gd name="connsiteY261" fmla="*/ 2302650 h 2323145"/>
              <a:gd name="connsiteX262" fmla="*/ 583453 w 11269336"/>
              <a:gd name="connsiteY262" fmla="*/ 2288788 h 2323145"/>
              <a:gd name="connsiteX263" fmla="*/ 540946 w 11269336"/>
              <a:gd name="connsiteY263" fmla="*/ 2292721 h 2323145"/>
              <a:gd name="connsiteX264" fmla="*/ 533680 w 11269336"/>
              <a:gd name="connsiteY264" fmla="*/ 2310233 h 2323145"/>
              <a:gd name="connsiteX265" fmla="*/ 487366 w 11269336"/>
              <a:gd name="connsiteY265" fmla="*/ 2309053 h 2323145"/>
              <a:gd name="connsiteX266" fmla="*/ 416820 w 11269336"/>
              <a:gd name="connsiteY266" fmla="*/ 2305443 h 2323145"/>
              <a:gd name="connsiteX267" fmla="*/ 376805 w 11269336"/>
              <a:gd name="connsiteY267" fmla="*/ 2307647 h 2323145"/>
              <a:gd name="connsiteX268" fmla="*/ 266777 w 11269336"/>
              <a:gd name="connsiteY268" fmla="*/ 2309012 h 2323145"/>
              <a:gd name="connsiteX269" fmla="*/ 156013 w 11269336"/>
              <a:gd name="connsiteY269" fmla="*/ 2306832 h 2323145"/>
              <a:gd name="connsiteX270" fmla="*/ 87258 w 11269336"/>
              <a:gd name="connsiteY270" fmla="*/ 2285511 h 2323145"/>
              <a:gd name="connsiteX271" fmla="*/ 23798 w 11269336"/>
              <a:gd name="connsiteY271" fmla="*/ 2281822 h 2323145"/>
              <a:gd name="connsiteX272" fmla="*/ 0 w 11269336"/>
              <a:gd name="connsiteY272" fmla="*/ 2285369 h 2323145"/>
              <a:gd name="connsiteX273" fmla="*/ 0 w 11269336"/>
              <a:gd name="connsiteY27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092476 w 11269336"/>
              <a:gd name="connsiteY139" fmla="*/ 2100737 h 2323145"/>
              <a:gd name="connsiteX140" fmla="*/ 5060738 w 11269336"/>
              <a:gd name="connsiteY140" fmla="*/ 208327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60738 w 11269336"/>
              <a:gd name="connsiteY140" fmla="*/ 208327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1048229 w 11269336"/>
              <a:gd name="connsiteY252" fmla="*/ 2207249 h 2323145"/>
              <a:gd name="connsiteX253" fmla="*/ 988232 w 11269336"/>
              <a:gd name="connsiteY253" fmla="*/ 2235635 h 2323145"/>
              <a:gd name="connsiteX254" fmla="*/ 981959 w 11269336"/>
              <a:gd name="connsiteY254" fmla="*/ 2231607 h 2323145"/>
              <a:gd name="connsiteX255" fmla="*/ 938600 w 11269336"/>
              <a:gd name="connsiteY255" fmla="*/ 2238113 h 2323145"/>
              <a:gd name="connsiteX256" fmla="*/ 791788 w 11269336"/>
              <a:gd name="connsiteY256" fmla="*/ 2293224 h 2323145"/>
              <a:gd name="connsiteX257" fmla="*/ 706914 w 11269336"/>
              <a:gd name="connsiteY257" fmla="*/ 2305046 h 2323145"/>
              <a:gd name="connsiteX258" fmla="*/ 675971 w 11269336"/>
              <a:gd name="connsiteY258" fmla="*/ 2304030 h 2323145"/>
              <a:gd name="connsiteX259" fmla="*/ 624180 w 11269336"/>
              <a:gd name="connsiteY259" fmla="*/ 2302650 h 2323145"/>
              <a:gd name="connsiteX260" fmla="*/ 583453 w 11269336"/>
              <a:gd name="connsiteY260" fmla="*/ 2288788 h 2323145"/>
              <a:gd name="connsiteX261" fmla="*/ 540946 w 11269336"/>
              <a:gd name="connsiteY261" fmla="*/ 2292721 h 2323145"/>
              <a:gd name="connsiteX262" fmla="*/ 533680 w 11269336"/>
              <a:gd name="connsiteY262" fmla="*/ 2310233 h 2323145"/>
              <a:gd name="connsiteX263" fmla="*/ 487366 w 11269336"/>
              <a:gd name="connsiteY263" fmla="*/ 2309053 h 2323145"/>
              <a:gd name="connsiteX264" fmla="*/ 416820 w 11269336"/>
              <a:gd name="connsiteY264" fmla="*/ 2305443 h 2323145"/>
              <a:gd name="connsiteX265" fmla="*/ 376805 w 11269336"/>
              <a:gd name="connsiteY265" fmla="*/ 2307647 h 2323145"/>
              <a:gd name="connsiteX266" fmla="*/ 266777 w 11269336"/>
              <a:gd name="connsiteY266" fmla="*/ 2309012 h 2323145"/>
              <a:gd name="connsiteX267" fmla="*/ 156013 w 11269336"/>
              <a:gd name="connsiteY267" fmla="*/ 2306832 h 2323145"/>
              <a:gd name="connsiteX268" fmla="*/ 87258 w 11269336"/>
              <a:gd name="connsiteY268" fmla="*/ 2285511 h 2323145"/>
              <a:gd name="connsiteX269" fmla="*/ 23798 w 11269336"/>
              <a:gd name="connsiteY269" fmla="*/ 2281822 h 2323145"/>
              <a:gd name="connsiteX270" fmla="*/ 0 w 11269336"/>
              <a:gd name="connsiteY270" fmla="*/ 2285369 h 2323145"/>
              <a:gd name="connsiteX271" fmla="*/ 0 w 11269336"/>
              <a:gd name="connsiteY27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1048229 w 11269336"/>
              <a:gd name="connsiteY252" fmla="*/ 2207249 h 2323145"/>
              <a:gd name="connsiteX253" fmla="*/ 988232 w 11269336"/>
              <a:gd name="connsiteY253" fmla="*/ 2235635 h 2323145"/>
              <a:gd name="connsiteX254" fmla="*/ 981959 w 11269336"/>
              <a:gd name="connsiteY254" fmla="*/ 2231607 h 2323145"/>
              <a:gd name="connsiteX255" fmla="*/ 938600 w 11269336"/>
              <a:gd name="connsiteY255" fmla="*/ 2238113 h 2323145"/>
              <a:gd name="connsiteX256" fmla="*/ 791788 w 11269336"/>
              <a:gd name="connsiteY256" fmla="*/ 2293224 h 2323145"/>
              <a:gd name="connsiteX257" fmla="*/ 706914 w 11269336"/>
              <a:gd name="connsiteY257" fmla="*/ 2305046 h 2323145"/>
              <a:gd name="connsiteX258" fmla="*/ 675971 w 11269336"/>
              <a:gd name="connsiteY258" fmla="*/ 2304030 h 2323145"/>
              <a:gd name="connsiteX259" fmla="*/ 624180 w 11269336"/>
              <a:gd name="connsiteY259" fmla="*/ 2302650 h 2323145"/>
              <a:gd name="connsiteX260" fmla="*/ 583453 w 11269336"/>
              <a:gd name="connsiteY260" fmla="*/ 2288788 h 2323145"/>
              <a:gd name="connsiteX261" fmla="*/ 540946 w 11269336"/>
              <a:gd name="connsiteY261" fmla="*/ 2292721 h 2323145"/>
              <a:gd name="connsiteX262" fmla="*/ 533680 w 11269336"/>
              <a:gd name="connsiteY262" fmla="*/ 2310233 h 2323145"/>
              <a:gd name="connsiteX263" fmla="*/ 487366 w 11269336"/>
              <a:gd name="connsiteY263" fmla="*/ 2309053 h 2323145"/>
              <a:gd name="connsiteX264" fmla="*/ 416820 w 11269336"/>
              <a:gd name="connsiteY264" fmla="*/ 2305443 h 2323145"/>
              <a:gd name="connsiteX265" fmla="*/ 376805 w 11269336"/>
              <a:gd name="connsiteY265" fmla="*/ 2307647 h 2323145"/>
              <a:gd name="connsiteX266" fmla="*/ 266777 w 11269336"/>
              <a:gd name="connsiteY266" fmla="*/ 2309012 h 2323145"/>
              <a:gd name="connsiteX267" fmla="*/ 156013 w 11269336"/>
              <a:gd name="connsiteY267" fmla="*/ 2306832 h 2323145"/>
              <a:gd name="connsiteX268" fmla="*/ 87258 w 11269336"/>
              <a:gd name="connsiteY268" fmla="*/ 2285511 h 2323145"/>
              <a:gd name="connsiteX269" fmla="*/ 23798 w 11269336"/>
              <a:gd name="connsiteY269" fmla="*/ 2281822 h 2323145"/>
              <a:gd name="connsiteX270" fmla="*/ 0 w 11269336"/>
              <a:gd name="connsiteY270" fmla="*/ 2285369 h 2323145"/>
              <a:gd name="connsiteX271" fmla="*/ 0 w 11269336"/>
              <a:gd name="connsiteY27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988232 w 11269336"/>
              <a:gd name="connsiteY252" fmla="*/ 2235635 h 2323145"/>
              <a:gd name="connsiteX253" fmla="*/ 981959 w 11269336"/>
              <a:gd name="connsiteY253" fmla="*/ 2231607 h 2323145"/>
              <a:gd name="connsiteX254" fmla="*/ 938600 w 11269336"/>
              <a:gd name="connsiteY254" fmla="*/ 2238113 h 2323145"/>
              <a:gd name="connsiteX255" fmla="*/ 791788 w 11269336"/>
              <a:gd name="connsiteY255" fmla="*/ 2293224 h 2323145"/>
              <a:gd name="connsiteX256" fmla="*/ 706914 w 11269336"/>
              <a:gd name="connsiteY256" fmla="*/ 2305046 h 2323145"/>
              <a:gd name="connsiteX257" fmla="*/ 675971 w 11269336"/>
              <a:gd name="connsiteY257" fmla="*/ 2304030 h 2323145"/>
              <a:gd name="connsiteX258" fmla="*/ 624180 w 11269336"/>
              <a:gd name="connsiteY258" fmla="*/ 2302650 h 2323145"/>
              <a:gd name="connsiteX259" fmla="*/ 583453 w 11269336"/>
              <a:gd name="connsiteY259" fmla="*/ 2288788 h 2323145"/>
              <a:gd name="connsiteX260" fmla="*/ 540946 w 11269336"/>
              <a:gd name="connsiteY260" fmla="*/ 2292721 h 2323145"/>
              <a:gd name="connsiteX261" fmla="*/ 533680 w 11269336"/>
              <a:gd name="connsiteY261" fmla="*/ 2310233 h 2323145"/>
              <a:gd name="connsiteX262" fmla="*/ 487366 w 11269336"/>
              <a:gd name="connsiteY262" fmla="*/ 2309053 h 2323145"/>
              <a:gd name="connsiteX263" fmla="*/ 416820 w 11269336"/>
              <a:gd name="connsiteY263" fmla="*/ 2305443 h 2323145"/>
              <a:gd name="connsiteX264" fmla="*/ 376805 w 11269336"/>
              <a:gd name="connsiteY264" fmla="*/ 2307647 h 2323145"/>
              <a:gd name="connsiteX265" fmla="*/ 266777 w 11269336"/>
              <a:gd name="connsiteY265" fmla="*/ 2309012 h 2323145"/>
              <a:gd name="connsiteX266" fmla="*/ 156013 w 11269336"/>
              <a:gd name="connsiteY266" fmla="*/ 2306832 h 2323145"/>
              <a:gd name="connsiteX267" fmla="*/ 87258 w 11269336"/>
              <a:gd name="connsiteY267" fmla="*/ 2285511 h 2323145"/>
              <a:gd name="connsiteX268" fmla="*/ 23798 w 11269336"/>
              <a:gd name="connsiteY268" fmla="*/ 2281822 h 2323145"/>
              <a:gd name="connsiteX269" fmla="*/ 0 w 11269336"/>
              <a:gd name="connsiteY269" fmla="*/ 2285369 h 2323145"/>
              <a:gd name="connsiteX270" fmla="*/ 0 w 11269336"/>
              <a:gd name="connsiteY270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266687 w 11269336"/>
              <a:gd name="connsiteY247" fmla="*/ 2212688 h 2323145"/>
              <a:gd name="connsiteX248" fmla="*/ 1239614 w 11269336"/>
              <a:gd name="connsiteY248" fmla="*/ 2209727 h 2323145"/>
              <a:gd name="connsiteX249" fmla="*/ 1202436 w 11269336"/>
              <a:gd name="connsiteY249" fmla="*/ 2209817 h 2323145"/>
              <a:gd name="connsiteX250" fmla="*/ 1136097 w 11269336"/>
              <a:gd name="connsiteY250" fmla="*/ 2205112 h 2323145"/>
              <a:gd name="connsiteX251" fmla="*/ 988232 w 11269336"/>
              <a:gd name="connsiteY251" fmla="*/ 2235635 h 2323145"/>
              <a:gd name="connsiteX252" fmla="*/ 981959 w 11269336"/>
              <a:gd name="connsiteY252" fmla="*/ 2231607 h 2323145"/>
              <a:gd name="connsiteX253" fmla="*/ 938600 w 11269336"/>
              <a:gd name="connsiteY253" fmla="*/ 2238113 h 2323145"/>
              <a:gd name="connsiteX254" fmla="*/ 791788 w 11269336"/>
              <a:gd name="connsiteY254" fmla="*/ 2293224 h 2323145"/>
              <a:gd name="connsiteX255" fmla="*/ 706914 w 11269336"/>
              <a:gd name="connsiteY255" fmla="*/ 2305046 h 2323145"/>
              <a:gd name="connsiteX256" fmla="*/ 675971 w 11269336"/>
              <a:gd name="connsiteY256" fmla="*/ 2304030 h 2323145"/>
              <a:gd name="connsiteX257" fmla="*/ 624180 w 11269336"/>
              <a:gd name="connsiteY257" fmla="*/ 2302650 h 2323145"/>
              <a:gd name="connsiteX258" fmla="*/ 583453 w 11269336"/>
              <a:gd name="connsiteY258" fmla="*/ 2288788 h 2323145"/>
              <a:gd name="connsiteX259" fmla="*/ 540946 w 11269336"/>
              <a:gd name="connsiteY259" fmla="*/ 2292721 h 2323145"/>
              <a:gd name="connsiteX260" fmla="*/ 533680 w 11269336"/>
              <a:gd name="connsiteY260" fmla="*/ 2310233 h 2323145"/>
              <a:gd name="connsiteX261" fmla="*/ 487366 w 11269336"/>
              <a:gd name="connsiteY261" fmla="*/ 2309053 h 2323145"/>
              <a:gd name="connsiteX262" fmla="*/ 416820 w 11269336"/>
              <a:gd name="connsiteY262" fmla="*/ 2305443 h 2323145"/>
              <a:gd name="connsiteX263" fmla="*/ 376805 w 11269336"/>
              <a:gd name="connsiteY263" fmla="*/ 2307647 h 2323145"/>
              <a:gd name="connsiteX264" fmla="*/ 266777 w 11269336"/>
              <a:gd name="connsiteY264" fmla="*/ 2309012 h 2323145"/>
              <a:gd name="connsiteX265" fmla="*/ 156013 w 11269336"/>
              <a:gd name="connsiteY265" fmla="*/ 2306832 h 2323145"/>
              <a:gd name="connsiteX266" fmla="*/ 87258 w 11269336"/>
              <a:gd name="connsiteY266" fmla="*/ 2285511 h 2323145"/>
              <a:gd name="connsiteX267" fmla="*/ 23798 w 11269336"/>
              <a:gd name="connsiteY267" fmla="*/ 2281822 h 2323145"/>
              <a:gd name="connsiteX268" fmla="*/ 0 w 11269336"/>
              <a:gd name="connsiteY268" fmla="*/ 2285369 h 2323145"/>
              <a:gd name="connsiteX269" fmla="*/ 0 w 11269336"/>
              <a:gd name="connsiteY269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197391 w 11269336"/>
              <a:gd name="connsiteY54" fmla="*/ 1107746 h 2323145"/>
              <a:gd name="connsiteX55" fmla="*/ 8081474 w 11269336"/>
              <a:gd name="connsiteY55" fmla="*/ 1130125 h 2323145"/>
              <a:gd name="connsiteX56" fmla="*/ 8053585 w 11269336"/>
              <a:gd name="connsiteY56" fmla="*/ 1129169 h 2323145"/>
              <a:gd name="connsiteX57" fmla="*/ 8038422 w 11269336"/>
              <a:gd name="connsiteY57" fmla="*/ 1119092 h 2323145"/>
              <a:gd name="connsiteX58" fmla="*/ 8029450 w 11269336"/>
              <a:gd name="connsiteY58" fmla="*/ 1125592 h 2323145"/>
              <a:gd name="connsiteX59" fmla="*/ 7959552 w 11269336"/>
              <a:gd name="connsiteY59" fmla="*/ 1140188 h 2323145"/>
              <a:gd name="connsiteX60" fmla="*/ 7914188 w 11269336"/>
              <a:gd name="connsiteY60" fmla="*/ 1150862 h 2323145"/>
              <a:gd name="connsiteX61" fmla="*/ 7914918 w 11269336"/>
              <a:gd name="connsiteY61" fmla="*/ 1168758 h 2323145"/>
              <a:gd name="connsiteX62" fmla="*/ 7875510 w 11269336"/>
              <a:gd name="connsiteY62" fmla="*/ 1183153 h 2323145"/>
              <a:gd name="connsiteX63" fmla="*/ 7829932 w 11269336"/>
              <a:gd name="connsiteY63" fmla="*/ 1180782 h 2323145"/>
              <a:gd name="connsiteX64" fmla="*/ 7779182 w 11269336"/>
              <a:gd name="connsiteY64" fmla="*/ 1192665 h 2323145"/>
              <a:gd name="connsiteX65" fmla="*/ 7748774 w 11269336"/>
              <a:gd name="connsiteY65" fmla="*/ 1199586 h 2323145"/>
              <a:gd name="connsiteX66" fmla="*/ 7671846 w 11269336"/>
              <a:gd name="connsiteY66" fmla="*/ 1231966 h 2323145"/>
              <a:gd name="connsiteX67" fmla="*/ 7554146 w 11269336"/>
              <a:gd name="connsiteY67" fmla="*/ 1319748 h 2323145"/>
              <a:gd name="connsiteX68" fmla="*/ 7515052 w 11269336"/>
              <a:gd name="connsiteY68" fmla="*/ 1336718 h 2323145"/>
              <a:gd name="connsiteX69" fmla="*/ 7507193 w 11269336"/>
              <a:gd name="connsiteY69" fmla="*/ 1334617 h 2323145"/>
              <a:gd name="connsiteX70" fmla="*/ 7461694 w 11269336"/>
              <a:gd name="connsiteY70" fmla="*/ 1375866 h 2323145"/>
              <a:gd name="connsiteX71" fmla="*/ 7377571 w 11269336"/>
              <a:gd name="connsiteY71" fmla="*/ 1400128 h 2323145"/>
              <a:gd name="connsiteX72" fmla="*/ 7311261 w 11269336"/>
              <a:gd name="connsiteY72" fmla="*/ 1412652 h 2323145"/>
              <a:gd name="connsiteX73" fmla="*/ 7275307 w 11269336"/>
              <a:gd name="connsiteY73" fmla="*/ 1422171 h 2323145"/>
              <a:gd name="connsiteX74" fmla="*/ 7247783 w 11269336"/>
              <a:gd name="connsiteY74" fmla="*/ 1426330 h 2323145"/>
              <a:gd name="connsiteX75" fmla="*/ 7185047 w 11269336"/>
              <a:gd name="connsiteY75" fmla="*/ 1451812 h 2323145"/>
              <a:gd name="connsiteX76" fmla="*/ 7084117 w 11269336"/>
              <a:gd name="connsiteY76" fmla="*/ 1500281 h 2323145"/>
              <a:gd name="connsiteX77" fmla="*/ 7062011 w 11269336"/>
              <a:gd name="connsiteY77" fmla="*/ 1509183 h 2323145"/>
              <a:gd name="connsiteX78" fmla="*/ 7040555 w 11269336"/>
              <a:gd name="connsiteY78" fmla="*/ 1511207 h 2323145"/>
              <a:gd name="connsiteX79" fmla="*/ 7033438 w 11269336"/>
              <a:gd name="connsiteY79" fmla="*/ 1506772 h 2323145"/>
              <a:gd name="connsiteX80" fmla="*/ 7020886 w 11269336"/>
              <a:gd name="connsiteY80" fmla="*/ 1510764 h 2323145"/>
              <a:gd name="connsiteX81" fmla="*/ 7017033 w 11269336"/>
              <a:gd name="connsiteY81" fmla="*/ 1510650 h 2323145"/>
              <a:gd name="connsiteX82" fmla="*/ 6995460 w 11269336"/>
              <a:gd name="connsiteY82" fmla="*/ 1511173 h 2323145"/>
              <a:gd name="connsiteX83" fmla="*/ 6962144 w 11269336"/>
              <a:gd name="connsiteY83" fmla="*/ 1541508 h 2323145"/>
              <a:gd name="connsiteX84" fmla="*/ 6910674 w 11269336"/>
              <a:gd name="connsiteY84" fmla="*/ 1554793 h 2323145"/>
              <a:gd name="connsiteX85" fmla="*/ 6732152 w 11269336"/>
              <a:gd name="connsiteY85" fmla="*/ 1642538 h 2323145"/>
              <a:gd name="connsiteX86" fmla="*/ 6694106 w 11269336"/>
              <a:gd name="connsiteY86" fmla="*/ 1632377 h 2323145"/>
              <a:gd name="connsiteX87" fmla="*/ 6617223 w 11269336"/>
              <a:gd name="connsiteY87" fmla="*/ 1659889 h 2323145"/>
              <a:gd name="connsiteX88" fmla="*/ 6521138 w 11269336"/>
              <a:gd name="connsiteY88" fmla="*/ 1744340 h 2323145"/>
              <a:gd name="connsiteX89" fmla="*/ 6380677 w 11269336"/>
              <a:gd name="connsiteY89" fmla="*/ 1796883 h 2323145"/>
              <a:gd name="connsiteX90" fmla="*/ 6374897 w 11269336"/>
              <a:gd name="connsiteY90" fmla="*/ 1809910 h 2323145"/>
              <a:gd name="connsiteX91" fmla="*/ 6364545 w 11269336"/>
              <a:gd name="connsiteY91" fmla="*/ 1820090 h 2323145"/>
              <a:gd name="connsiteX92" fmla="*/ 6362126 w 11269336"/>
              <a:gd name="connsiteY92" fmla="*/ 1819991 h 2323145"/>
              <a:gd name="connsiteX93" fmla="*/ 6346673 w 11269336"/>
              <a:gd name="connsiteY93" fmla="*/ 1827824 h 2323145"/>
              <a:gd name="connsiteX94" fmla="*/ 6345588 w 11269336"/>
              <a:gd name="connsiteY94" fmla="*/ 1832232 h 2323145"/>
              <a:gd name="connsiteX95" fmla="*/ 6335708 w 11269336"/>
              <a:gd name="connsiteY95" fmla="*/ 1838451 h 2323145"/>
              <a:gd name="connsiteX96" fmla="*/ 6318182 w 11269336"/>
              <a:gd name="connsiteY96" fmla="*/ 1852975 h 2323145"/>
              <a:gd name="connsiteX97" fmla="*/ 6313084 w 11269336"/>
              <a:gd name="connsiteY97" fmla="*/ 1853561 h 2323145"/>
              <a:gd name="connsiteX98" fmla="*/ 6283816 w 11269336"/>
              <a:gd name="connsiteY98" fmla="*/ 1872148 h 2323145"/>
              <a:gd name="connsiteX99" fmla="*/ 6282550 w 11269336"/>
              <a:gd name="connsiteY99" fmla="*/ 1871392 h 2323145"/>
              <a:gd name="connsiteX100" fmla="*/ 6270527 w 11269336"/>
              <a:gd name="connsiteY100" fmla="*/ 1872208 h 2323145"/>
              <a:gd name="connsiteX101" fmla="*/ 6249518 w 11269336"/>
              <a:gd name="connsiteY101" fmla="*/ 1876079 h 2323145"/>
              <a:gd name="connsiteX102" fmla="*/ 6190386 w 11269336"/>
              <a:gd name="connsiteY102" fmla="*/ 1872478 h 2323145"/>
              <a:gd name="connsiteX103" fmla="*/ 6159777 w 11269336"/>
              <a:gd name="connsiteY103" fmla="*/ 1891745 h 2323145"/>
              <a:gd name="connsiteX104" fmla="*/ 6153131 w 11269336"/>
              <a:gd name="connsiteY104" fmla="*/ 1895079 h 2323145"/>
              <a:gd name="connsiteX105" fmla="*/ 6152798 w 11269336"/>
              <a:gd name="connsiteY105" fmla="*/ 1894920 h 2323145"/>
              <a:gd name="connsiteX106" fmla="*/ 6145388 w 11269336"/>
              <a:gd name="connsiteY106" fmla="*/ 1897990 h 2323145"/>
              <a:gd name="connsiteX107" fmla="*/ 6141014 w 11269336"/>
              <a:gd name="connsiteY107" fmla="*/ 1901155 h 2323145"/>
              <a:gd name="connsiteX108" fmla="*/ 6128122 w 11269336"/>
              <a:gd name="connsiteY108" fmla="*/ 1907623 h 2323145"/>
              <a:gd name="connsiteX109" fmla="*/ 6122351 w 11269336"/>
              <a:gd name="connsiteY109" fmla="*/ 1908359 h 2323145"/>
              <a:gd name="connsiteX110" fmla="*/ 6064750 w 11269336"/>
              <a:gd name="connsiteY110" fmla="*/ 1896394 h 2323145"/>
              <a:gd name="connsiteX111" fmla="*/ 5964230 w 11269336"/>
              <a:gd name="connsiteY111" fmla="*/ 1910038 h 2323145"/>
              <a:gd name="connsiteX112" fmla="*/ 5865399 w 11269336"/>
              <a:gd name="connsiteY112" fmla="*/ 1926966 h 2323145"/>
              <a:gd name="connsiteX113" fmla="*/ 5829951 w 11269336"/>
              <a:gd name="connsiteY113" fmla="*/ 1934755 h 2323145"/>
              <a:gd name="connsiteX114" fmla="*/ 5765285 w 11269336"/>
              <a:gd name="connsiteY114" fmla="*/ 1941322 h 2323145"/>
              <a:gd name="connsiteX115" fmla="*/ 5734750 w 11269336"/>
              <a:gd name="connsiteY115" fmla="*/ 1939793 h 2323145"/>
              <a:gd name="connsiteX116" fmla="*/ 5733569 w 11269336"/>
              <a:gd name="connsiteY116" fmla="*/ 1940505 h 2323145"/>
              <a:gd name="connsiteX117" fmla="*/ 5730329 w 11269336"/>
              <a:gd name="connsiteY117" fmla="*/ 1937845 h 2323145"/>
              <a:gd name="connsiteX118" fmla="*/ 5724661 w 11269336"/>
              <a:gd name="connsiteY118" fmla="*/ 1937455 h 2323145"/>
              <a:gd name="connsiteX119" fmla="*/ 5710186 w 11269336"/>
              <a:gd name="connsiteY119" fmla="*/ 1941370 h 2323145"/>
              <a:gd name="connsiteX120" fmla="*/ 5704910 w 11269336"/>
              <a:gd name="connsiteY120" fmla="*/ 1943663 h 2323145"/>
              <a:gd name="connsiteX121" fmla="*/ 5696836 w 11269336"/>
              <a:gd name="connsiteY121" fmla="*/ 1945271 h 2323145"/>
              <a:gd name="connsiteX122" fmla="*/ 5696583 w 11269336"/>
              <a:gd name="connsiteY122" fmla="*/ 1945050 h 2323145"/>
              <a:gd name="connsiteX123" fmla="*/ 5689123 w 11269336"/>
              <a:gd name="connsiteY123" fmla="*/ 1947067 h 2323145"/>
              <a:gd name="connsiteX124" fmla="*/ 5653291 w 11269336"/>
              <a:gd name="connsiteY124" fmla="*/ 1960245 h 2323145"/>
              <a:gd name="connsiteX125" fmla="*/ 5599385 w 11269336"/>
              <a:gd name="connsiteY125" fmla="*/ 1945198 h 2323145"/>
              <a:gd name="connsiteX126" fmla="*/ 5578300 w 11269336"/>
              <a:gd name="connsiteY126" fmla="*/ 1944963 h 2323145"/>
              <a:gd name="connsiteX127" fmla="*/ 5566758 w 11269336"/>
              <a:gd name="connsiteY127" fmla="*/ 1943441 h 2323145"/>
              <a:gd name="connsiteX128" fmla="*/ 5565857 w 11269336"/>
              <a:gd name="connsiteY128" fmla="*/ 1942445 h 2323145"/>
              <a:gd name="connsiteX129" fmla="*/ 5531534 w 11269336"/>
              <a:gd name="connsiteY129" fmla="*/ 1955208 h 2323145"/>
              <a:gd name="connsiteX130" fmla="*/ 5526552 w 11269336"/>
              <a:gd name="connsiteY130" fmla="*/ 1954799 h 2323145"/>
              <a:gd name="connsiteX131" fmla="*/ 5504723 w 11269336"/>
              <a:gd name="connsiteY131" fmla="*/ 1965811 h 2323145"/>
              <a:gd name="connsiteX132" fmla="*/ 5493156 w 11269336"/>
              <a:gd name="connsiteY132" fmla="*/ 1970063 h 2323145"/>
              <a:gd name="connsiteX133" fmla="*/ 5490486 w 11269336"/>
              <a:gd name="connsiteY133" fmla="*/ 1974227 h 2323145"/>
              <a:gd name="connsiteX134" fmla="*/ 5473107 w 11269336"/>
              <a:gd name="connsiteY134" fmla="*/ 1979001 h 2323145"/>
              <a:gd name="connsiteX135" fmla="*/ 5470885 w 11269336"/>
              <a:gd name="connsiteY135" fmla="*/ 1978432 h 2323145"/>
              <a:gd name="connsiteX136" fmla="*/ 5457393 w 11269336"/>
              <a:gd name="connsiteY136" fmla="*/ 1986525 h 2323145"/>
              <a:gd name="connsiteX137" fmla="*/ 5447102 w 11269336"/>
              <a:gd name="connsiteY137" fmla="*/ 1998329 h 2323145"/>
              <a:gd name="connsiteX138" fmla="*/ 5159151 w 11269336"/>
              <a:gd name="connsiteY138" fmla="*/ 2029640 h 2323145"/>
              <a:gd name="connsiteX139" fmla="*/ 5041688 w 11269336"/>
              <a:gd name="connsiteY139" fmla="*/ 2022334 h 2323145"/>
              <a:gd name="connsiteX140" fmla="*/ 4860988 w 11269336"/>
              <a:gd name="connsiteY140" fmla="*/ 2135698 h 2323145"/>
              <a:gd name="connsiteX141" fmla="*/ 4807902 w 11269336"/>
              <a:gd name="connsiteY141" fmla="*/ 2138894 h 2323145"/>
              <a:gd name="connsiteX142" fmla="*/ 4765388 w 11269336"/>
              <a:gd name="connsiteY142" fmla="*/ 2162525 h 2323145"/>
              <a:gd name="connsiteX143" fmla="*/ 4745033 w 11269336"/>
              <a:gd name="connsiteY143" fmla="*/ 2158859 h 2323145"/>
              <a:gd name="connsiteX144" fmla="*/ 4741475 w 11269336"/>
              <a:gd name="connsiteY144" fmla="*/ 2157998 h 2323145"/>
              <a:gd name="connsiteX145" fmla="*/ 4728247 w 11269336"/>
              <a:gd name="connsiteY145" fmla="*/ 2159526 h 2323145"/>
              <a:gd name="connsiteX146" fmla="*/ 4723263 w 11269336"/>
              <a:gd name="connsiteY146" fmla="*/ 2153742 h 2323145"/>
              <a:gd name="connsiteX147" fmla="*/ 4702453 w 11269336"/>
              <a:gd name="connsiteY147" fmla="*/ 2151586 h 2323145"/>
              <a:gd name="connsiteX148" fmla="*/ 4678455 w 11269336"/>
              <a:gd name="connsiteY148" fmla="*/ 2156131 h 2323145"/>
              <a:gd name="connsiteX149" fmla="*/ 4593061 w 11269336"/>
              <a:gd name="connsiteY149" fmla="*/ 2171597 h 2323145"/>
              <a:gd name="connsiteX150" fmla="*/ 4579902 w 11269336"/>
              <a:gd name="connsiteY150" fmla="*/ 2177927 h 2323145"/>
              <a:gd name="connsiteX151" fmla="*/ 4533444 w 11269336"/>
              <a:gd name="connsiteY151" fmla="*/ 2181200 h 2323145"/>
              <a:gd name="connsiteX152" fmla="*/ 4492832 w 11269336"/>
              <a:gd name="connsiteY152" fmla="*/ 2188033 h 2323145"/>
              <a:gd name="connsiteX153" fmla="*/ 4467257 w 11269336"/>
              <a:gd name="connsiteY153" fmla="*/ 2196121 h 2323145"/>
              <a:gd name="connsiteX154" fmla="*/ 4459937 w 11269336"/>
              <a:gd name="connsiteY154" fmla="*/ 2195182 h 2323145"/>
              <a:gd name="connsiteX155" fmla="*/ 4433312 w 11269336"/>
              <a:gd name="connsiteY155" fmla="*/ 2199004 h 2323145"/>
              <a:gd name="connsiteX156" fmla="*/ 4420601 w 11269336"/>
              <a:gd name="connsiteY156" fmla="*/ 2205158 h 2323145"/>
              <a:gd name="connsiteX157" fmla="*/ 4405765 w 11269336"/>
              <a:gd name="connsiteY157" fmla="*/ 2199902 h 2323145"/>
              <a:gd name="connsiteX158" fmla="*/ 4401354 w 11269336"/>
              <a:gd name="connsiteY158" fmla="*/ 2194745 h 2323145"/>
              <a:gd name="connsiteX159" fmla="*/ 4383151 w 11269336"/>
              <a:gd name="connsiteY159" fmla="*/ 2201140 h 2323145"/>
              <a:gd name="connsiteX160" fmla="*/ 4366646 w 11269336"/>
              <a:gd name="connsiteY160" fmla="*/ 2198564 h 2323145"/>
              <a:gd name="connsiteX161" fmla="*/ 4354009 w 11269336"/>
              <a:gd name="connsiteY161" fmla="*/ 2204984 h 2323145"/>
              <a:gd name="connsiteX162" fmla="*/ 4348284 w 11269336"/>
              <a:gd name="connsiteY162" fmla="*/ 2205270 h 2323145"/>
              <a:gd name="connsiteX163" fmla="*/ 4333906 w 11269336"/>
              <a:gd name="connsiteY163" fmla="*/ 2205251 h 2323145"/>
              <a:gd name="connsiteX164" fmla="*/ 4308819 w 11269336"/>
              <a:gd name="connsiteY164" fmla="*/ 2203822 h 2323145"/>
              <a:gd name="connsiteX165" fmla="*/ 4301210 w 11269336"/>
              <a:gd name="connsiteY165" fmla="*/ 2204456 h 2323145"/>
              <a:gd name="connsiteX166" fmla="*/ 4283095 w 11269336"/>
              <a:gd name="connsiteY166" fmla="*/ 2198177 h 2323145"/>
              <a:gd name="connsiteX167" fmla="*/ 4250119 w 11269336"/>
              <a:gd name="connsiteY167" fmla="*/ 2196342 h 2323145"/>
              <a:gd name="connsiteX168" fmla="*/ 4189203 w 11269336"/>
              <a:gd name="connsiteY168" fmla="*/ 2178994 h 2323145"/>
              <a:gd name="connsiteX169" fmla="*/ 4154035 w 11269336"/>
              <a:gd name="connsiteY169" fmla="*/ 2171950 h 2323145"/>
              <a:gd name="connsiteX170" fmla="*/ 4129569 w 11269336"/>
              <a:gd name="connsiteY170" fmla="*/ 2163850 h 2323145"/>
              <a:gd name="connsiteX171" fmla="*/ 4061250 w 11269336"/>
              <a:gd name="connsiteY171" fmla="*/ 2159236 h 2323145"/>
              <a:gd name="connsiteX172" fmla="*/ 3945480 w 11269336"/>
              <a:gd name="connsiteY172" fmla="*/ 2158279 h 2323145"/>
              <a:gd name="connsiteX173" fmla="*/ 3921468 w 11269336"/>
              <a:gd name="connsiteY173" fmla="*/ 2156588 h 2323145"/>
              <a:gd name="connsiteX174" fmla="*/ 3903348 w 11269336"/>
              <a:gd name="connsiteY174" fmla="*/ 2149220 h 2323145"/>
              <a:gd name="connsiteX175" fmla="*/ 3901342 w 11269336"/>
              <a:gd name="connsiteY175" fmla="*/ 2142355 h 2323145"/>
              <a:gd name="connsiteX176" fmla="*/ 3888539 w 11269336"/>
              <a:gd name="connsiteY176" fmla="*/ 2140476 h 2323145"/>
              <a:gd name="connsiteX177" fmla="*/ 3885662 w 11269336"/>
              <a:gd name="connsiteY177" fmla="*/ 2138740 h 2323145"/>
              <a:gd name="connsiteX178" fmla="*/ 3868627 w 11269336"/>
              <a:gd name="connsiteY178" fmla="*/ 2130023 h 2323145"/>
              <a:gd name="connsiteX179" fmla="*/ 3819177 w 11269336"/>
              <a:gd name="connsiteY179" fmla="*/ 2142111 h 2323145"/>
              <a:gd name="connsiteX180" fmla="*/ 3769100 w 11269336"/>
              <a:gd name="connsiteY180" fmla="*/ 2131731 h 2323145"/>
              <a:gd name="connsiteX181" fmla="*/ 3562752 w 11269336"/>
              <a:gd name="connsiteY181" fmla="*/ 2131785 h 2323145"/>
              <a:gd name="connsiteX182" fmla="*/ 3541402 w 11269336"/>
              <a:gd name="connsiteY182" fmla="*/ 2106821 h 2323145"/>
              <a:gd name="connsiteX183" fmla="*/ 3365341 w 11269336"/>
              <a:gd name="connsiteY183" fmla="*/ 2077638 h 2323145"/>
              <a:gd name="connsiteX184" fmla="*/ 3170922 w 11269336"/>
              <a:gd name="connsiteY184" fmla="*/ 2115957 h 2323145"/>
              <a:gd name="connsiteX185" fmla="*/ 3156256 w 11269336"/>
              <a:gd name="connsiteY185" fmla="*/ 2124773 h 2323145"/>
              <a:gd name="connsiteX186" fmla="*/ 3140298 w 11269336"/>
              <a:gd name="connsiteY186" fmla="*/ 2129182 h 2323145"/>
              <a:gd name="connsiteX187" fmla="*/ 3138514 w 11269336"/>
              <a:gd name="connsiteY187" fmla="*/ 2128069 h 2323145"/>
              <a:gd name="connsiteX188" fmla="*/ 3120467 w 11269336"/>
              <a:gd name="connsiteY188" fmla="*/ 2128281 h 2323145"/>
              <a:gd name="connsiteX189" fmla="*/ 3116175 w 11269336"/>
              <a:gd name="connsiteY189" fmla="*/ 2131633 h 2323145"/>
              <a:gd name="connsiteX190" fmla="*/ 3103685 w 11269336"/>
              <a:gd name="connsiteY190" fmla="*/ 2132814 h 2323145"/>
              <a:gd name="connsiteX191" fmla="*/ 3078794 w 11269336"/>
              <a:gd name="connsiteY191" fmla="*/ 2137935 h 2323145"/>
              <a:gd name="connsiteX192" fmla="*/ 3074407 w 11269336"/>
              <a:gd name="connsiteY192" fmla="*/ 2136274 h 2323145"/>
              <a:gd name="connsiteX193" fmla="*/ 3037285 w 11269336"/>
              <a:gd name="connsiteY193" fmla="*/ 2139919 h 2323145"/>
              <a:gd name="connsiteX194" fmla="*/ 3036901 w 11269336"/>
              <a:gd name="connsiteY194" fmla="*/ 2138726 h 2323145"/>
              <a:gd name="connsiteX195" fmla="*/ 3026996 w 11269336"/>
              <a:gd name="connsiteY195" fmla="*/ 2134322 h 2323145"/>
              <a:gd name="connsiteX196" fmla="*/ 3007772 w 11269336"/>
              <a:gd name="connsiteY196" fmla="*/ 2128742 h 2323145"/>
              <a:gd name="connsiteX197" fmla="*/ 2965030 w 11269336"/>
              <a:gd name="connsiteY197" fmla="*/ 2100494 h 2323145"/>
              <a:gd name="connsiteX198" fmla="*/ 2926342 w 11269336"/>
              <a:gd name="connsiteY198" fmla="*/ 2104155 h 2323145"/>
              <a:gd name="connsiteX199" fmla="*/ 2918608 w 11269336"/>
              <a:gd name="connsiteY199" fmla="*/ 2104215 h 2323145"/>
              <a:gd name="connsiteX200" fmla="*/ 2918475 w 11269336"/>
              <a:gd name="connsiteY200" fmla="*/ 2103937 h 2323145"/>
              <a:gd name="connsiteX201" fmla="*/ 2910360 w 11269336"/>
              <a:gd name="connsiteY201" fmla="*/ 2103444 h 2323145"/>
              <a:gd name="connsiteX202" fmla="*/ 2904507 w 11269336"/>
              <a:gd name="connsiteY202" fmla="*/ 2104326 h 2323145"/>
              <a:gd name="connsiteX203" fmla="*/ 2889503 w 11269336"/>
              <a:gd name="connsiteY203" fmla="*/ 2104443 h 2323145"/>
              <a:gd name="connsiteX204" fmla="*/ 2884480 w 11269336"/>
              <a:gd name="connsiteY204" fmla="*/ 2102626 h 2323145"/>
              <a:gd name="connsiteX205" fmla="*/ 2882689 w 11269336"/>
              <a:gd name="connsiteY205" fmla="*/ 2099228 h 2323145"/>
              <a:gd name="connsiteX206" fmla="*/ 2881291 w 11269336"/>
              <a:gd name="connsiteY206" fmla="*/ 2099618 h 2323145"/>
              <a:gd name="connsiteX207" fmla="*/ 2853979 w 11269336"/>
              <a:gd name="connsiteY207" fmla="*/ 2090388 h 2323145"/>
              <a:gd name="connsiteX208" fmla="*/ 2791790 w 11269336"/>
              <a:gd name="connsiteY208" fmla="*/ 2080332 h 2323145"/>
              <a:gd name="connsiteX209" fmla="*/ 2755844 w 11269336"/>
              <a:gd name="connsiteY209" fmla="*/ 2078874 h 2323145"/>
              <a:gd name="connsiteX210" fmla="*/ 2657742 w 11269336"/>
              <a:gd name="connsiteY210" fmla="*/ 2070179 h 2323145"/>
              <a:gd name="connsiteX211" fmla="*/ 2559549 w 11269336"/>
              <a:gd name="connsiteY211" fmla="*/ 2057873 h 2323145"/>
              <a:gd name="connsiteX212" fmla="*/ 2512054 w 11269336"/>
              <a:gd name="connsiteY212" fmla="*/ 2031671 h 2323145"/>
              <a:gd name="connsiteX213" fmla="*/ 2506437 w 11269336"/>
              <a:gd name="connsiteY213" fmla="*/ 2030918 h 2323145"/>
              <a:gd name="connsiteX214" fmla="*/ 2491752 w 11269336"/>
              <a:gd name="connsiteY214" fmla="*/ 2033906 h 2323145"/>
              <a:gd name="connsiteX215" fmla="*/ 2486338 w 11269336"/>
              <a:gd name="connsiteY215" fmla="*/ 2035862 h 2323145"/>
              <a:gd name="connsiteX216" fmla="*/ 2478186 w 11269336"/>
              <a:gd name="connsiteY216" fmla="*/ 2036953 h 2323145"/>
              <a:gd name="connsiteX217" fmla="*/ 2477950 w 11269336"/>
              <a:gd name="connsiteY217" fmla="*/ 2036715 h 2323145"/>
              <a:gd name="connsiteX218" fmla="*/ 2470381 w 11269336"/>
              <a:gd name="connsiteY218" fmla="*/ 2038256 h 2323145"/>
              <a:gd name="connsiteX219" fmla="*/ 2433781 w 11269336"/>
              <a:gd name="connsiteY219" fmla="*/ 2049140 h 2323145"/>
              <a:gd name="connsiteX220" fmla="*/ 2381172 w 11269336"/>
              <a:gd name="connsiteY220" fmla="*/ 2030645 h 2323145"/>
              <a:gd name="connsiteX221" fmla="*/ 2360198 w 11269336"/>
              <a:gd name="connsiteY221" fmla="*/ 2029059 h 2323145"/>
              <a:gd name="connsiteX222" fmla="*/ 2348815 w 11269336"/>
              <a:gd name="connsiteY222" fmla="*/ 2026798 h 2323145"/>
              <a:gd name="connsiteX223" fmla="*/ 2347988 w 11269336"/>
              <a:gd name="connsiteY223" fmla="*/ 2025745 h 2323145"/>
              <a:gd name="connsiteX224" fmla="*/ 2312920 w 11269336"/>
              <a:gd name="connsiteY224" fmla="*/ 2036311 h 2323145"/>
              <a:gd name="connsiteX225" fmla="*/ 2307986 w 11269336"/>
              <a:gd name="connsiteY225" fmla="*/ 2035583 h 2323145"/>
              <a:gd name="connsiteX226" fmla="*/ 2285481 w 11269336"/>
              <a:gd name="connsiteY226" fmla="*/ 2045197 h 2323145"/>
              <a:gd name="connsiteX227" fmla="*/ 2273666 w 11269336"/>
              <a:gd name="connsiteY227" fmla="*/ 2048710 h 2323145"/>
              <a:gd name="connsiteX228" fmla="*/ 2270719 w 11269336"/>
              <a:gd name="connsiteY228" fmla="*/ 2052702 h 2323145"/>
              <a:gd name="connsiteX229" fmla="*/ 2253080 w 11269336"/>
              <a:gd name="connsiteY229" fmla="*/ 2056363 h 2323145"/>
              <a:gd name="connsiteX230" fmla="*/ 2250906 w 11269336"/>
              <a:gd name="connsiteY230" fmla="*/ 2055654 h 2323145"/>
              <a:gd name="connsiteX231" fmla="*/ 2236905 w 11269336"/>
              <a:gd name="connsiteY231" fmla="*/ 2062882 h 2323145"/>
              <a:gd name="connsiteX232" fmla="*/ 2225830 w 11269336"/>
              <a:gd name="connsiteY232" fmla="*/ 2074027 h 2323145"/>
              <a:gd name="connsiteX233" fmla="*/ 2073776 w 11269336"/>
              <a:gd name="connsiteY233" fmla="*/ 2089244 h 2323145"/>
              <a:gd name="connsiteX234" fmla="*/ 1948256 w 11269336"/>
              <a:gd name="connsiteY234" fmla="*/ 2146616 h 2323145"/>
              <a:gd name="connsiteX235" fmla="*/ 1865582 w 11269336"/>
              <a:gd name="connsiteY235" fmla="*/ 2153738 h 2323145"/>
              <a:gd name="connsiteX236" fmla="*/ 1835210 w 11269336"/>
              <a:gd name="connsiteY236" fmla="*/ 2134244 h 2323145"/>
              <a:gd name="connsiteX237" fmla="*/ 1632661 w 11269336"/>
              <a:gd name="connsiteY237" fmla="*/ 2173882 h 2323145"/>
              <a:gd name="connsiteX238" fmla="*/ 1579590 w 11269336"/>
              <a:gd name="connsiteY238" fmla="*/ 2173680 h 2323145"/>
              <a:gd name="connsiteX239" fmla="*/ 1535601 w 11269336"/>
              <a:gd name="connsiteY239" fmla="*/ 2194590 h 2323145"/>
              <a:gd name="connsiteX240" fmla="*/ 1515594 w 11269336"/>
              <a:gd name="connsiteY240" fmla="*/ 2189622 h 2323145"/>
              <a:gd name="connsiteX241" fmla="*/ 1512113 w 11269336"/>
              <a:gd name="connsiteY241" fmla="*/ 2188534 h 2323145"/>
              <a:gd name="connsiteX242" fmla="*/ 1498838 w 11269336"/>
              <a:gd name="connsiteY242" fmla="*/ 2189213 h 2323145"/>
              <a:gd name="connsiteX243" fmla="*/ 1494279 w 11269336"/>
              <a:gd name="connsiteY243" fmla="*/ 2183112 h 2323145"/>
              <a:gd name="connsiteX244" fmla="*/ 1473714 w 11269336"/>
              <a:gd name="connsiteY244" fmla="*/ 2179625 h 2323145"/>
              <a:gd name="connsiteX245" fmla="*/ 1449503 w 11269336"/>
              <a:gd name="connsiteY245" fmla="*/ 2182633 h 2323145"/>
              <a:gd name="connsiteX246" fmla="*/ 1266687 w 11269336"/>
              <a:gd name="connsiteY246" fmla="*/ 2212688 h 2323145"/>
              <a:gd name="connsiteX247" fmla="*/ 1239614 w 11269336"/>
              <a:gd name="connsiteY247" fmla="*/ 2209727 h 2323145"/>
              <a:gd name="connsiteX248" fmla="*/ 1202436 w 11269336"/>
              <a:gd name="connsiteY248" fmla="*/ 2209817 h 2323145"/>
              <a:gd name="connsiteX249" fmla="*/ 1136097 w 11269336"/>
              <a:gd name="connsiteY249" fmla="*/ 2205112 h 2323145"/>
              <a:gd name="connsiteX250" fmla="*/ 988232 w 11269336"/>
              <a:gd name="connsiteY250" fmla="*/ 2235635 h 2323145"/>
              <a:gd name="connsiteX251" fmla="*/ 981959 w 11269336"/>
              <a:gd name="connsiteY251" fmla="*/ 2231607 h 2323145"/>
              <a:gd name="connsiteX252" fmla="*/ 938600 w 11269336"/>
              <a:gd name="connsiteY252" fmla="*/ 2238113 h 2323145"/>
              <a:gd name="connsiteX253" fmla="*/ 791788 w 11269336"/>
              <a:gd name="connsiteY253" fmla="*/ 2293224 h 2323145"/>
              <a:gd name="connsiteX254" fmla="*/ 706914 w 11269336"/>
              <a:gd name="connsiteY254" fmla="*/ 2305046 h 2323145"/>
              <a:gd name="connsiteX255" fmla="*/ 675971 w 11269336"/>
              <a:gd name="connsiteY255" fmla="*/ 2304030 h 2323145"/>
              <a:gd name="connsiteX256" fmla="*/ 624180 w 11269336"/>
              <a:gd name="connsiteY256" fmla="*/ 2302650 h 2323145"/>
              <a:gd name="connsiteX257" fmla="*/ 583453 w 11269336"/>
              <a:gd name="connsiteY257" fmla="*/ 2288788 h 2323145"/>
              <a:gd name="connsiteX258" fmla="*/ 540946 w 11269336"/>
              <a:gd name="connsiteY258" fmla="*/ 2292721 h 2323145"/>
              <a:gd name="connsiteX259" fmla="*/ 533680 w 11269336"/>
              <a:gd name="connsiteY259" fmla="*/ 2310233 h 2323145"/>
              <a:gd name="connsiteX260" fmla="*/ 487366 w 11269336"/>
              <a:gd name="connsiteY260" fmla="*/ 2309053 h 2323145"/>
              <a:gd name="connsiteX261" fmla="*/ 416820 w 11269336"/>
              <a:gd name="connsiteY261" fmla="*/ 2305443 h 2323145"/>
              <a:gd name="connsiteX262" fmla="*/ 376805 w 11269336"/>
              <a:gd name="connsiteY262" fmla="*/ 2307647 h 2323145"/>
              <a:gd name="connsiteX263" fmla="*/ 266777 w 11269336"/>
              <a:gd name="connsiteY263" fmla="*/ 2309012 h 2323145"/>
              <a:gd name="connsiteX264" fmla="*/ 156013 w 11269336"/>
              <a:gd name="connsiteY264" fmla="*/ 2306832 h 2323145"/>
              <a:gd name="connsiteX265" fmla="*/ 87258 w 11269336"/>
              <a:gd name="connsiteY265" fmla="*/ 2285511 h 2323145"/>
              <a:gd name="connsiteX266" fmla="*/ 23798 w 11269336"/>
              <a:gd name="connsiteY266" fmla="*/ 2281822 h 2323145"/>
              <a:gd name="connsiteX267" fmla="*/ 0 w 11269336"/>
              <a:gd name="connsiteY267" fmla="*/ 2285369 h 2323145"/>
              <a:gd name="connsiteX268" fmla="*/ 0 w 11269336"/>
              <a:gd name="connsiteY268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795998 w 11269336"/>
              <a:gd name="connsiteY32" fmla="*/ 863337 h 2323145"/>
              <a:gd name="connsiteX33" fmla="*/ 8776970 w 11269336"/>
              <a:gd name="connsiteY33" fmla="*/ 885177 h 2323145"/>
              <a:gd name="connsiteX34" fmla="*/ 8755719 w 11269336"/>
              <a:gd name="connsiteY34" fmla="*/ 889754 h 2323145"/>
              <a:gd name="connsiteX35" fmla="*/ 8743257 w 11269336"/>
              <a:gd name="connsiteY35" fmla="*/ 904723 h 2323145"/>
              <a:gd name="connsiteX36" fmla="*/ 8721366 w 11269336"/>
              <a:gd name="connsiteY36" fmla="*/ 904711 h 2323145"/>
              <a:gd name="connsiteX37" fmla="*/ 8678353 w 11269336"/>
              <a:gd name="connsiteY37" fmla="*/ 926318 h 2323145"/>
              <a:gd name="connsiteX38" fmla="*/ 8636849 w 11269336"/>
              <a:gd name="connsiteY38" fmla="*/ 937900 h 2323145"/>
              <a:gd name="connsiteX39" fmla="*/ 8620213 w 11269336"/>
              <a:gd name="connsiteY39" fmla="*/ 943068 h 2323145"/>
              <a:gd name="connsiteX40" fmla="*/ 8612581 w 11269336"/>
              <a:gd name="connsiteY40" fmla="*/ 952695 h 2323145"/>
              <a:gd name="connsiteX41" fmla="*/ 8589038 w 11269336"/>
              <a:gd name="connsiteY41" fmla="*/ 963892 h 2323145"/>
              <a:gd name="connsiteX42" fmla="*/ 8579950 w 11269336"/>
              <a:gd name="connsiteY42" fmla="*/ 960899 h 2323145"/>
              <a:gd name="connsiteX43" fmla="*/ 8579319 w 11269336"/>
              <a:gd name="connsiteY43" fmla="*/ 965630 h 2323145"/>
              <a:gd name="connsiteX44" fmla="*/ 8547429 w 11269336"/>
              <a:gd name="connsiteY44" fmla="*/ 984506 h 2323145"/>
              <a:gd name="connsiteX45" fmla="*/ 8478704 w 11269336"/>
              <a:gd name="connsiteY45" fmla="*/ 1025490 h 2323145"/>
              <a:gd name="connsiteX46" fmla="*/ 8461421 w 11269336"/>
              <a:gd name="connsiteY46" fmla="*/ 1035512 h 2323145"/>
              <a:gd name="connsiteX47" fmla="*/ 8445003 w 11269336"/>
              <a:gd name="connsiteY47" fmla="*/ 1036851 h 2323145"/>
              <a:gd name="connsiteX48" fmla="*/ 8357350 w 11269336"/>
              <a:gd name="connsiteY48" fmla="*/ 1060213 h 2323145"/>
              <a:gd name="connsiteX49" fmla="*/ 8335565 w 11269336"/>
              <a:gd name="connsiteY49" fmla="*/ 1061151 h 2323145"/>
              <a:gd name="connsiteX50" fmla="*/ 8325267 w 11269336"/>
              <a:gd name="connsiteY50" fmla="*/ 1055919 h 2323145"/>
              <a:gd name="connsiteX51" fmla="*/ 8293586 w 11269336"/>
              <a:gd name="connsiteY51" fmla="*/ 1076144 h 2323145"/>
              <a:gd name="connsiteX52" fmla="*/ 8242405 w 11269336"/>
              <a:gd name="connsiteY52" fmla="*/ 1095960 h 2323145"/>
              <a:gd name="connsiteX53" fmla="*/ 8197391 w 11269336"/>
              <a:gd name="connsiteY53" fmla="*/ 1107746 h 2323145"/>
              <a:gd name="connsiteX54" fmla="*/ 8081474 w 11269336"/>
              <a:gd name="connsiteY54" fmla="*/ 1130125 h 2323145"/>
              <a:gd name="connsiteX55" fmla="*/ 8053585 w 11269336"/>
              <a:gd name="connsiteY55" fmla="*/ 1129169 h 2323145"/>
              <a:gd name="connsiteX56" fmla="*/ 8038422 w 11269336"/>
              <a:gd name="connsiteY56" fmla="*/ 1119092 h 2323145"/>
              <a:gd name="connsiteX57" fmla="*/ 8029450 w 11269336"/>
              <a:gd name="connsiteY57" fmla="*/ 1125592 h 2323145"/>
              <a:gd name="connsiteX58" fmla="*/ 7959552 w 11269336"/>
              <a:gd name="connsiteY58" fmla="*/ 1140188 h 2323145"/>
              <a:gd name="connsiteX59" fmla="*/ 7914188 w 11269336"/>
              <a:gd name="connsiteY59" fmla="*/ 1150862 h 2323145"/>
              <a:gd name="connsiteX60" fmla="*/ 7914918 w 11269336"/>
              <a:gd name="connsiteY60" fmla="*/ 1168758 h 2323145"/>
              <a:gd name="connsiteX61" fmla="*/ 7875510 w 11269336"/>
              <a:gd name="connsiteY61" fmla="*/ 1183153 h 2323145"/>
              <a:gd name="connsiteX62" fmla="*/ 7829932 w 11269336"/>
              <a:gd name="connsiteY62" fmla="*/ 1180782 h 2323145"/>
              <a:gd name="connsiteX63" fmla="*/ 7779182 w 11269336"/>
              <a:gd name="connsiteY63" fmla="*/ 1192665 h 2323145"/>
              <a:gd name="connsiteX64" fmla="*/ 7748774 w 11269336"/>
              <a:gd name="connsiteY64" fmla="*/ 1199586 h 2323145"/>
              <a:gd name="connsiteX65" fmla="*/ 7671846 w 11269336"/>
              <a:gd name="connsiteY65" fmla="*/ 1231966 h 2323145"/>
              <a:gd name="connsiteX66" fmla="*/ 7554146 w 11269336"/>
              <a:gd name="connsiteY66" fmla="*/ 1319748 h 2323145"/>
              <a:gd name="connsiteX67" fmla="*/ 7515052 w 11269336"/>
              <a:gd name="connsiteY67" fmla="*/ 1336718 h 2323145"/>
              <a:gd name="connsiteX68" fmla="*/ 7507193 w 11269336"/>
              <a:gd name="connsiteY68" fmla="*/ 1334617 h 2323145"/>
              <a:gd name="connsiteX69" fmla="*/ 7461694 w 11269336"/>
              <a:gd name="connsiteY69" fmla="*/ 1375866 h 2323145"/>
              <a:gd name="connsiteX70" fmla="*/ 7377571 w 11269336"/>
              <a:gd name="connsiteY70" fmla="*/ 1400128 h 2323145"/>
              <a:gd name="connsiteX71" fmla="*/ 7311261 w 11269336"/>
              <a:gd name="connsiteY71" fmla="*/ 1412652 h 2323145"/>
              <a:gd name="connsiteX72" fmla="*/ 7275307 w 11269336"/>
              <a:gd name="connsiteY72" fmla="*/ 1422171 h 2323145"/>
              <a:gd name="connsiteX73" fmla="*/ 7247783 w 11269336"/>
              <a:gd name="connsiteY73" fmla="*/ 1426330 h 2323145"/>
              <a:gd name="connsiteX74" fmla="*/ 7185047 w 11269336"/>
              <a:gd name="connsiteY74" fmla="*/ 1451812 h 2323145"/>
              <a:gd name="connsiteX75" fmla="*/ 7084117 w 11269336"/>
              <a:gd name="connsiteY75" fmla="*/ 1500281 h 2323145"/>
              <a:gd name="connsiteX76" fmla="*/ 7062011 w 11269336"/>
              <a:gd name="connsiteY76" fmla="*/ 1509183 h 2323145"/>
              <a:gd name="connsiteX77" fmla="*/ 7040555 w 11269336"/>
              <a:gd name="connsiteY77" fmla="*/ 1511207 h 2323145"/>
              <a:gd name="connsiteX78" fmla="*/ 7033438 w 11269336"/>
              <a:gd name="connsiteY78" fmla="*/ 1506772 h 2323145"/>
              <a:gd name="connsiteX79" fmla="*/ 7020886 w 11269336"/>
              <a:gd name="connsiteY79" fmla="*/ 1510764 h 2323145"/>
              <a:gd name="connsiteX80" fmla="*/ 7017033 w 11269336"/>
              <a:gd name="connsiteY80" fmla="*/ 1510650 h 2323145"/>
              <a:gd name="connsiteX81" fmla="*/ 6995460 w 11269336"/>
              <a:gd name="connsiteY81" fmla="*/ 1511173 h 2323145"/>
              <a:gd name="connsiteX82" fmla="*/ 6962144 w 11269336"/>
              <a:gd name="connsiteY82" fmla="*/ 1541508 h 2323145"/>
              <a:gd name="connsiteX83" fmla="*/ 6910674 w 11269336"/>
              <a:gd name="connsiteY83" fmla="*/ 1554793 h 2323145"/>
              <a:gd name="connsiteX84" fmla="*/ 6732152 w 11269336"/>
              <a:gd name="connsiteY84" fmla="*/ 1642538 h 2323145"/>
              <a:gd name="connsiteX85" fmla="*/ 6694106 w 11269336"/>
              <a:gd name="connsiteY85" fmla="*/ 1632377 h 2323145"/>
              <a:gd name="connsiteX86" fmla="*/ 6617223 w 11269336"/>
              <a:gd name="connsiteY86" fmla="*/ 1659889 h 2323145"/>
              <a:gd name="connsiteX87" fmla="*/ 6521138 w 11269336"/>
              <a:gd name="connsiteY87" fmla="*/ 1744340 h 2323145"/>
              <a:gd name="connsiteX88" fmla="*/ 6380677 w 11269336"/>
              <a:gd name="connsiteY88" fmla="*/ 1796883 h 2323145"/>
              <a:gd name="connsiteX89" fmla="*/ 6374897 w 11269336"/>
              <a:gd name="connsiteY89" fmla="*/ 1809910 h 2323145"/>
              <a:gd name="connsiteX90" fmla="*/ 6364545 w 11269336"/>
              <a:gd name="connsiteY90" fmla="*/ 1820090 h 2323145"/>
              <a:gd name="connsiteX91" fmla="*/ 6362126 w 11269336"/>
              <a:gd name="connsiteY91" fmla="*/ 1819991 h 2323145"/>
              <a:gd name="connsiteX92" fmla="*/ 6346673 w 11269336"/>
              <a:gd name="connsiteY92" fmla="*/ 1827824 h 2323145"/>
              <a:gd name="connsiteX93" fmla="*/ 6345588 w 11269336"/>
              <a:gd name="connsiteY93" fmla="*/ 1832232 h 2323145"/>
              <a:gd name="connsiteX94" fmla="*/ 6335708 w 11269336"/>
              <a:gd name="connsiteY94" fmla="*/ 1838451 h 2323145"/>
              <a:gd name="connsiteX95" fmla="*/ 6318182 w 11269336"/>
              <a:gd name="connsiteY95" fmla="*/ 1852975 h 2323145"/>
              <a:gd name="connsiteX96" fmla="*/ 6313084 w 11269336"/>
              <a:gd name="connsiteY96" fmla="*/ 1853561 h 2323145"/>
              <a:gd name="connsiteX97" fmla="*/ 6283816 w 11269336"/>
              <a:gd name="connsiteY97" fmla="*/ 1872148 h 2323145"/>
              <a:gd name="connsiteX98" fmla="*/ 6282550 w 11269336"/>
              <a:gd name="connsiteY98" fmla="*/ 1871392 h 2323145"/>
              <a:gd name="connsiteX99" fmla="*/ 6270527 w 11269336"/>
              <a:gd name="connsiteY99" fmla="*/ 1872208 h 2323145"/>
              <a:gd name="connsiteX100" fmla="*/ 6249518 w 11269336"/>
              <a:gd name="connsiteY100" fmla="*/ 1876079 h 2323145"/>
              <a:gd name="connsiteX101" fmla="*/ 6190386 w 11269336"/>
              <a:gd name="connsiteY101" fmla="*/ 1872478 h 2323145"/>
              <a:gd name="connsiteX102" fmla="*/ 6159777 w 11269336"/>
              <a:gd name="connsiteY102" fmla="*/ 1891745 h 2323145"/>
              <a:gd name="connsiteX103" fmla="*/ 6153131 w 11269336"/>
              <a:gd name="connsiteY103" fmla="*/ 1895079 h 2323145"/>
              <a:gd name="connsiteX104" fmla="*/ 6152798 w 11269336"/>
              <a:gd name="connsiteY104" fmla="*/ 1894920 h 2323145"/>
              <a:gd name="connsiteX105" fmla="*/ 6145388 w 11269336"/>
              <a:gd name="connsiteY105" fmla="*/ 1897990 h 2323145"/>
              <a:gd name="connsiteX106" fmla="*/ 6141014 w 11269336"/>
              <a:gd name="connsiteY106" fmla="*/ 1901155 h 2323145"/>
              <a:gd name="connsiteX107" fmla="*/ 6128122 w 11269336"/>
              <a:gd name="connsiteY107" fmla="*/ 1907623 h 2323145"/>
              <a:gd name="connsiteX108" fmla="*/ 6122351 w 11269336"/>
              <a:gd name="connsiteY108" fmla="*/ 1908359 h 2323145"/>
              <a:gd name="connsiteX109" fmla="*/ 6064750 w 11269336"/>
              <a:gd name="connsiteY109" fmla="*/ 1896394 h 2323145"/>
              <a:gd name="connsiteX110" fmla="*/ 5964230 w 11269336"/>
              <a:gd name="connsiteY110" fmla="*/ 1910038 h 2323145"/>
              <a:gd name="connsiteX111" fmla="*/ 5865399 w 11269336"/>
              <a:gd name="connsiteY111" fmla="*/ 1926966 h 2323145"/>
              <a:gd name="connsiteX112" fmla="*/ 5829951 w 11269336"/>
              <a:gd name="connsiteY112" fmla="*/ 1934755 h 2323145"/>
              <a:gd name="connsiteX113" fmla="*/ 5765285 w 11269336"/>
              <a:gd name="connsiteY113" fmla="*/ 1941322 h 2323145"/>
              <a:gd name="connsiteX114" fmla="*/ 5734750 w 11269336"/>
              <a:gd name="connsiteY114" fmla="*/ 1939793 h 2323145"/>
              <a:gd name="connsiteX115" fmla="*/ 5733569 w 11269336"/>
              <a:gd name="connsiteY115" fmla="*/ 1940505 h 2323145"/>
              <a:gd name="connsiteX116" fmla="*/ 5730329 w 11269336"/>
              <a:gd name="connsiteY116" fmla="*/ 1937845 h 2323145"/>
              <a:gd name="connsiteX117" fmla="*/ 5724661 w 11269336"/>
              <a:gd name="connsiteY117" fmla="*/ 1937455 h 2323145"/>
              <a:gd name="connsiteX118" fmla="*/ 5710186 w 11269336"/>
              <a:gd name="connsiteY118" fmla="*/ 1941370 h 2323145"/>
              <a:gd name="connsiteX119" fmla="*/ 5704910 w 11269336"/>
              <a:gd name="connsiteY119" fmla="*/ 1943663 h 2323145"/>
              <a:gd name="connsiteX120" fmla="*/ 5696836 w 11269336"/>
              <a:gd name="connsiteY120" fmla="*/ 1945271 h 2323145"/>
              <a:gd name="connsiteX121" fmla="*/ 5696583 w 11269336"/>
              <a:gd name="connsiteY121" fmla="*/ 1945050 h 2323145"/>
              <a:gd name="connsiteX122" fmla="*/ 5689123 w 11269336"/>
              <a:gd name="connsiteY122" fmla="*/ 1947067 h 2323145"/>
              <a:gd name="connsiteX123" fmla="*/ 5653291 w 11269336"/>
              <a:gd name="connsiteY123" fmla="*/ 1960245 h 2323145"/>
              <a:gd name="connsiteX124" fmla="*/ 5599385 w 11269336"/>
              <a:gd name="connsiteY124" fmla="*/ 1945198 h 2323145"/>
              <a:gd name="connsiteX125" fmla="*/ 5578300 w 11269336"/>
              <a:gd name="connsiteY125" fmla="*/ 1944963 h 2323145"/>
              <a:gd name="connsiteX126" fmla="*/ 5566758 w 11269336"/>
              <a:gd name="connsiteY126" fmla="*/ 1943441 h 2323145"/>
              <a:gd name="connsiteX127" fmla="*/ 5565857 w 11269336"/>
              <a:gd name="connsiteY127" fmla="*/ 1942445 h 2323145"/>
              <a:gd name="connsiteX128" fmla="*/ 5531534 w 11269336"/>
              <a:gd name="connsiteY128" fmla="*/ 1955208 h 2323145"/>
              <a:gd name="connsiteX129" fmla="*/ 5526552 w 11269336"/>
              <a:gd name="connsiteY129" fmla="*/ 1954799 h 2323145"/>
              <a:gd name="connsiteX130" fmla="*/ 5504723 w 11269336"/>
              <a:gd name="connsiteY130" fmla="*/ 1965811 h 2323145"/>
              <a:gd name="connsiteX131" fmla="*/ 5493156 w 11269336"/>
              <a:gd name="connsiteY131" fmla="*/ 1970063 h 2323145"/>
              <a:gd name="connsiteX132" fmla="*/ 5490486 w 11269336"/>
              <a:gd name="connsiteY132" fmla="*/ 1974227 h 2323145"/>
              <a:gd name="connsiteX133" fmla="*/ 5473107 w 11269336"/>
              <a:gd name="connsiteY133" fmla="*/ 1979001 h 2323145"/>
              <a:gd name="connsiteX134" fmla="*/ 5470885 w 11269336"/>
              <a:gd name="connsiteY134" fmla="*/ 1978432 h 2323145"/>
              <a:gd name="connsiteX135" fmla="*/ 5457393 w 11269336"/>
              <a:gd name="connsiteY135" fmla="*/ 1986525 h 2323145"/>
              <a:gd name="connsiteX136" fmla="*/ 5447102 w 11269336"/>
              <a:gd name="connsiteY136" fmla="*/ 1998329 h 2323145"/>
              <a:gd name="connsiteX137" fmla="*/ 5159151 w 11269336"/>
              <a:gd name="connsiteY137" fmla="*/ 2029640 h 2323145"/>
              <a:gd name="connsiteX138" fmla="*/ 5041688 w 11269336"/>
              <a:gd name="connsiteY138" fmla="*/ 2022334 h 2323145"/>
              <a:gd name="connsiteX139" fmla="*/ 4860988 w 11269336"/>
              <a:gd name="connsiteY139" fmla="*/ 2135698 h 2323145"/>
              <a:gd name="connsiteX140" fmla="*/ 4807902 w 11269336"/>
              <a:gd name="connsiteY140" fmla="*/ 2138894 h 2323145"/>
              <a:gd name="connsiteX141" fmla="*/ 4765388 w 11269336"/>
              <a:gd name="connsiteY141" fmla="*/ 2162525 h 2323145"/>
              <a:gd name="connsiteX142" fmla="*/ 4745033 w 11269336"/>
              <a:gd name="connsiteY142" fmla="*/ 2158859 h 2323145"/>
              <a:gd name="connsiteX143" fmla="*/ 4741475 w 11269336"/>
              <a:gd name="connsiteY143" fmla="*/ 2157998 h 2323145"/>
              <a:gd name="connsiteX144" fmla="*/ 4728247 w 11269336"/>
              <a:gd name="connsiteY144" fmla="*/ 2159526 h 2323145"/>
              <a:gd name="connsiteX145" fmla="*/ 4723263 w 11269336"/>
              <a:gd name="connsiteY145" fmla="*/ 2153742 h 2323145"/>
              <a:gd name="connsiteX146" fmla="*/ 4702453 w 11269336"/>
              <a:gd name="connsiteY146" fmla="*/ 2151586 h 2323145"/>
              <a:gd name="connsiteX147" fmla="*/ 4678455 w 11269336"/>
              <a:gd name="connsiteY147" fmla="*/ 2156131 h 2323145"/>
              <a:gd name="connsiteX148" fmla="*/ 4593061 w 11269336"/>
              <a:gd name="connsiteY148" fmla="*/ 2171597 h 2323145"/>
              <a:gd name="connsiteX149" fmla="*/ 4579902 w 11269336"/>
              <a:gd name="connsiteY149" fmla="*/ 2177927 h 2323145"/>
              <a:gd name="connsiteX150" fmla="*/ 4533444 w 11269336"/>
              <a:gd name="connsiteY150" fmla="*/ 2181200 h 2323145"/>
              <a:gd name="connsiteX151" fmla="*/ 4492832 w 11269336"/>
              <a:gd name="connsiteY151" fmla="*/ 2188033 h 2323145"/>
              <a:gd name="connsiteX152" fmla="*/ 4467257 w 11269336"/>
              <a:gd name="connsiteY152" fmla="*/ 2196121 h 2323145"/>
              <a:gd name="connsiteX153" fmla="*/ 4459937 w 11269336"/>
              <a:gd name="connsiteY153" fmla="*/ 2195182 h 2323145"/>
              <a:gd name="connsiteX154" fmla="*/ 4433312 w 11269336"/>
              <a:gd name="connsiteY154" fmla="*/ 2199004 h 2323145"/>
              <a:gd name="connsiteX155" fmla="*/ 4420601 w 11269336"/>
              <a:gd name="connsiteY155" fmla="*/ 2205158 h 2323145"/>
              <a:gd name="connsiteX156" fmla="*/ 4405765 w 11269336"/>
              <a:gd name="connsiteY156" fmla="*/ 2199902 h 2323145"/>
              <a:gd name="connsiteX157" fmla="*/ 4401354 w 11269336"/>
              <a:gd name="connsiteY157" fmla="*/ 2194745 h 2323145"/>
              <a:gd name="connsiteX158" fmla="*/ 4383151 w 11269336"/>
              <a:gd name="connsiteY158" fmla="*/ 2201140 h 2323145"/>
              <a:gd name="connsiteX159" fmla="*/ 4366646 w 11269336"/>
              <a:gd name="connsiteY159" fmla="*/ 2198564 h 2323145"/>
              <a:gd name="connsiteX160" fmla="*/ 4354009 w 11269336"/>
              <a:gd name="connsiteY160" fmla="*/ 2204984 h 2323145"/>
              <a:gd name="connsiteX161" fmla="*/ 4348284 w 11269336"/>
              <a:gd name="connsiteY161" fmla="*/ 2205270 h 2323145"/>
              <a:gd name="connsiteX162" fmla="*/ 4333906 w 11269336"/>
              <a:gd name="connsiteY162" fmla="*/ 2205251 h 2323145"/>
              <a:gd name="connsiteX163" fmla="*/ 4308819 w 11269336"/>
              <a:gd name="connsiteY163" fmla="*/ 2203822 h 2323145"/>
              <a:gd name="connsiteX164" fmla="*/ 4301210 w 11269336"/>
              <a:gd name="connsiteY164" fmla="*/ 2204456 h 2323145"/>
              <a:gd name="connsiteX165" fmla="*/ 4283095 w 11269336"/>
              <a:gd name="connsiteY165" fmla="*/ 2198177 h 2323145"/>
              <a:gd name="connsiteX166" fmla="*/ 4250119 w 11269336"/>
              <a:gd name="connsiteY166" fmla="*/ 2196342 h 2323145"/>
              <a:gd name="connsiteX167" fmla="*/ 4189203 w 11269336"/>
              <a:gd name="connsiteY167" fmla="*/ 2178994 h 2323145"/>
              <a:gd name="connsiteX168" fmla="*/ 4154035 w 11269336"/>
              <a:gd name="connsiteY168" fmla="*/ 2171950 h 2323145"/>
              <a:gd name="connsiteX169" fmla="*/ 4129569 w 11269336"/>
              <a:gd name="connsiteY169" fmla="*/ 2163850 h 2323145"/>
              <a:gd name="connsiteX170" fmla="*/ 4061250 w 11269336"/>
              <a:gd name="connsiteY170" fmla="*/ 2159236 h 2323145"/>
              <a:gd name="connsiteX171" fmla="*/ 3945480 w 11269336"/>
              <a:gd name="connsiteY171" fmla="*/ 2158279 h 2323145"/>
              <a:gd name="connsiteX172" fmla="*/ 3921468 w 11269336"/>
              <a:gd name="connsiteY172" fmla="*/ 2156588 h 2323145"/>
              <a:gd name="connsiteX173" fmla="*/ 3903348 w 11269336"/>
              <a:gd name="connsiteY173" fmla="*/ 2149220 h 2323145"/>
              <a:gd name="connsiteX174" fmla="*/ 3901342 w 11269336"/>
              <a:gd name="connsiteY174" fmla="*/ 2142355 h 2323145"/>
              <a:gd name="connsiteX175" fmla="*/ 3888539 w 11269336"/>
              <a:gd name="connsiteY175" fmla="*/ 2140476 h 2323145"/>
              <a:gd name="connsiteX176" fmla="*/ 3885662 w 11269336"/>
              <a:gd name="connsiteY176" fmla="*/ 2138740 h 2323145"/>
              <a:gd name="connsiteX177" fmla="*/ 3868627 w 11269336"/>
              <a:gd name="connsiteY177" fmla="*/ 2130023 h 2323145"/>
              <a:gd name="connsiteX178" fmla="*/ 3819177 w 11269336"/>
              <a:gd name="connsiteY178" fmla="*/ 2142111 h 2323145"/>
              <a:gd name="connsiteX179" fmla="*/ 3769100 w 11269336"/>
              <a:gd name="connsiteY179" fmla="*/ 2131731 h 2323145"/>
              <a:gd name="connsiteX180" fmla="*/ 3562752 w 11269336"/>
              <a:gd name="connsiteY180" fmla="*/ 2131785 h 2323145"/>
              <a:gd name="connsiteX181" fmla="*/ 3541402 w 11269336"/>
              <a:gd name="connsiteY181" fmla="*/ 2106821 h 2323145"/>
              <a:gd name="connsiteX182" fmla="*/ 3365341 w 11269336"/>
              <a:gd name="connsiteY182" fmla="*/ 2077638 h 2323145"/>
              <a:gd name="connsiteX183" fmla="*/ 3170922 w 11269336"/>
              <a:gd name="connsiteY183" fmla="*/ 2115957 h 2323145"/>
              <a:gd name="connsiteX184" fmla="*/ 3156256 w 11269336"/>
              <a:gd name="connsiteY184" fmla="*/ 2124773 h 2323145"/>
              <a:gd name="connsiteX185" fmla="*/ 3140298 w 11269336"/>
              <a:gd name="connsiteY185" fmla="*/ 2129182 h 2323145"/>
              <a:gd name="connsiteX186" fmla="*/ 3138514 w 11269336"/>
              <a:gd name="connsiteY186" fmla="*/ 2128069 h 2323145"/>
              <a:gd name="connsiteX187" fmla="*/ 3120467 w 11269336"/>
              <a:gd name="connsiteY187" fmla="*/ 2128281 h 2323145"/>
              <a:gd name="connsiteX188" fmla="*/ 3116175 w 11269336"/>
              <a:gd name="connsiteY188" fmla="*/ 2131633 h 2323145"/>
              <a:gd name="connsiteX189" fmla="*/ 3103685 w 11269336"/>
              <a:gd name="connsiteY189" fmla="*/ 2132814 h 2323145"/>
              <a:gd name="connsiteX190" fmla="*/ 3078794 w 11269336"/>
              <a:gd name="connsiteY190" fmla="*/ 2137935 h 2323145"/>
              <a:gd name="connsiteX191" fmla="*/ 3074407 w 11269336"/>
              <a:gd name="connsiteY191" fmla="*/ 2136274 h 2323145"/>
              <a:gd name="connsiteX192" fmla="*/ 3037285 w 11269336"/>
              <a:gd name="connsiteY192" fmla="*/ 2139919 h 2323145"/>
              <a:gd name="connsiteX193" fmla="*/ 3036901 w 11269336"/>
              <a:gd name="connsiteY193" fmla="*/ 2138726 h 2323145"/>
              <a:gd name="connsiteX194" fmla="*/ 3026996 w 11269336"/>
              <a:gd name="connsiteY194" fmla="*/ 2134322 h 2323145"/>
              <a:gd name="connsiteX195" fmla="*/ 3007772 w 11269336"/>
              <a:gd name="connsiteY195" fmla="*/ 2128742 h 2323145"/>
              <a:gd name="connsiteX196" fmla="*/ 2965030 w 11269336"/>
              <a:gd name="connsiteY196" fmla="*/ 2100494 h 2323145"/>
              <a:gd name="connsiteX197" fmla="*/ 2926342 w 11269336"/>
              <a:gd name="connsiteY197" fmla="*/ 2104155 h 2323145"/>
              <a:gd name="connsiteX198" fmla="*/ 2918608 w 11269336"/>
              <a:gd name="connsiteY198" fmla="*/ 2104215 h 2323145"/>
              <a:gd name="connsiteX199" fmla="*/ 2918475 w 11269336"/>
              <a:gd name="connsiteY199" fmla="*/ 2103937 h 2323145"/>
              <a:gd name="connsiteX200" fmla="*/ 2910360 w 11269336"/>
              <a:gd name="connsiteY200" fmla="*/ 2103444 h 2323145"/>
              <a:gd name="connsiteX201" fmla="*/ 2904507 w 11269336"/>
              <a:gd name="connsiteY201" fmla="*/ 2104326 h 2323145"/>
              <a:gd name="connsiteX202" fmla="*/ 2889503 w 11269336"/>
              <a:gd name="connsiteY202" fmla="*/ 2104443 h 2323145"/>
              <a:gd name="connsiteX203" fmla="*/ 2884480 w 11269336"/>
              <a:gd name="connsiteY203" fmla="*/ 2102626 h 2323145"/>
              <a:gd name="connsiteX204" fmla="*/ 2882689 w 11269336"/>
              <a:gd name="connsiteY204" fmla="*/ 2099228 h 2323145"/>
              <a:gd name="connsiteX205" fmla="*/ 2881291 w 11269336"/>
              <a:gd name="connsiteY205" fmla="*/ 2099618 h 2323145"/>
              <a:gd name="connsiteX206" fmla="*/ 2853979 w 11269336"/>
              <a:gd name="connsiteY206" fmla="*/ 2090388 h 2323145"/>
              <a:gd name="connsiteX207" fmla="*/ 2791790 w 11269336"/>
              <a:gd name="connsiteY207" fmla="*/ 2080332 h 2323145"/>
              <a:gd name="connsiteX208" fmla="*/ 2755844 w 11269336"/>
              <a:gd name="connsiteY208" fmla="*/ 2078874 h 2323145"/>
              <a:gd name="connsiteX209" fmla="*/ 2657742 w 11269336"/>
              <a:gd name="connsiteY209" fmla="*/ 2070179 h 2323145"/>
              <a:gd name="connsiteX210" fmla="*/ 2559549 w 11269336"/>
              <a:gd name="connsiteY210" fmla="*/ 2057873 h 2323145"/>
              <a:gd name="connsiteX211" fmla="*/ 2512054 w 11269336"/>
              <a:gd name="connsiteY211" fmla="*/ 2031671 h 2323145"/>
              <a:gd name="connsiteX212" fmla="*/ 2506437 w 11269336"/>
              <a:gd name="connsiteY212" fmla="*/ 2030918 h 2323145"/>
              <a:gd name="connsiteX213" fmla="*/ 2491752 w 11269336"/>
              <a:gd name="connsiteY213" fmla="*/ 2033906 h 2323145"/>
              <a:gd name="connsiteX214" fmla="*/ 2486338 w 11269336"/>
              <a:gd name="connsiteY214" fmla="*/ 2035862 h 2323145"/>
              <a:gd name="connsiteX215" fmla="*/ 2478186 w 11269336"/>
              <a:gd name="connsiteY215" fmla="*/ 2036953 h 2323145"/>
              <a:gd name="connsiteX216" fmla="*/ 2477950 w 11269336"/>
              <a:gd name="connsiteY216" fmla="*/ 2036715 h 2323145"/>
              <a:gd name="connsiteX217" fmla="*/ 2470381 w 11269336"/>
              <a:gd name="connsiteY217" fmla="*/ 2038256 h 2323145"/>
              <a:gd name="connsiteX218" fmla="*/ 2433781 w 11269336"/>
              <a:gd name="connsiteY218" fmla="*/ 2049140 h 2323145"/>
              <a:gd name="connsiteX219" fmla="*/ 2381172 w 11269336"/>
              <a:gd name="connsiteY219" fmla="*/ 2030645 h 2323145"/>
              <a:gd name="connsiteX220" fmla="*/ 2360198 w 11269336"/>
              <a:gd name="connsiteY220" fmla="*/ 2029059 h 2323145"/>
              <a:gd name="connsiteX221" fmla="*/ 2348815 w 11269336"/>
              <a:gd name="connsiteY221" fmla="*/ 2026798 h 2323145"/>
              <a:gd name="connsiteX222" fmla="*/ 2347988 w 11269336"/>
              <a:gd name="connsiteY222" fmla="*/ 2025745 h 2323145"/>
              <a:gd name="connsiteX223" fmla="*/ 2312920 w 11269336"/>
              <a:gd name="connsiteY223" fmla="*/ 2036311 h 2323145"/>
              <a:gd name="connsiteX224" fmla="*/ 2307986 w 11269336"/>
              <a:gd name="connsiteY224" fmla="*/ 2035583 h 2323145"/>
              <a:gd name="connsiteX225" fmla="*/ 2285481 w 11269336"/>
              <a:gd name="connsiteY225" fmla="*/ 2045197 h 2323145"/>
              <a:gd name="connsiteX226" fmla="*/ 2273666 w 11269336"/>
              <a:gd name="connsiteY226" fmla="*/ 2048710 h 2323145"/>
              <a:gd name="connsiteX227" fmla="*/ 2270719 w 11269336"/>
              <a:gd name="connsiteY227" fmla="*/ 2052702 h 2323145"/>
              <a:gd name="connsiteX228" fmla="*/ 2253080 w 11269336"/>
              <a:gd name="connsiteY228" fmla="*/ 2056363 h 2323145"/>
              <a:gd name="connsiteX229" fmla="*/ 2250906 w 11269336"/>
              <a:gd name="connsiteY229" fmla="*/ 2055654 h 2323145"/>
              <a:gd name="connsiteX230" fmla="*/ 2236905 w 11269336"/>
              <a:gd name="connsiteY230" fmla="*/ 2062882 h 2323145"/>
              <a:gd name="connsiteX231" fmla="*/ 2225830 w 11269336"/>
              <a:gd name="connsiteY231" fmla="*/ 2074027 h 2323145"/>
              <a:gd name="connsiteX232" fmla="*/ 2073776 w 11269336"/>
              <a:gd name="connsiteY232" fmla="*/ 2089244 h 2323145"/>
              <a:gd name="connsiteX233" fmla="*/ 1948256 w 11269336"/>
              <a:gd name="connsiteY233" fmla="*/ 2146616 h 2323145"/>
              <a:gd name="connsiteX234" fmla="*/ 1865582 w 11269336"/>
              <a:gd name="connsiteY234" fmla="*/ 2153738 h 2323145"/>
              <a:gd name="connsiteX235" fmla="*/ 1835210 w 11269336"/>
              <a:gd name="connsiteY235" fmla="*/ 2134244 h 2323145"/>
              <a:gd name="connsiteX236" fmla="*/ 1632661 w 11269336"/>
              <a:gd name="connsiteY236" fmla="*/ 2173882 h 2323145"/>
              <a:gd name="connsiteX237" fmla="*/ 1579590 w 11269336"/>
              <a:gd name="connsiteY237" fmla="*/ 2173680 h 2323145"/>
              <a:gd name="connsiteX238" fmla="*/ 1535601 w 11269336"/>
              <a:gd name="connsiteY238" fmla="*/ 2194590 h 2323145"/>
              <a:gd name="connsiteX239" fmla="*/ 1515594 w 11269336"/>
              <a:gd name="connsiteY239" fmla="*/ 2189622 h 2323145"/>
              <a:gd name="connsiteX240" fmla="*/ 1512113 w 11269336"/>
              <a:gd name="connsiteY240" fmla="*/ 2188534 h 2323145"/>
              <a:gd name="connsiteX241" fmla="*/ 1498838 w 11269336"/>
              <a:gd name="connsiteY241" fmla="*/ 2189213 h 2323145"/>
              <a:gd name="connsiteX242" fmla="*/ 1494279 w 11269336"/>
              <a:gd name="connsiteY242" fmla="*/ 2183112 h 2323145"/>
              <a:gd name="connsiteX243" fmla="*/ 1473714 w 11269336"/>
              <a:gd name="connsiteY243" fmla="*/ 2179625 h 2323145"/>
              <a:gd name="connsiteX244" fmla="*/ 1449503 w 11269336"/>
              <a:gd name="connsiteY244" fmla="*/ 2182633 h 2323145"/>
              <a:gd name="connsiteX245" fmla="*/ 1266687 w 11269336"/>
              <a:gd name="connsiteY245" fmla="*/ 2212688 h 2323145"/>
              <a:gd name="connsiteX246" fmla="*/ 1239614 w 11269336"/>
              <a:gd name="connsiteY246" fmla="*/ 2209727 h 2323145"/>
              <a:gd name="connsiteX247" fmla="*/ 1202436 w 11269336"/>
              <a:gd name="connsiteY247" fmla="*/ 2209817 h 2323145"/>
              <a:gd name="connsiteX248" fmla="*/ 1136097 w 11269336"/>
              <a:gd name="connsiteY248" fmla="*/ 2205112 h 2323145"/>
              <a:gd name="connsiteX249" fmla="*/ 988232 w 11269336"/>
              <a:gd name="connsiteY249" fmla="*/ 2235635 h 2323145"/>
              <a:gd name="connsiteX250" fmla="*/ 981959 w 11269336"/>
              <a:gd name="connsiteY250" fmla="*/ 2231607 h 2323145"/>
              <a:gd name="connsiteX251" fmla="*/ 938600 w 11269336"/>
              <a:gd name="connsiteY251" fmla="*/ 2238113 h 2323145"/>
              <a:gd name="connsiteX252" fmla="*/ 791788 w 11269336"/>
              <a:gd name="connsiteY252" fmla="*/ 2293224 h 2323145"/>
              <a:gd name="connsiteX253" fmla="*/ 706914 w 11269336"/>
              <a:gd name="connsiteY253" fmla="*/ 2305046 h 2323145"/>
              <a:gd name="connsiteX254" fmla="*/ 675971 w 11269336"/>
              <a:gd name="connsiteY254" fmla="*/ 2304030 h 2323145"/>
              <a:gd name="connsiteX255" fmla="*/ 624180 w 11269336"/>
              <a:gd name="connsiteY255" fmla="*/ 2302650 h 2323145"/>
              <a:gd name="connsiteX256" fmla="*/ 583453 w 11269336"/>
              <a:gd name="connsiteY256" fmla="*/ 2288788 h 2323145"/>
              <a:gd name="connsiteX257" fmla="*/ 540946 w 11269336"/>
              <a:gd name="connsiteY257" fmla="*/ 2292721 h 2323145"/>
              <a:gd name="connsiteX258" fmla="*/ 533680 w 11269336"/>
              <a:gd name="connsiteY258" fmla="*/ 2310233 h 2323145"/>
              <a:gd name="connsiteX259" fmla="*/ 487366 w 11269336"/>
              <a:gd name="connsiteY259" fmla="*/ 2309053 h 2323145"/>
              <a:gd name="connsiteX260" fmla="*/ 416820 w 11269336"/>
              <a:gd name="connsiteY260" fmla="*/ 2305443 h 2323145"/>
              <a:gd name="connsiteX261" fmla="*/ 376805 w 11269336"/>
              <a:gd name="connsiteY261" fmla="*/ 2307647 h 2323145"/>
              <a:gd name="connsiteX262" fmla="*/ 266777 w 11269336"/>
              <a:gd name="connsiteY262" fmla="*/ 2309012 h 2323145"/>
              <a:gd name="connsiteX263" fmla="*/ 156013 w 11269336"/>
              <a:gd name="connsiteY263" fmla="*/ 2306832 h 2323145"/>
              <a:gd name="connsiteX264" fmla="*/ 87258 w 11269336"/>
              <a:gd name="connsiteY264" fmla="*/ 2285511 h 2323145"/>
              <a:gd name="connsiteX265" fmla="*/ 23798 w 11269336"/>
              <a:gd name="connsiteY265" fmla="*/ 2281822 h 2323145"/>
              <a:gd name="connsiteX266" fmla="*/ 0 w 11269336"/>
              <a:gd name="connsiteY266" fmla="*/ 2285369 h 2323145"/>
              <a:gd name="connsiteX267" fmla="*/ 0 w 11269336"/>
              <a:gd name="connsiteY267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114263 w 11269336"/>
              <a:gd name="connsiteY21" fmla="*/ 709213 h 2323145"/>
              <a:gd name="connsiteX22" fmla="*/ 9028928 w 11269336"/>
              <a:gd name="connsiteY22" fmla="*/ 745350 h 2323145"/>
              <a:gd name="connsiteX23" fmla="*/ 8977138 w 11269336"/>
              <a:gd name="connsiteY23" fmla="*/ 774970 h 2323145"/>
              <a:gd name="connsiteX24" fmla="*/ 8947030 w 11269336"/>
              <a:gd name="connsiteY24" fmla="*/ 814934 h 2323145"/>
              <a:gd name="connsiteX25" fmla="*/ 8914746 w 11269336"/>
              <a:gd name="connsiteY25" fmla="*/ 826428 h 2323145"/>
              <a:gd name="connsiteX26" fmla="*/ 8917778 w 11269336"/>
              <a:gd name="connsiteY26" fmla="*/ 835198 h 2323145"/>
              <a:gd name="connsiteX27" fmla="*/ 8905560 w 11269336"/>
              <a:gd name="connsiteY27" fmla="*/ 838358 h 2323145"/>
              <a:gd name="connsiteX28" fmla="*/ 8897564 w 11269336"/>
              <a:gd name="connsiteY28" fmla="*/ 834287 h 2323145"/>
              <a:gd name="connsiteX29" fmla="*/ 8878040 w 11269336"/>
              <a:gd name="connsiteY29" fmla="*/ 844150 h 2323145"/>
              <a:gd name="connsiteX30" fmla="*/ 8882654 w 11269336"/>
              <a:gd name="connsiteY30" fmla="*/ 892768 h 2323145"/>
              <a:gd name="connsiteX31" fmla="*/ 8795998 w 11269336"/>
              <a:gd name="connsiteY31" fmla="*/ 863337 h 2323145"/>
              <a:gd name="connsiteX32" fmla="*/ 8776970 w 11269336"/>
              <a:gd name="connsiteY32" fmla="*/ 885177 h 2323145"/>
              <a:gd name="connsiteX33" fmla="*/ 8755719 w 11269336"/>
              <a:gd name="connsiteY33" fmla="*/ 889754 h 2323145"/>
              <a:gd name="connsiteX34" fmla="*/ 8743257 w 11269336"/>
              <a:gd name="connsiteY34" fmla="*/ 904723 h 2323145"/>
              <a:gd name="connsiteX35" fmla="*/ 8721366 w 11269336"/>
              <a:gd name="connsiteY35" fmla="*/ 904711 h 2323145"/>
              <a:gd name="connsiteX36" fmla="*/ 8678353 w 11269336"/>
              <a:gd name="connsiteY36" fmla="*/ 926318 h 2323145"/>
              <a:gd name="connsiteX37" fmla="*/ 8636849 w 11269336"/>
              <a:gd name="connsiteY37" fmla="*/ 937900 h 2323145"/>
              <a:gd name="connsiteX38" fmla="*/ 8620213 w 11269336"/>
              <a:gd name="connsiteY38" fmla="*/ 943068 h 2323145"/>
              <a:gd name="connsiteX39" fmla="*/ 8612581 w 11269336"/>
              <a:gd name="connsiteY39" fmla="*/ 952695 h 2323145"/>
              <a:gd name="connsiteX40" fmla="*/ 8589038 w 11269336"/>
              <a:gd name="connsiteY40" fmla="*/ 963892 h 2323145"/>
              <a:gd name="connsiteX41" fmla="*/ 8579950 w 11269336"/>
              <a:gd name="connsiteY41" fmla="*/ 960899 h 2323145"/>
              <a:gd name="connsiteX42" fmla="*/ 8579319 w 11269336"/>
              <a:gd name="connsiteY42" fmla="*/ 965630 h 2323145"/>
              <a:gd name="connsiteX43" fmla="*/ 8547429 w 11269336"/>
              <a:gd name="connsiteY43" fmla="*/ 984506 h 2323145"/>
              <a:gd name="connsiteX44" fmla="*/ 8478704 w 11269336"/>
              <a:gd name="connsiteY44" fmla="*/ 1025490 h 2323145"/>
              <a:gd name="connsiteX45" fmla="*/ 8461421 w 11269336"/>
              <a:gd name="connsiteY45" fmla="*/ 1035512 h 2323145"/>
              <a:gd name="connsiteX46" fmla="*/ 8445003 w 11269336"/>
              <a:gd name="connsiteY46" fmla="*/ 1036851 h 2323145"/>
              <a:gd name="connsiteX47" fmla="*/ 8357350 w 11269336"/>
              <a:gd name="connsiteY47" fmla="*/ 1060213 h 2323145"/>
              <a:gd name="connsiteX48" fmla="*/ 8335565 w 11269336"/>
              <a:gd name="connsiteY48" fmla="*/ 1061151 h 2323145"/>
              <a:gd name="connsiteX49" fmla="*/ 8325267 w 11269336"/>
              <a:gd name="connsiteY49" fmla="*/ 1055919 h 2323145"/>
              <a:gd name="connsiteX50" fmla="*/ 8293586 w 11269336"/>
              <a:gd name="connsiteY50" fmla="*/ 1076144 h 2323145"/>
              <a:gd name="connsiteX51" fmla="*/ 8242405 w 11269336"/>
              <a:gd name="connsiteY51" fmla="*/ 1095960 h 2323145"/>
              <a:gd name="connsiteX52" fmla="*/ 8197391 w 11269336"/>
              <a:gd name="connsiteY52" fmla="*/ 1107746 h 2323145"/>
              <a:gd name="connsiteX53" fmla="*/ 8081474 w 11269336"/>
              <a:gd name="connsiteY53" fmla="*/ 1130125 h 2323145"/>
              <a:gd name="connsiteX54" fmla="*/ 8053585 w 11269336"/>
              <a:gd name="connsiteY54" fmla="*/ 1129169 h 2323145"/>
              <a:gd name="connsiteX55" fmla="*/ 8038422 w 11269336"/>
              <a:gd name="connsiteY55" fmla="*/ 1119092 h 2323145"/>
              <a:gd name="connsiteX56" fmla="*/ 8029450 w 11269336"/>
              <a:gd name="connsiteY56" fmla="*/ 1125592 h 2323145"/>
              <a:gd name="connsiteX57" fmla="*/ 7959552 w 11269336"/>
              <a:gd name="connsiteY57" fmla="*/ 1140188 h 2323145"/>
              <a:gd name="connsiteX58" fmla="*/ 7914188 w 11269336"/>
              <a:gd name="connsiteY58" fmla="*/ 1150862 h 2323145"/>
              <a:gd name="connsiteX59" fmla="*/ 7914918 w 11269336"/>
              <a:gd name="connsiteY59" fmla="*/ 1168758 h 2323145"/>
              <a:gd name="connsiteX60" fmla="*/ 7875510 w 11269336"/>
              <a:gd name="connsiteY60" fmla="*/ 1183153 h 2323145"/>
              <a:gd name="connsiteX61" fmla="*/ 7829932 w 11269336"/>
              <a:gd name="connsiteY61" fmla="*/ 1180782 h 2323145"/>
              <a:gd name="connsiteX62" fmla="*/ 7779182 w 11269336"/>
              <a:gd name="connsiteY62" fmla="*/ 1192665 h 2323145"/>
              <a:gd name="connsiteX63" fmla="*/ 7748774 w 11269336"/>
              <a:gd name="connsiteY63" fmla="*/ 1199586 h 2323145"/>
              <a:gd name="connsiteX64" fmla="*/ 7671846 w 11269336"/>
              <a:gd name="connsiteY64" fmla="*/ 1231966 h 2323145"/>
              <a:gd name="connsiteX65" fmla="*/ 7554146 w 11269336"/>
              <a:gd name="connsiteY65" fmla="*/ 1319748 h 2323145"/>
              <a:gd name="connsiteX66" fmla="*/ 7515052 w 11269336"/>
              <a:gd name="connsiteY66" fmla="*/ 1336718 h 2323145"/>
              <a:gd name="connsiteX67" fmla="*/ 7507193 w 11269336"/>
              <a:gd name="connsiteY67" fmla="*/ 1334617 h 2323145"/>
              <a:gd name="connsiteX68" fmla="*/ 7461694 w 11269336"/>
              <a:gd name="connsiteY68" fmla="*/ 1375866 h 2323145"/>
              <a:gd name="connsiteX69" fmla="*/ 7377571 w 11269336"/>
              <a:gd name="connsiteY69" fmla="*/ 1400128 h 2323145"/>
              <a:gd name="connsiteX70" fmla="*/ 7311261 w 11269336"/>
              <a:gd name="connsiteY70" fmla="*/ 1412652 h 2323145"/>
              <a:gd name="connsiteX71" fmla="*/ 7275307 w 11269336"/>
              <a:gd name="connsiteY71" fmla="*/ 1422171 h 2323145"/>
              <a:gd name="connsiteX72" fmla="*/ 7247783 w 11269336"/>
              <a:gd name="connsiteY72" fmla="*/ 1426330 h 2323145"/>
              <a:gd name="connsiteX73" fmla="*/ 7185047 w 11269336"/>
              <a:gd name="connsiteY73" fmla="*/ 1451812 h 2323145"/>
              <a:gd name="connsiteX74" fmla="*/ 7084117 w 11269336"/>
              <a:gd name="connsiteY74" fmla="*/ 1500281 h 2323145"/>
              <a:gd name="connsiteX75" fmla="*/ 7062011 w 11269336"/>
              <a:gd name="connsiteY75" fmla="*/ 1509183 h 2323145"/>
              <a:gd name="connsiteX76" fmla="*/ 7040555 w 11269336"/>
              <a:gd name="connsiteY76" fmla="*/ 1511207 h 2323145"/>
              <a:gd name="connsiteX77" fmla="*/ 7033438 w 11269336"/>
              <a:gd name="connsiteY77" fmla="*/ 1506772 h 2323145"/>
              <a:gd name="connsiteX78" fmla="*/ 7020886 w 11269336"/>
              <a:gd name="connsiteY78" fmla="*/ 1510764 h 2323145"/>
              <a:gd name="connsiteX79" fmla="*/ 7017033 w 11269336"/>
              <a:gd name="connsiteY79" fmla="*/ 1510650 h 2323145"/>
              <a:gd name="connsiteX80" fmla="*/ 6995460 w 11269336"/>
              <a:gd name="connsiteY80" fmla="*/ 1511173 h 2323145"/>
              <a:gd name="connsiteX81" fmla="*/ 6962144 w 11269336"/>
              <a:gd name="connsiteY81" fmla="*/ 1541508 h 2323145"/>
              <a:gd name="connsiteX82" fmla="*/ 6910674 w 11269336"/>
              <a:gd name="connsiteY82" fmla="*/ 1554793 h 2323145"/>
              <a:gd name="connsiteX83" fmla="*/ 6732152 w 11269336"/>
              <a:gd name="connsiteY83" fmla="*/ 1642538 h 2323145"/>
              <a:gd name="connsiteX84" fmla="*/ 6694106 w 11269336"/>
              <a:gd name="connsiteY84" fmla="*/ 1632377 h 2323145"/>
              <a:gd name="connsiteX85" fmla="*/ 6617223 w 11269336"/>
              <a:gd name="connsiteY85" fmla="*/ 1659889 h 2323145"/>
              <a:gd name="connsiteX86" fmla="*/ 6521138 w 11269336"/>
              <a:gd name="connsiteY86" fmla="*/ 1744340 h 2323145"/>
              <a:gd name="connsiteX87" fmla="*/ 6380677 w 11269336"/>
              <a:gd name="connsiteY87" fmla="*/ 1796883 h 2323145"/>
              <a:gd name="connsiteX88" fmla="*/ 6374897 w 11269336"/>
              <a:gd name="connsiteY88" fmla="*/ 1809910 h 2323145"/>
              <a:gd name="connsiteX89" fmla="*/ 6364545 w 11269336"/>
              <a:gd name="connsiteY89" fmla="*/ 1820090 h 2323145"/>
              <a:gd name="connsiteX90" fmla="*/ 6362126 w 11269336"/>
              <a:gd name="connsiteY90" fmla="*/ 1819991 h 2323145"/>
              <a:gd name="connsiteX91" fmla="*/ 6346673 w 11269336"/>
              <a:gd name="connsiteY91" fmla="*/ 1827824 h 2323145"/>
              <a:gd name="connsiteX92" fmla="*/ 6345588 w 11269336"/>
              <a:gd name="connsiteY92" fmla="*/ 1832232 h 2323145"/>
              <a:gd name="connsiteX93" fmla="*/ 6335708 w 11269336"/>
              <a:gd name="connsiteY93" fmla="*/ 1838451 h 2323145"/>
              <a:gd name="connsiteX94" fmla="*/ 6318182 w 11269336"/>
              <a:gd name="connsiteY94" fmla="*/ 1852975 h 2323145"/>
              <a:gd name="connsiteX95" fmla="*/ 6313084 w 11269336"/>
              <a:gd name="connsiteY95" fmla="*/ 1853561 h 2323145"/>
              <a:gd name="connsiteX96" fmla="*/ 6283816 w 11269336"/>
              <a:gd name="connsiteY96" fmla="*/ 1872148 h 2323145"/>
              <a:gd name="connsiteX97" fmla="*/ 6282550 w 11269336"/>
              <a:gd name="connsiteY97" fmla="*/ 1871392 h 2323145"/>
              <a:gd name="connsiteX98" fmla="*/ 6270527 w 11269336"/>
              <a:gd name="connsiteY98" fmla="*/ 1872208 h 2323145"/>
              <a:gd name="connsiteX99" fmla="*/ 6249518 w 11269336"/>
              <a:gd name="connsiteY99" fmla="*/ 1876079 h 2323145"/>
              <a:gd name="connsiteX100" fmla="*/ 6190386 w 11269336"/>
              <a:gd name="connsiteY100" fmla="*/ 1872478 h 2323145"/>
              <a:gd name="connsiteX101" fmla="*/ 6159777 w 11269336"/>
              <a:gd name="connsiteY101" fmla="*/ 1891745 h 2323145"/>
              <a:gd name="connsiteX102" fmla="*/ 6153131 w 11269336"/>
              <a:gd name="connsiteY102" fmla="*/ 1895079 h 2323145"/>
              <a:gd name="connsiteX103" fmla="*/ 6152798 w 11269336"/>
              <a:gd name="connsiteY103" fmla="*/ 1894920 h 2323145"/>
              <a:gd name="connsiteX104" fmla="*/ 6145388 w 11269336"/>
              <a:gd name="connsiteY104" fmla="*/ 1897990 h 2323145"/>
              <a:gd name="connsiteX105" fmla="*/ 6141014 w 11269336"/>
              <a:gd name="connsiteY105" fmla="*/ 1901155 h 2323145"/>
              <a:gd name="connsiteX106" fmla="*/ 6128122 w 11269336"/>
              <a:gd name="connsiteY106" fmla="*/ 1907623 h 2323145"/>
              <a:gd name="connsiteX107" fmla="*/ 6122351 w 11269336"/>
              <a:gd name="connsiteY107" fmla="*/ 1908359 h 2323145"/>
              <a:gd name="connsiteX108" fmla="*/ 6064750 w 11269336"/>
              <a:gd name="connsiteY108" fmla="*/ 1896394 h 2323145"/>
              <a:gd name="connsiteX109" fmla="*/ 5964230 w 11269336"/>
              <a:gd name="connsiteY109" fmla="*/ 1910038 h 2323145"/>
              <a:gd name="connsiteX110" fmla="*/ 5865399 w 11269336"/>
              <a:gd name="connsiteY110" fmla="*/ 1926966 h 2323145"/>
              <a:gd name="connsiteX111" fmla="*/ 5829951 w 11269336"/>
              <a:gd name="connsiteY111" fmla="*/ 1934755 h 2323145"/>
              <a:gd name="connsiteX112" fmla="*/ 5765285 w 11269336"/>
              <a:gd name="connsiteY112" fmla="*/ 1941322 h 2323145"/>
              <a:gd name="connsiteX113" fmla="*/ 5734750 w 11269336"/>
              <a:gd name="connsiteY113" fmla="*/ 1939793 h 2323145"/>
              <a:gd name="connsiteX114" fmla="*/ 5733569 w 11269336"/>
              <a:gd name="connsiteY114" fmla="*/ 1940505 h 2323145"/>
              <a:gd name="connsiteX115" fmla="*/ 5730329 w 11269336"/>
              <a:gd name="connsiteY115" fmla="*/ 1937845 h 2323145"/>
              <a:gd name="connsiteX116" fmla="*/ 5724661 w 11269336"/>
              <a:gd name="connsiteY116" fmla="*/ 1937455 h 2323145"/>
              <a:gd name="connsiteX117" fmla="*/ 5710186 w 11269336"/>
              <a:gd name="connsiteY117" fmla="*/ 1941370 h 2323145"/>
              <a:gd name="connsiteX118" fmla="*/ 5704910 w 11269336"/>
              <a:gd name="connsiteY118" fmla="*/ 1943663 h 2323145"/>
              <a:gd name="connsiteX119" fmla="*/ 5696836 w 11269336"/>
              <a:gd name="connsiteY119" fmla="*/ 1945271 h 2323145"/>
              <a:gd name="connsiteX120" fmla="*/ 5696583 w 11269336"/>
              <a:gd name="connsiteY120" fmla="*/ 1945050 h 2323145"/>
              <a:gd name="connsiteX121" fmla="*/ 5689123 w 11269336"/>
              <a:gd name="connsiteY121" fmla="*/ 1947067 h 2323145"/>
              <a:gd name="connsiteX122" fmla="*/ 5653291 w 11269336"/>
              <a:gd name="connsiteY122" fmla="*/ 1960245 h 2323145"/>
              <a:gd name="connsiteX123" fmla="*/ 5599385 w 11269336"/>
              <a:gd name="connsiteY123" fmla="*/ 1945198 h 2323145"/>
              <a:gd name="connsiteX124" fmla="*/ 5578300 w 11269336"/>
              <a:gd name="connsiteY124" fmla="*/ 1944963 h 2323145"/>
              <a:gd name="connsiteX125" fmla="*/ 5566758 w 11269336"/>
              <a:gd name="connsiteY125" fmla="*/ 1943441 h 2323145"/>
              <a:gd name="connsiteX126" fmla="*/ 5565857 w 11269336"/>
              <a:gd name="connsiteY126" fmla="*/ 1942445 h 2323145"/>
              <a:gd name="connsiteX127" fmla="*/ 5531534 w 11269336"/>
              <a:gd name="connsiteY127" fmla="*/ 1955208 h 2323145"/>
              <a:gd name="connsiteX128" fmla="*/ 5526552 w 11269336"/>
              <a:gd name="connsiteY128" fmla="*/ 1954799 h 2323145"/>
              <a:gd name="connsiteX129" fmla="*/ 5504723 w 11269336"/>
              <a:gd name="connsiteY129" fmla="*/ 1965811 h 2323145"/>
              <a:gd name="connsiteX130" fmla="*/ 5493156 w 11269336"/>
              <a:gd name="connsiteY130" fmla="*/ 1970063 h 2323145"/>
              <a:gd name="connsiteX131" fmla="*/ 5490486 w 11269336"/>
              <a:gd name="connsiteY131" fmla="*/ 1974227 h 2323145"/>
              <a:gd name="connsiteX132" fmla="*/ 5473107 w 11269336"/>
              <a:gd name="connsiteY132" fmla="*/ 1979001 h 2323145"/>
              <a:gd name="connsiteX133" fmla="*/ 5470885 w 11269336"/>
              <a:gd name="connsiteY133" fmla="*/ 1978432 h 2323145"/>
              <a:gd name="connsiteX134" fmla="*/ 5457393 w 11269336"/>
              <a:gd name="connsiteY134" fmla="*/ 1986525 h 2323145"/>
              <a:gd name="connsiteX135" fmla="*/ 5447102 w 11269336"/>
              <a:gd name="connsiteY135" fmla="*/ 1998329 h 2323145"/>
              <a:gd name="connsiteX136" fmla="*/ 5159151 w 11269336"/>
              <a:gd name="connsiteY136" fmla="*/ 2029640 h 2323145"/>
              <a:gd name="connsiteX137" fmla="*/ 5041688 w 11269336"/>
              <a:gd name="connsiteY137" fmla="*/ 2022334 h 2323145"/>
              <a:gd name="connsiteX138" fmla="*/ 4860988 w 11269336"/>
              <a:gd name="connsiteY138" fmla="*/ 2135698 h 2323145"/>
              <a:gd name="connsiteX139" fmla="*/ 4807902 w 11269336"/>
              <a:gd name="connsiteY139" fmla="*/ 2138894 h 2323145"/>
              <a:gd name="connsiteX140" fmla="*/ 4765388 w 11269336"/>
              <a:gd name="connsiteY140" fmla="*/ 2162525 h 2323145"/>
              <a:gd name="connsiteX141" fmla="*/ 4745033 w 11269336"/>
              <a:gd name="connsiteY141" fmla="*/ 2158859 h 2323145"/>
              <a:gd name="connsiteX142" fmla="*/ 4741475 w 11269336"/>
              <a:gd name="connsiteY142" fmla="*/ 2157998 h 2323145"/>
              <a:gd name="connsiteX143" fmla="*/ 4728247 w 11269336"/>
              <a:gd name="connsiteY143" fmla="*/ 2159526 h 2323145"/>
              <a:gd name="connsiteX144" fmla="*/ 4723263 w 11269336"/>
              <a:gd name="connsiteY144" fmla="*/ 2153742 h 2323145"/>
              <a:gd name="connsiteX145" fmla="*/ 4702453 w 11269336"/>
              <a:gd name="connsiteY145" fmla="*/ 2151586 h 2323145"/>
              <a:gd name="connsiteX146" fmla="*/ 4678455 w 11269336"/>
              <a:gd name="connsiteY146" fmla="*/ 2156131 h 2323145"/>
              <a:gd name="connsiteX147" fmla="*/ 4593061 w 11269336"/>
              <a:gd name="connsiteY147" fmla="*/ 2171597 h 2323145"/>
              <a:gd name="connsiteX148" fmla="*/ 4579902 w 11269336"/>
              <a:gd name="connsiteY148" fmla="*/ 2177927 h 2323145"/>
              <a:gd name="connsiteX149" fmla="*/ 4533444 w 11269336"/>
              <a:gd name="connsiteY149" fmla="*/ 2181200 h 2323145"/>
              <a:gd name="connsiteX150" fmla="*/ 4492832 w 11269336"/>
              <a:gd name="connsiteY150" fmla="*/ 2188033 h 2323145"/>
              <a:gd name="connsiteX151" fmla="*/ 4467257 w 11269336"/>
              <a:gd name="connsiteY151" fmla="*/ 2196121 h 2323145"/>
              <a:gd name="connsiteX152" fmla="*/ 4459937 w 11269336"/>
              <a:gd name="connsiteY152" fmla="*/ 2195182 h 2323145"/>
              <a:gd name="connsiteX153" fmla="*/ 4433312 w 11269336"/>
              <a:gd name="connsiteY153" fmla="*/ 2199004 h 2323145"/>
              <a:gd name="connsiteX154" fmla="*/ 4420601 w 11269336"/>
              <a:gd name="connsiteY154" fmla="*/ 2205158 h 2323145"/>
              <a:gd name="connsiteX155" fmla="*/ 4405765 w 11269336"/>
              <a:gd name="connsiteY155" fmla="*/ 2199902 h 2323145"/>
              <a:gd name="connsiteX156" fmla="*/ 4401354 w 11269336"/>
              <a:gd name="connsiteY156" fmla="*/ 2194745 h 2323145"/>
              <a:gd name="connsiteX157" fmla="*/ 4383151 w 11269336"/>
              <a:gd name="connsiteY157" fmla="*/ 2201140 h 2323145"/>
              <a:gd name="connsiteX158" fmla="*/ 4366646 w 11269336"/>
              <a:gd name="connsiteY158" fmla="*/ 2198564 h 2323145"/>
              <a:gd name="connsiteX159" fmla="*/ 4354009 w 11269336"/>
              <a:gd name="connsiteY159" fmla="*/ 2204984 h 2323145"/>
              <a:gd name="connsiteX160" fmla="*/ 4348284 w 11269336"/>
              <a:gd name="connsiteY160" fmla="*/ 2205270 h 2323145"/>
              <a:gd name="connsiteX161" fmla="*/ 4333906 w 11269336"/>
              <a:gd name="connsiteY161" fmla="*/ 2205251 h 2323145"/>
              <a:gd name="connsiteX162" fmla="*/ 4308819 w 11269336"/>
              <a:gd name="connsiteY162" fmla="*/ 2203822 h 2323145"/>
              <a:gd name="connsiteX163" fmla="*/ 4301210 w 11269336"/>
              <a:gd name="connsiteY163" fmla="*/ 2204456 h 2323145"/>
              <a:gd name="connsiteX164" fmla="*/ 4283095 w 11269336"/>
              <a:gd name="connsiteY164" fmla="*/ 2198177 h 2323145"/>
              <a:gd name="connsiteX165" fmla="*/ 4250119 w 11269336"/>
              <a:gd name="connsiteY165" fmla="*/ 2196342 h 2323145"/>
              <a:gd name="connsiteX166" fmla="*/ 4189203 w 11269336"/>
              <a:gd name="connsiteY166" fmla="*/ 2178994 h 2323145"/>
              <a:gd name="connsiteX167" fmla="*/ 4154035 w 11269336"/>
              <a:gd name="connsiteY167" fmla="*/ 2171950 h 2323145"/>
              <a:gd name="connsiteX168" fmla="*/ 4129569 w 11269336"/>
              <a:gd name="connsiteY168" fmla="*/ 2163850 h 2323145"/>
              <a:gd name="connsiteX169" fmla="*/ 4061250 w 11269336"/>
              <a:gd name="connsiteY169" fmla="*/ 2159236 h 2323145"/>
              <a:gd name="connsiteX170" fmla="*/ 3945480 w 11269336"/>
              <a:gd name="connsiteY170" fmla="*/ 2158279 h 2323145"/>
              <a:gd name="connsiteX171" fmla="*/ 3921468 w 11269336"/>
              <a:gd name="connsiteY171" fmla="*/ 2156588 h 2323145"/>
              <a:gd name="connsiteX172" fmla="*/ 3903348 w 11269336"/>
              <a:gd name="connsiteY172" fmla="*/ 2149220 h 2323145"/>
              <a:gd name="connsiteX173" fmla="*/ 3901342 w 11269336"/>
              <a:gd name="connsiteY173" fmla="*/ 2142355 h 2323145"/>
              <a:gd name="connsiteX174" fmla="*/ 3888539 w 11269336"/>
              <a:gd name="connsiteY174" fmla="*/ 2140476 h 2323145"/>
              <a:gd name="connsiteX175" fmla="*/ 3885662 w 11269336"/>
              <a:gd name="connsiteY175" fmla="*/ 2138740 h 2323145"/>
              <a:gd name="connsiteX176" fmla="*/ 3868627 w 11269336"/>
              <a:gd name="connsiteY176" fmla="*/ 2130023 h 2323145"/>
              <a:gd name="connsiteX177" fmla="*/ 3819177 w 11269336"/>
              <a:gd name="connsiteY177" fmla="*/ 2142111 h 2323145"/>
              <a:gd name="connsiteX178" fmla="*/ 3769100 w 11269336"/>
              <a:gd name="connsiteY178" fmla="*/ 2131731 h 2323145"/>
              <a:gd name="connsiteX179" fmla="*/ 3562752 w 11269336"/>
              <a:gd name="connsiteY179" fmla="*/ 2131785 h 2323145"/>
              <a:gd name="connsiteX180" fmla="*/ 3541402 w 11269336"/>
              <a:gd name="connsiteY180" fmla="*/ 2106821 h 2323145"/>
              <a:gd name="connsiteX181" fmla="*/ 3365341 w 11269336"/>
              <a:gd name="connsiteY181" fmla="*/ 2077638 h 2323145"/>
              <a:gd name="connsiteX182" fmla="*/ 3170922 w 11269336"/>
              <a:gd name="connsiteY182" fmla="*/ 2115957 h 2323145"/>
              <a:gd name="connsiteX183" fmla="*/ 3156256 w 11269336"/>
              <a:gd name="connsiteY183" fmla="*/ 2124773 h 2323145"/>
              <a:gd name="connsiteX184" fmla="*/ 3140298 w 11269336"/>
              <a:gd name="connsiteY184" fmla="*/ 2129182 h 2323145"/>
              <a:gd name="connsiteX185" fmla="*/ 3138514 w 11269336"/>
              <a:gd name="connsiteY185" fmla="*/ 2128069 h 2323145"/>
              <a:gd name="connsiteX186" fmla="*/ 3120467 w 11269336"/>
              <a:gd name="connsiteY186" fmla="*/ 2128281 h 2323145"/>
              <a:gd name="connsiteX187" fmla="*/ 3116175 w 11269336"/>
              <a:gd name="connsiteY187" fmla="*/ 2131633 h 2323145"/>
              <a:gd name="connsiteX188" fmla="*/ 3103685 w 11269336"/>
              <a:gd name="connsiteY188" fmla="*/ 2132814 h 2323145"/>
              <a:gd name="connsiteX189" fmla="*/ 3078794 w 11269336"/>
              <a:gd name="connsiteY189" fmla="*/ 2137935 h 2323145"/>
              <a:gd name="connsiteX190" fmla="*/ 3074407 w 11269336"/>
              <a:gd name="connsiteY190" fmla="*/ 2136274 h 2323145"/>
              <a:gd name="connsiteX191" fmla="*/ 3037285 w 11269336"/>
              <a:gd name="connsiteY191" fmla="*/ 2139919 h 2323145"/>
              <a:gd name="connsiteX192" fmla="*/ 3036901 w 11269336"/>
              <a:gd name="connsiteY192" fmla="*/ 2138726 h 2323145"/>
              <a:gd name="connsiteX193" fmla="*/ 3026996 w 11269336"/>
              <a:gd name="connsiteY193" fmla="*/ 2134322 h 2323145"/>
              <a:gd name="connsiteX194" fmla="*/ 3007772 w 11269336"/>
              <a:gd name="connsiteY194" fmla="*/ 2128742 h 2323145"/>
              <a:gd name="connsiteX195" fmla="*/ 2965030 w 11269336"/>
              <a:gd name="connsiteY195" fmla="*/ 2100494 h 2323145"/>
              <a:gd name="connsiteX196" fmla="*/ 2926342 w 11269336"/>
              <a:gd name="connsiteY196" fmla="*/ 2104155 h 2323145"/>
              <a:gd name="connsiteX197" fmla="*/ 2918608 w 11269336"/>
              <a:gd name="connsiteY197" fmla="*/ 2104215 h 2323145"/>
              <a:gd name="connsiteX198" fmla="*/ 2918475 w 11269336"/>
              <a:gd name="connsiteY198" fmla="*/ 2103937 h 2323145"/>
              <a:gd name="connsiteX199" fmla="*/ 2910360 w 11269336"/>
              <a:gd name="connsiteY199" fmla="*/ 2103444 h 2323145"/>
              <a:gd name="connsiteX200" fmla="*/ 2904507 w 11269336"/>
              <a:gd name="connsiteY200" fmla="*/ 2104326 h 2323145"/>
              <a:gd name="connsiteX201" fmla="*/ 2889503 w 11269336"/>
              <a:gd name="connsiteY201" fmla="*/ 2104443 h 2323145"/>
              <a:gd name="connsiteX202" fmla="*/ 2884480 w 11269336"/>
              <a:gd name="connsiteY202" fmla="*/ 2102626 h 2323145"/>
              <a:gd name="connsiteX203" fmla="*/ 2882689 w 11269336"/>
              <a:gd name="connsiteY203" fmla="*/ 2099228 h 2323145"/>
              <a:gd name="connsiteX204" fmla="*/ 2881291 w 11269336"/>
              <a:gd name="connsiteY204" fmla="*/ 2099618 h 2323145"/>
              <a:gd name="connsiteX205" fmla="*/ 2853979 w 11269336"/>
              <a:gd name="connsiteY205" fmla="*/ 2090388 h 2323145"/>
              <a:gd name="connsiteX206" fmla="*/ 2791790 w 11269336"/>
              <a:gd name="connsiteY206" fmla="*/ 2080332 h 2323145"/>
              <a:gd name="connsiteX207" fmla="*/ 2755844 w 11269336"/>
              <a:gd name="connsiteY207" fmla="*/ 2078874 h 2323145"/>
              <a:gd name="connsiteX208" fmla="*/ 2657742 w 11269336"/>
              <a:gd name="connsiteY208" fmla="*/ 2070179 h 2323145"/>
              <a:gd name="connsiteX209" fmla="*/ 2559549 w 11269336"/>
              <a:gd name="connsiteY209" fmla="*/ 2057873 h 2323145"/>
              <a:gd name="connsiteX210" fmla="*/ 2512054 w 11269336"/>
              <a:gd name="connsiteY210" fmla="*/ 2031671 h 2323145"/>
              <a:gd name="connsiteX211" fmla="*/ 2506437 w 11269336"/>
              <a:gd name="connsiteY211" fmla="*/ 2030918 h 2323145"/>
              <a:gd name="connsiteX212" fmla="*/ 2491752 w 11269336"/>
              <a:gd name="connsiteY212" fmla="*/ 2033906 h 2323145"/>
              <a:gd name="connsiteX213" fmla="*/ 2486338 w 11269336"/>
              <a:gd name="connsiteY213" fmla="*/ 2035862 h 2323145"/>
              <a:gd name="connsiteX214" fmla="*/ 2478186 w 11269336"/>
              <a:gd name="connsiteY214" fmla="*/ 2036953 h 2323145"/>
              <a:gd name="connsiteX215" fmla="*/ 2477950 w 11269336"/>
              <a:gd name="connsiteY215" fmla="*/ 2036715 h 2323145"/>
              <a:gd name="connsiteX216" fmla="*/ 2470381 w 11269336"/>
              <a:gd name="connsiteY216" fmla="*/ 2038256 h 2323145"/>
              <a:gd name="connsiteX217" fmla="*/ 2433781 w 11269336"/>
              <a:gd name="connsiteY217" fmla="*/ 2049140 h 2323145"/>
              <a:gd name="connsiteX218" fmla="*/ 2381172 w 11269336"/>
              <a:gd name="connsiteY218" fmla="*/ 2030645 h 2323145"/>
              <a:gd name="connsiteX219" fmla="*/ 2360198 w 11269336"/>
              <a:gd name="connsiteY219" fmla="*/ 2029059 h 2323145"/>
              <a:gd name="connsiteX220" fmla="*/ 2348815 w 11269336"/>
              <a:gd name="connsiteY220" fmla="*/ 2026798 h 2323145"/>
              <a:gd name="connsiteX221" fmla="*/ 2347988 w 11269336"/>
              <a:gd name="connsiteY221" fmla="*/ 2025745 h 2323145"/>
              <a:gd name="connsiteX222" fmla="*/ 2312920 w 11269336"/>
              <a:gd name="connsiteY222" fmla="*/ 2036311 h 2323145"/>
              <a:gd name="connsiteX223" fmla="*/ 2307986 w 11269336"/>
              <a:gd name="connsiteY223" fmla="*/ 2035583 h 2323145"/>
              <a:gd name="connsiteX224" fmla="*/ 2285481 w 11269336"/>
              <a:gd name="connsiteY224" fmla="*/ 2045197 h 2323145"/>
              <a:gd name="connsiteX225" fmla="*/ 2273666 w 11269336"/>
              <a:gd name="connsiteY225" fmla="*/ 2048710 h 2323145"/>
              <a:gd name="connsiteX226" fmla="*/ 2270719 w 11269336"/>
              <a:gd name="connsiteY226" fmla="*/ 2052702 h 2323145"/>
              <a:gd name="connsiteX227" fmla="*/ 2253080 w 11269336"/>
              <a:gd name="connsiteY227" fmla="*/ 2056363 h 2323145"/>
              <a:gd name="connsiteX228" fmla="*/ 2250906 w 11269336"/>
              <a:gd name="connsiteY228" fmla="*/ 2055654 h 2323145"/>
              <a:gd name="connsiteX229" fmla="*/ 2236905 w 11269336"/>
              <a:gd name="connsiteY229" fmla="*/ 2062882 h 2323145"/>
              <a:gd name="connsiteX230" fmla="*/ 2225830 w 11269336"/>
              <a:gd name="connsiteY230" fmla="*/ 2074027 h 2323145"/>
              <a:gd name="connsiteX231" fmla="*/ 2073776 w 11269336"/>
              <a:gd name="connsiteY231" fmla="*/ 2089244 h 2323145"/>
              <a:gd name="connsiteX232" fmla="*/ 1948256 w 11269336"/>
              <a:gd name="connsiteY232" fmla="*/ 2146616 h 2323145"/>
              <a:gd name="connsiteX233" fmla="*/ 1865582 w 11269336"/>
              <a:gd name="connsiteY233" fmla="*/ 2153738 h 2323145"/>
              <a:gd name="connsiteX234" fmla="*/ 1835210 w 11269336"/>
              <a:gd name="connsiteY234" fmla="*/ 2134244 h 2323145"/>
              <a:gd name="connsiteX235" fmla="*/ 1632661 w 11269336"/>
              <a:gd name="connsiteY235" fmla="*/ 2173882 h 2323145"/>
              <a:gd name="connsiteX236" fmla="*/ 1579590 w 11269336"/>
              <a:gd name="connsiteY236" fmla="*/ 2173680 h 2323145"/>
              <a:gd name="connsiteX237" fmla="*/ 1535601 w 11269336"/>
              <a:gd name="connsiteY237" fmla="*/ 2194590 h 2323145"/>
              <a:gd name="connsiteX238" fmla="*/ 1515594 w 11269336"/>
              <a:gd name="connsiteY238" fmla="*/ 2189622 h 2323145"/>
              <a:gd name="connsiteX239" fmla="*/ 1512113 w 11269336"/>
              <a:gd name="connsiteY239" fmla="*/ 2188534 h 2323145"/>
              <a:gd name="connsiteX240" fmla="*/ 1498838 w 11269336"/>
              <a:gd name="connsiteY240" fmla="*/ 2189213 h 2323145"/>
              <a:gd name="connsiteX241" fmla="*/ 1494279 w 11269336"/>
              <a:gd name="connsiteY241" fmla="*/ 2183112 h 2323145"/>
              <a:gd name="connsiteX242" fmla="*/ 1473714 w 11269336"/>
              <a:gd name="connsiteY242" fmla="*/ 2179625 h 2323145"/>
              <a:gd name="connsiteX243" fmla="*/ 1449503 w 11269336"/>
              <a:gd name="connsiteY243" fmla="*/ 2182633 h 2323145"/>
              <a:gd name="connsiteX244" fmla="*/ 1266687 w 11269336"/>
              <a:gd name="connsiteY244" fmla="*/ 2212688 h 2323145"/>
              <a:gd name="connsiteX245" fmla="*/ 1239614 w 11269336"/>
              <a:gd name="connsiteY245" fmla="*/ 2209727 h 2323145"/>
              <a:gd name="connsiteX246" fmla="*/ 1202436 w 11269336"/>
              <a:gd name="connsiteY246" fmla="*/ 2209817 h 2323145"/>
              <a:gd name="connsiteX247" fmla="*/ 1136097 w 11269336"/>
              <a:gd name="connsiteY247" fmla="*/ 2205112 h 2323145"/>
              <a:gd name="connsiteX248" fmla="*/ 988232 w 11269336"/>
              <a:gd name="connsiteY248" fmla="*/ 2235635 h 2323145"/>
              <a:gd name="connsiteX249" fmla="*/ 981959 w 11269336"/>
              <a:gd name="connsiteY249" fmla="*/ 2231607 h 2323145"/>
              <a:gd name="connsiteX250" fmla="*/ 938600 w 11269336"/>
              <a:gd name="connsiteY250" fmla="*/ 2238113 h 2323145"/>
              <a:gd name="connsiteX251" fmla="*/ 791788 w 11269336"/>
              <a:gd name="connsiteY251" fmla="*/ 2293224 h 2323145"/>
              <a:gd name="connsiteX252" fmla="*/ 706914 w 11269336"/>
              <a:gd name="connsiteY252" fmla="*/ 2305046 h 2323145"/>
              <a:gd name="connsiteX253" fmla="*/ 675971 w 11269336"/>
              <a:gd name="connsiteY253" fmla="*/ 2304030 h 2323145"/>
              <a:gd name="connsiteX254" fmla="*/ 624180 w 11269336"/>
              <a:gd name="connsiteY254" fmla="*/ 2302650 h 2323145"/>
              <a:gd name="connsiteX255" fmla="*/ 583453 w 11269336"/>
              <a:gd name="connsiteY255" fmla="*/ 2288788 h 2323145"/>
              <a:gd name="connsiteX256" fmla="*/ 540946 w 11269336"/>
              <a:gd name="connsiteY256" fmla="*/ 2292721 h 2323145"/>
              <a:gd name="connsiteX257" fmla="*/ 533680 w 11269336"/>
              <a:gd name="connsiteY257" fmla="*/ 2310233 h 2323145"/>
              <a:gd name="connsiteX258" fmla="*/ 487366 w 11269336"/>
              <a:gd name="connsiteY258" fmla="*/ 2309053 h 2323145"/>
              <a:gd name="connsiteX259" fmla="*/ 416820 w 11269336"/>
              <a:gd name="connsiteY259" fmla="*/ 2305443 h 2323145"/>
              <a:gd name="connsiteX260" fmla="*/ 376805 w 11269336"/>
              <a:gd name="connsiteY260" fmla="*/ 2307647 h 2323145"/>
              <a:gd name="connsiteX261" fmla="*/ 266777 w 11269336"/>
              <a:gd name="connsiteY261" fmla="*/ 2309012 h 2323145"/>
              <a:gd name="connsiteX262" fmla="*/ 156013 w 11269336"/>
              <a:gd name="connsiteY262" fmla="*/ 2306832 h 2323145"/>
              <a:gd name="connsiteX263" fmla="*/ 87258 w 11269336"/>
              <a:gd name="connsiteY263" fmla="*/ 2285511 h 2323145"/>
              <a:gd name="connsiteX264" fmla="*/ 23798 w 11269336"/>
              <a:gd name="connsiteY264" fmla="*/ 2281822 h 2323145"/>
              <a:gd name="connsiteX265" fmla="*/ 0 w 11269336"/>
              <a:gd name="connsiteY265" fmla="*/ 2285369 h 2323145"/>
              <a:gd name="connsiteX266" fmla="*/ 0 w 11269336"/>
              <a:gd name="connsiteY26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114263 w 11269336"/>
              <a:gd name="connsiteY21" fmla="*/ 709213 h 2323145"/>
              <a:gd name="connsiteX22" fmla="*/ 9028928 w 11269336"/>
              <a:gd name="connsiteY22" fmla="*/ 745350 h 2323145"/>
              <a:gd name="connsiteX23" fmla="*/ 8977138 w 11269336"/>
              <a:gd name="connsiteY23" fmla="*/ 774970 h 2323145"/>
              <a:gd name="connsiteX24" fmla="*/ 8947030 w 11269336"/>
              <a:gd name="connsiteY24" fmla="*/ 814934 h 2323145"/>
              <a:gd name="connsiteX25" fmla="*/ 8914746 w 11269336"/>
              <a:gd name="connsiteY25" fmla="*/ 826428 h 2323145"/>
              <a:gd name="connsiteX26" fmla="*/ 8917778 w 11269336"/>
              <a:gd name="connsiteY26" fmla="*/ 835198 h 2323145"/>
              <a:gd name="connsiteX27" fmla="*/ 8905560 w 11269336"/>
              <a:gd name="connsiteY27" fmla="*/ 838358 h 2323145"/>
              <a:gd name="connsiteX28" fmla="*/ 8897564 w 11269336"/>
              <a:gd name="connsiteY28" fmla="*/ 834287 h 2323145"/>
              <a:gd name="connsiteX29" fmla="*/ 8878040 w 11269336"/>
              <a:gd name="connsiteY29" fmla="*/ 844150 h 2323145"/>
              <a:gd name="connsiteX30" fmla="*/ 8882654 w 11269336"/>
              <a:gd name="connsiteY30" fmla="*/ 892768 h 2323145"/>
              <a:gd name="connsiteX31" fmla="*/ 8795998 w 11269336"/>
              <a:gd name="connsiteY31" fmla="*/ 863337 h 2323145"/>
              <a:gd name="connsiteX32" fmla="*/ 8776970 w 11269336"/>
              <a:gd name="connsiteY32" fmla="*/ 885177 h 2323145"/>
              <a:gd name="connsiteX33" fmla="*/ 8755719 w 11269336"/>
              <a:gd name="connsiteY33" fmla="*/ 889754 h 2323145"/>
              <a:gd name="connsiteX34" fmla="*/ 8743257 w 11269336"/>
              <a:gd name="connsiteY34" fmla="*/ 904723 h 2323145"/>
              <a:gd name="connsiteX35" fmla="*/ 8721366 w 11269336"/>
              <a:gd name="connsiteY35" fmla="*/ 904711 h 2323145"/>
              <a:gd name="connsiteX36" fmla="*/ 8678353 w 11269336"/>
              <a:gd name="connsiteY36" fmla="*/ 926318 h 2323145"/>
              <a:gd name="connsiteX37" fmla="*/ 8636849 w 11269336"/>
              <a:gd name="connsiteY37" fmla="*/ 937900 h 2323145"/>
              <a:gd name="connsiteX38" fmla="*/ 8620213 w 11269336"/>
              <a:gd name="connsiteY38" fmla="*/ 943068 h 2323145"/>
              <a:gd name="connsiteX39" fmla="*/ 8612581 w 11269336"/>
              <a:gd name="connsiteY39" fmla="*/ 952695 h 2323145"/>
              <a:gd name="connsiteX40" fmla="*/ 8589038 w 11269336"/>
              <a:gd name="connsiteY40" fmla="*/ 963892 h 2323145"/>
              <a:gd name="connsiteX41" fmla="*/ 8579950 w 11269336"/>
              <a:gd name="connsiteY41" fmla="*/ 960899 h 2323145"/>
              <a:gd name="connsiteX42" fmla="*/ 8579319 w 11269336"/>
              <a:gd name="connsiteY42" fmla="*/ 965630 h 2323145"/>
              <a:gd name="connsiteX43" fmla="*/ 8547429 w 11269336"/>
              <a:gd name="connsiteY43" fmla="*/ 984506 h 2323145"/>
              <a:gd name="connsiteX44" fmla="*/ 8478704 w 11269336"/>
              <a:gd name="connsiteY44" fmla="*/ 1025490 h 2323145"/>
              <a:gd name="connsiteX45" fmla="*/ 8461421 w 11269336"/>
              <a:gd name="connsiteY45" fmla="*/ 1035512 h 2323145"/>
              <a:gd name="connsiteX46" fmla="*/ 8445003 w 11269336"/>
              <a:gd name="connsiteY46" fmla="*/ 1036851 h 2323145"/>
              <a:gd name="connsiteX47" fmla="*/ 8357350 w 11269336"/>
              <a:gd name="connsiteY47" fmla="*/ 1060213 h 2323145"/>
              <a:gd name="connsiteX48" fmla="*/ 8335565 w 11269336"/>
              <a:gd name="connsiteY48" fmla="*/ 1061151 h 2323145"/>
              <a:gd name="connsiteX49" fmla="*/ 8325267 w 11269336"/>
              <a:gd name="connsiteY49" fmla="*/ 1055919 h 2323145"/>
              <a:gd name="connsiteX50" fmla="*/ 8293586 w 11269336"/>
              <a:gd name="connsiteY50" fmla="*/ 1076144 h 2323145"/>
              <a:gd name="connsiteX51" fmla="*/ 8242405 w 11269336"/>
              <a:gd name="connsiteY51" fmla="*/ 1095960 h 2323145"/>
              <a:gd name="connsiteX52" fmla="*/ 8197391 w 11269336"/>
              <a:gd name="connsiteY52" fmla="*/ 1107746 h 2323145"/>
              <a:gd name="connsiteX53" fmla="*/ 8081474 w 11269336"/>
              <a:gd name="connsiteY53" fmla="*/ 1130125 h 2323145"/>
              <a:gd name="connsiteX54" fmla="*/ 8053585 w 11269336"/>
              <a:gd name="connsiteY54" fmla="*/ 1129169 h 2323145"/>
              <a:gd name="connsiteX55" fmla="*/ 8038422 w 11269336"/>
              <a:gd name="connsiteY55" fmla="*/ 1119092 h 2323145"/>
              <a:gd name="connsiteX56" fmla="*/ 8029450 w 11269336"/>
              <a:gd name="connsiteY56" fmla="*/ 1125592 h 2323145"/>
              <a:gd name="connsiteX57" fmla="*/ 7959552 w 11269336"/>
              <a:gd name="connsiteY57" fmla="*/ 1140188 h 2323145"/>
              <a:gd name="connsiteX58" fmla="*/ 7914188 w 11269336"/>
              <a:gd name="connsiteY58" fmla="*/ 1150862 h 2323145"/>
              <a:gd name="connsiteX59" fmla="*/ 7914918 w 11269336"/>
              <a:gd name="connsiteY59" fmla="*/ 1168758 h 2323145"/>
              <a:gd name="connsiteX60" fmla="*/ 7875510 w 11269336"/>
              <a:gd name="connsiteY60" fmla="*/ 1183153 h 2323145"/>
              <a:gd name="connsiteX61" fmla="*/ 7829932 w 11269336"/>
              <a:gd name="connsiteY61" fmla="*/ 1180782 h 2323145"/>
              <a:gd name="connsiteX62" fmla="*/ 7779182 w 11269336"/>
              <a:gd name="connsiteY62" fmla="*/ 1192665 h 2323145"/>
              <a:gd name="connsiteX63" fmla="*/ 7748774 w 11269336"/>
              <a:gd name="connsiteY63" fmla="*/ 1199586 h 2323145"/>
              <a:gd name="connsiteX64" fmla="*/ 7671846 w 11269336"/>
              <a:gd name="connsiteY64" fmla="*/ 1231966 h 2323145"/>
              <a:gd name="connsiteX65" fmla="*/ 7554146 w 11269336"/>
              <a:gd name="connsiteY65" fmla="*/ 1319748 h 2323145"/>
              <a:gd name="connsiteX66" fmla="*/ 7515052 w 11269336"/>
              <a:gd name="connsiteY66" fmla="*/ 1336718 h 2323145"/>
              <a:gd name="connsiteX67" fmla="*/ 7507193 w 11269336"/>
              <a:gd name="connsiteY67" fmla="*/ 1334617 h 2323145"/>
              <a:gd name="connsiteX68" fmla="*/ 7461694 w 11269336"/>
              <a:gd name="connsiteY68" fmla="*/ 1375866 h 2323145"/>
              <a:gd name="connsiteX69" fmla="*/ 7377571 w 11269336"/>
              <a:gd name="connsiteY69" fmla="*/ 1400128 h 2323145"/>
              <a:gd name="connsiteX70" fmla="*/ 7311261 w 11269336"/>
              <a:gd name="connsiteY70" fmla="*/ 1412652 h 2323145"/>
              <a:gd name="connsiteX71" fmla="*/ 7275307 w 11269336"/>
              <a:gd name="connsiteY71" fmla="*/ 1422171 h 2323145"/>
              <a:gd name="connsiteX72" fmla="*/ 7247783 w 11269336"/>
              <a:gd name="connsiteY72" fmla="*/ 1426330 h 2323145"/>
              <a:gd name="connsiteX73" fmla="*/ 7185047 w 11269336"/>
              <a:gd name="connsiteY73" fmla="*/ 1451812 h 2323145"/>
              <a:gd name="connsiteX74" fmla="*/ 7084117 w 11269336"/>
              <a:gd name="connsiteY74" fmla="*/ 1500281 h 2323145"/>
              <a:gd name="connsiteX75" fmla="*/ 7062011 w 11269336"/>
              <a:gd name="connsiteY75" fmla="*/ 1509183 h 2323145"/>
              <a:gd name="connsiteX76" fmla="*/ 7040555 w 11269336"/>
              <a:gd name="connsiteY76" fmla="*/ 1511207 h 2323145"/>
              <a:gd name="connsiteX77" fmla="*/ 7033438 w 11269336"/>
              <a:gd name="connsiteY77" fmla="*/ 1506772 h 2323145"/>
              <a:gd name="connsiteX78" fmla="*/ 7020886 w 11269336"/>
              <a:gd name="connsiteY78" fmla="*/ 1510764 h 2323145"/>
              <a:gd name="connsiteX79" fmla="*/ 7017033 w 11269336"/>
              <a:gd name="connsiteY79" fmla="*/ 1510650 h 2323145"/>
              <a:gd name="connsiteX80" fmla="*/ 6995460 w 11269336"/>
              <a:gd name="connsiteY80" fmla="*/ 1511173 h 2323145"/>
              <a:gd name="connsiteX81" fmla="*/ 6962144 w 11269336"/>
              <a:gd name="connsiteY81" fmla="*/ 1541508 h 2323145"/>
              <a:gd name="connsiteX82" fmla="*/ 6910674 w 11269336"/>
              <a:gd name="connsiteY82" fmla="*/ 1554793 h 2323145"/>
              <a:gd name="connsiteX83" fmla="*/ 6732152 w 11269336"/>
              <a:gd name="connsiteY83" fmla="*/ 1642538 h 2323145"/>
              <a:gd name="connsiteX84" fmla="*/ 6694106 w 11269336"/>
              <a:gd name="connsiteY84" fmla="*/ 1632377 h 2323145"/>
              <a:gd name="connsiteX85" fmla="*/ 6617223 w 11269336"/>
              <a:gd name="connsiteY85" fmla="*/ 1659889 h 2323145"/>
              <a:gd name="connsiteX86" fmla="*/ 6521138 w 11269336"/>
              <a:gd name="connsiteY86" fmla="*/ 1744340 h 2323145"/>
              <a:gd name="connsiteX87" fmla="*/ 6380677 w 11269336"/>
              <a:gd name="connsiteY87" fmla="*/ 1796883 h 2323145"/>
              <a:gd name="connsiteX88" fmla="*/ 6374897 w 11269336"/>
              <a:gd name="connsiteY88" fmla="*/ 1809910 h 2323145"/>
              <a:gd name="connsiteX89" fmla="*/ 6364545 w 11269336"/>
              <a:gd name="connsiteY89" fmla="*/ 1820090 h 2323145"/>
              <a:gd name="connsiteX90" fmla="*/ 6362126 w 11269336"/>
              <a:gd name="connsiteY90" fmla="*/ 1819991 h 2323145"/>
              <a:gd name="connsiteX91" fmla="*/ 6346673 w 11269336"/>
              <a:gd name="connsiteY91" fmla="*/ 1827824 h 2323145"/>
              <a:gd name="connsiteX92" fmla="*/ 6345588 w 11269336"/>
              <a:gd name="connsiteY92" fmla="*/ 1832232 h 2323145"/>
              <a:gd name="connsiteX93" fmla="*/ 6335708 w 11269336"/>
              <a:gd name="connsiteY93" fmla="*/ 1838451 h 2323145"/>
              <a:gd name="connsiteX94" fmla="*/ 6318182 w 11269336"/>
              <a:gd name="connsiteY94" fmla="*/ 1852975 h 2323145"/>
              <a:gd name="connsiteX95" fmla="*/ 6313084 w 11269336"/>
              <a:gd name="connsiteY95" fmla="*/ 1853561 h 2323145"/>
              <a:gd name="connsiteX96" fmla="*/ 6283816 w 11269336"/>
              <a:gd name="connsiteY96" fmla="*/ 1872148 h 2323145"/>
              <a:gd name="connsiteX97" fmla="*/ 6282550 w 11269336"/>
              <a:gd name="connsiteY97" fmla="*/ 1871392 h 2323145"/>
              <a:gd name="connsiteX98" fmla="*/ 6270527 w 11269336"/>
              <a:gd name="connsiteY98" fmla="*/ 1872208 h 2323145"/>
              <a:gd name="connsiteX99" fmla="*/ 6249518 w 11269336"/>
              <a:gd name="connsiteY99" fmla="*/ 1876079 h 2323145"/>
              <a:gd name="connsiteX100" fmla="*/ 6190386 w 11269336"/>
              <a:gd name="connsiteY100" fmla="*/ 1872478 h 2323145"/>
              <a:gd name="connsiteX101" fmla="*/ 6159777 w 11269336"/>
              <a:gd name="connsiteY101" fmla="*/ 1891745 h 2323145"/>
              <a:gd name="connsiteX102" fmla="*/ 6153131 w 11269336"/>
              <a:gd name="connsiteY102" fmla="*/ 1895079 h 2323145"/>
              <a:gd name="connsiteX103" fmla="*/ 6152798 w 11269336"/>
              <a:gd name="connsiteY103" fmla="*/ 1894920 h 2323145"/>
              <a:gd name="connsiteX104" fmla="*/ 6145388 w 11269336"/>
              <a:gd name="connsiteY104" fmla="*/ 1897990 h 2323145"/>
              <a:gd name="connsiteX105" fmla="*/ 6141014 w 11269336"/>
              <a:gd name="connsiteY105" fmla="*/ 1901155 h 2323145"/>
              <a:gd name="connsiteX106" fmla="*/ 6128122 w 11269336"/>
              <a:gd name="connsiteY106" fmla="*/ 1907623 h 2323145"/>
              <a:gd name="connsiteX107" fmla="*/ 6122351 w 11269336"/>
              <a:gd name="connsiteY107" fmla="*/ 1908359 h 2323145"/>
              <a:gd name="connsiteX108" fmla="*/ 6064750 w 11269336"/>
              <a:gd name="connsiteY108" fmla="*/ 1896394 h 2323145"/>
              <a:gd name="connsiteX109" fmla="*/ 5964230 w 11269336"/>
              <a:gd name="connsiteY109" fmla="*/ 1910038 h 2323145"/>
              <a:gd name="connsiteX110" fmla="*/ 5865399 w 11269336"/>
              <a:gd name="connsiteY110" fmla="*/ 1926966 h 2323145"/>
              <a:gd name="connsiteX111" fmla="*/ 5829951 w 11269336"/>
              <a:gd name="connsiteY111" fmla="*/ 1934755 h 2323145"/>
              <a:gd name="connsiteX112" fmla="*/ 5765285 w 11269336"/>
              <a:gd name="connsiteY112" fmla="*/ 1941322 h 2323145"/>
              <a:gd name="connsiteX113" fmla="*/ 5734750 w 11269336"/>
              <a:gd name="connsiteY113" fmla="*/ 1939793 h 2323145"/>
              <a:gd name="connsiteX114" fmla="*/ 5733569 w 11269336"/>
              <a:gd name="connsiteY114" fmla="*/ 1940505 h 2323145"/>
              <a:gd name="connsiteX115" fmla="*/ 5730329 w 11269336"/>
              <a:gd name="connsiteY115" fmla="*/ 1937845 h 2323145"/>
              <a:gd name="connsiteX116" fmla="*/ 5724661 w 11269336"/>
              <a:gd name="connsiteY116" fmla="*/ 1937455 h 2323145"/>
              <a:gd name="connsiteX117" fmla="*/ 5710186 w 11269336"/>
              <a:gd name="connsiteY117" fmla="*/ 1941370 h 2323145"/>
              <a:gd name="connsiteX118" fmla="*/ 5704910 w 11269336"/>
              <a:gd name="connsiteY118" fmla="*/ 1943663 h 2323145"/>
              <a:gd name="connsiteX119" fmla="*/ 5696836 w 11269336"/>
              <a:gd name="connsiteY119" fmla="*/ 1945271 h 2323145"/>
              <a:gd name="connsiteX120" fmla="*/ 5696583 w 11269336"/>
              <a:gd name="connsiteY120" fmla="*/ 1945050 h 2323145"/>
              <a:gd name="connsiteX121" fmla="*/ 5689123 w 11269336"/>
              <a:gd name="connsiteY121" fmla="*/ 1947067 h 2323145"/>
              <a:gd name="connsiteX122" fmla="*/ 5653291 w 11269336"/>
              <a:gd name="connsiteY122" fmla="*/ 1960245 h 2323145"/>
              <a:gd name="connsiteX123" fmla="*/ 5599385 w 11269336"/>
              <a:gd name="connsiteY123" fmla="*/ 1945198 h 2323145"/>
              <a:gd name="connsiteX124" fmla="*/ 5578300 w 11269336"/>
              <a:gd name="connsiteY124" fmla="*/ 1944963 h 2323145"/>
              <a:gd name="connsiteX125" fmla="*/ 5566758 w 11269336"/>
              <a:gd name="connsiteY125" fmla="*/ 1943441 h 2323145"/>
              <a:gd name="connsiteX126" fmla="*/ 5565857 w 11269336"/>
              <a:gd name="connsiteY126" fmla="*/ 1942445 h 2323145"/>
              <a:gd name="connsiteX127" fmla="*/ 5531534 w 11269336"/>
              <a:gd name="connsiteY127" fmla="*/ 1955208 h 2323145"/>
              <a:gd name="connsiteX128" fmla="*/ 5526552 w 11269336"/>
              <a:gd name="connsiteY128" fmla="*/ 1954799 h 2323145"/>
              <a:gd name="connsiteX129" fmla="*/ 5504723 w 11269336"/>
              <a:gd name="connsiteY129" fmla="*/ 1965811 h 2323145"/>
              <a:gd name="connsiteX130" fmla="*/ 5493156 w 11269336"/>
              <a:gd name="connsiteY130" fmla="*/ 1970063 h 2323145"/>
              <a:gd name="connsiteX131" fmla="*/ 5490486 w 11269336"/>
              <a:gd name="connsiteY131" fmla="*/ 1974227 h 2323145"/>
              <a:gd name="connsiteX132" fmla="*/ 5473107 w 11269336"/>
              <a:gd name="connsiteY132" fmla="*/ 1979001 h 2323145"/>
              <a:gd name="connsiteX133" fmla="*/ 5470885 w 11269336"/>
              <a:gd name="connsiteY133" fmla="*/ 1978432 h 2323145"/>
              <a:gd name="connsiteX134" fmla="*/ 5457393 w 11269336"/>
              <a:gd name="connsiteY134" fmla="*/ 1986525 h 2323145"/>
              <a:gd name="connsiteX135" fmla="*/ 5447102 w 11269336"/>
              <a:gd name="connsiteY135" fmla="*/ 1998329 h 2323145"/>
              <a:gd name="connsiteX136" fmla="*/ 5159151 w 11269336"/>
              <a:gd name="connsiteY136" fmla="*/ 2029640 h 2323145"/>
              <a:gd name="connsiteX137" fmla="*/ 5041688 w 11269336"/>
              <a:gd name="connsiteY137" fmla="*/ 2022334 h 2323145"/>
              <a:gd name="connsiteX138" fmla="*/ 4860988 w 11269336"/>
              <a:gd name="connsiteY138" fmla="*/ 2135698 h 2323145"/>
              <a:gd name="connsiteX139" fmla="*/ 4807902 w 11269336"/>
              <a:gd name="connsiteY139" fmla="*/ 2138894 h 2323145"/>
              <a:gd name="connsiteX140" fmla="*/ 4765388 w 11269336"/>
              <a:gd name="connsiteY140" fmla="*/ 2162525 h 2323145"/>
              <a:gd name="connsiteX141" fmla="*/ 4745033 w 11269336"/>
              <a:gd name="connsiteY141" fmla="*/ 2158859 h 2323145"/>
              <a:gd name="connsiteX142" fmla="*/ 4741475 w 11269336"/>
              <a:gd name="connsiteY142" fmla="*/ 2157998 h 2323145"/>
              <a:gd name="connsiteX143" fmla="*/ 4728247 w 11269336"/>
              <a:gd name="connsiteY143" fmla="*/ 2159526 h 2323145"/>
              <a:gd name="connsiteX144" fmla="*/ 4723263 w 11269336"/>
              <a:gd name="connsiteY144" fmla="*/ 2153742 h 2323145"/>
              <a:gd name="connsiteX145" fmla="*/ 4702453 w 11269336"/>
              <a:gd name="connsiteY145" fmla="*/ 2151586 h 2323145"/>
              <a:gd name="connsiteX146" fmla="*/ 4678455 w 11269336"/>
              <a:gd name="connsiteY146" fmla="*/ 2156131 h 2323145"/>
              <a:gd name="connsiteX147" fmla="*/ 4593061 w 11269336"/>
              <a:gd name="connsiteY147" fmla="*/ 2171597 h 2323145"/>
              <a:gd name="connsiteX148" fmla="*/ 4579902 w 11269336"/>
              <a:gd name="connsiteY148" fmla="*/ 2177927 h 2323145"/>
              <a:gd name="connsiteX149" fmla="*/ 4533444 w 11269336"/>
              <a:gd name="connsiteY149" fmla="*/ 2181200 h 2323145"/>
              <a:gd name="connsiteX150" fmla="*/ 4492832 w 11269336"/>
              <a:gd name="connsiteY150" fmla="*/ 2188033 h 2323145"/>
              <a:gd name="connsiteX151" fmla="*/ 4467257 w 11269336"/>
              <a:gd name="connsiteY151" fmla="*/ 2196121 h 2323145"/>
              <a:gd name="connsiteX152" fmla="*/ 4459937 w 11269336"/>
              <a:gd name="connsiteY152" fmla="*/ 2195182 h 2323145"/>
              <a:gd name="connsiteX153" fmla="*/ 4433312 w 11269336"/>
              <a:gd name="connsiteY153" fmla="*/ 2199004 h 2323145"/>
              <a:gd name="connsiteX154" fmla="*/ 4420601 w 11269336"/>
              <a:gd name="connsiteY154" fmla="*/ 2205158 h 2323145"/>
              <a:gd name="connsiteX155" fmla="*/ 4405765 w 11269336"/>
              <a:gd name="connsiteY155" fmla="*/ 2199902 h 2323145"/>
              <a:gd name="connsiteX156" fmla="*/ 4401354 w 11269336"/>
              <a:gd name="connsiteY156" fmla="*/ 2194745 h 2323145"/>
              <a:gd name="connsiteX157" fmla="*/ 4383151 w 11269336"/>
              <a:gd name="connsiteY157" fmla="*/ 2201140 h 2323145"/>
              <a:gd name="connsiteX158" fmla="*/ 4366646 w 11269336"/>
              <a:gd name="connsiteY158" fmla="*/ 2198564 h 2323145"/>
              <a:gd name="connsiteX159" fmla="*/ 4354009 w 11269336"/>
              <a:gd name="connsiteY159" fmla="*/ 2204984 h 2323145"/>
              <a:gd name="connsiteX160" fmla="*/ 4348284 w 11269336"/>
              <a:gd name="connsiteY160" fmla="*/ 2205270 h 2323145"/>
              <a:gd name="connsiteX161" fmla="*/ 4333906 w 11269336"/>
              <a:gd name="connsiteY161" fmla="*/ 2205251 h 2323145"/>
              <a:gd name="connsiteX162" fmla="*/ 4308819 w 11269336"/>
              <a:gd name="connsiteY162" fmla="*/ 2203822 h 2323145"/>
              <a:gd name="connsiteX163" fmla="*/ 4301210 w 11269336"/>
              <a:gd name="connsiteY163" fmla="*/ 2204456 h 2323145"/>
              <a:gd name="connsiteX164" fmla="*/ 4283095 w 11269336"/>
              <a:gd name="connsiteY164" fmla="*/ 2198177 h 2323145"/>
              <a:gd name="connsiteX165" fmla="*/ 4250119 w 11269336"/>
              <a:gd name="connsiteY165" fmla="*/ 2196342 h 2323145"/>
              <a:gd name="connsiteX166" fmla="*/ 4189203 w 11269336"/>
              <a:gd name="connsiteY166" fmla="*/ 2178994 h 2323145"/>
              <a:gd name="connsiteX167" fmla="*/ 4154035 w 11269336"/>
              <a:gd name="connsiteY167" fmla="*/ 2171950 h 2323145"/>
              <a:gd name="connsiteX168" fmla="*/ 4129569 w 11269336"/>
              <a:gd name="connsiteY168" fmla="*/ 2163850 h 2323145"/>
              <a:gd name="connsiteX169" fmla="*/ 4061250 w 11269336"/>
              <a:gd name="connsiteY169" fmla="*/ 2159236 h 2323145"/>
              <a:gd name="connsiteX170" fmla="*/ 3945480 w 11269336"/>
              <a:gd name="connsiteY170" fmla="*/ 2158279 h 2323145"/>
              <a:gd name="connsiteX171" fmla="*/ 3921468 w 11269336"/>
              <a:gd name="connsiteY171" fmla="*/ 2156588 h 2323145"/>
              <a:gd name="connsiteX172" fmla="*/ 3903348 w 11269336"/>
              <a:gd name="connsiteY172" fmla="*/ 2149220 h 2323145"/>
              <a:gd name="connsiteX173" fmla="*/ 3901342 w 11269336"/>
              <a:gd name="connsiteY173" fmla="*/ 2142355 h 2323145"/>
              <a:gd name="connsiteX174" fmla="*/ 3888539 w 11269336"/>
              <a:gd name="connsiteY174" fmla="*/ 2140476 h 2323145"/>
              <a:gd name="connsiteX175" fmla="*/ 3885662 w 11269336"/>
              <a:gd name="connsiteY175" fmla="*/ 2138740 h 2323145"/>
              <a:gd name="connsiteX176" fmla="*/ 3868627 w 11269336"/>
              <a:gd name="connsiteY176" fmla="*/ 2130023 h 2323145"/>
              <a:gd name="connsiteX177" fmla="*/ 3819177 w 11269336"/>
              <a:gd name="connsiteY177" fmla="*/ 2142111 h 2323145"/>
              <a:gd name="connsiteX178" fmla="*/ 3769100 w 11269336"/>
              <a:gd name="connsiteY178" fmla="*/ 2131731 h 2323145"/>
              <a:gd name="connsiteX179" fmla="*/ 3562752 w 11269336"/>
              <a:gd name="connsiteY179" fmla="*/ 2131785 h 2323145"/>
              <a:gd name="connsiteX180" fmla="*/ 3541402 w 11269336"/>
              <a:gd name="connsiteY180" fmla="*/ 2106821 h 2323145"/>
              <a:gd name="connsiteX181" fmla="*/ 3365341 w 11269336"/>
              <a:gd name="connsiteY181" fmla="*/ 2077638 h 2323145"/>
              <a:gd name="connsiteX182" fmla="*/ 3170922 w 11269336"/>
              <a:gd name="connsiteY182" fmla="*/ 2115957 h 2323145"/>
              <a:gd name="connsiteX183" fmla="*/ 3156256 w 11269336"/>
              <a:gd name="connsiteY183" fmla="*/ 2124773 h 2323145"/>
              <a:gd name="connsiteX184" fmla="*/ 3140298 w 11269336"/>
              <a:gd name="connsiteY184" fmla="*/ 2129182 h 2323145"/>
              <a:gd name="connsiteX185" fmla="*/ 3138514 w 11269336"/>
              <a:gd name="connsiteY185" fmla="*/ 2128069 h 2323145"/>
              <a:gd name="connsiteX186" fmla="*/ 3120467 w 11269336"/>
              <a:gd name="connsiteY186" fmla="*/ 2128281 h 2323145"/>
              <a:gd name="connsiteX187" fmla="*/ 3116175 w 11269336"/>
              <a:gd name="connsiteY187" fmla="*/ 2131633 h 2323145"/>
              <a:gd name="connsiteX188" fmla="*/ 3103685 w 11269336"/>
              <a:gd name="connsiteY188" fmla="*/ 2132814 h 2323145"/>
              <a:gd name="connsiteX189" fmla="*/ 3078794 w 11269336"/>
              <a:gd name="connsiteY189" fmla="*/ 2137935 h 2323145"/>
              <a:gd name="connsiteX190" fmla="*/ 3074407 w 11269336"/>
              <a:gd name="connsiteY190" fmla="*/ 2136274 h 2323145"/>
              <a:gd name="connsiteX191" fmla="*/ 3037285 w 11269336"/>
              <a:gd name="connsiteY191" fmla="*/ 2139919 h 2323145"/>
              <a:gd name="connsiteX192" fmla="*/ 3036901 w 11269336"/>
              <a:gd name="connsiteY192" fmla="*/ 2138726 h 2323145"/>
              <a:gd name="connsiteX193" fmla="*/ 3026996 w 11269336"/>
              <a:gd name="connsiteY193" fmla="*/ 2134322 h 2323145"/>
              <a:gd name="connsiteX194" fmla="*/ 3007772 w 11269336"/>
              <a:gd name="connsiteY194" fmla="*/ 2128742 h 2323145"/>
              <a:gd name="connsiteX195" fmla="*/ 2965030 w 11269336"/>
              <a:gd name="connsiteY195" fmla="*/ 2100494 h 2323145"/>
              <a:gd name="connsiteX196" fmla="*/ 2926342 w 11269336"/>
              <a:gd name="connsiteY196" fmla="*/ 2104155 h 2323145"/>
              <a:gd name="connsiteX197" fmla="*/ 2918608 w 11269336"/>
              <a:gd name="connsiteY197" fmla="*/ 2104215 h 2323145"/>
              <a:gd name="connsiteX198" fmla="*/ 2918475 w 11269336"/>
              <a:gd name="connsiteY198" fmla="*/ 2103937 h 2323145"/>
              <a:gd name="connsiteX199" fmla="*/ 2910360 w 11269336"/>
              <a:gd name="connsiteY199" fmla="*/ 2103444 h 2323145"/>
              <a:gd name="connsiteX200" fmla="*/ 2904507 w 11269336"/>
              <a:gd name="connsiteY200" fmla="*/ 2104326 h 2323145"/>
              <a:gd name="connsiteX201" fmla="*/ 2889503 w 11269336"/>
              <a:gd name="connsiteY201" fmla="*/ 2104443 h 2323145"/>
              <a:gd name="connsiteX202" fmla="*/ 2884480 w 11269336"/>
              <a:gd name="connsiteY202" fmla="*/ 2102626 h 2323145"/>
              <a:gd name="connsiteX203" fmla="*/ 2882689 w 11269336"/>
              <a:gd name="connsiteY203" fmla="*/ 2099228 h 2323145"/>
              <a:gd name="connsiteX204" fmla="*/ 2881291 w 11269336"/>
              <a:gd name="connsiteY204" fmla="*/ 2099618 h 2323145"/>
              <a:gd name="connsiteX205" fmla="*/ 2853979 w 11269336"/>
              <a:gd name="connsiteY205" fmla="*/ 2090388 h 2323145"/>
              <a:gd name="connsiteX206" fmla="*/ 2791790 w 11269336"/>
              <a:gd name="connsiteY206" fmla="*/ 2080332 h 2323145"/>
              <a:gd name="connsiteX207" fmla="*/ 2755844 w 11269336"/>
              <a:gd name="connsiteY207" fmla="*/ 2078874 h 2323145"/>
              <a:gd name="connsiteX208" fmla="*/ 2657742 w 11269336"/>
              <a:gd name="connsiteY208" fmla="*/ 2070179 h 2323145"/>
              <a:gd name="connsiteX209" fmla="*/ 2559549 w 11269336"/>
              <a:gd name="connsiteY209" fmla="*/ 2057873 h 2323145"/>
              <a:gd name="connsiteX210" fmla="*/ 2512054 w 11269336"/>
              <a:gd name="connsiteY210" fmla="*/ 2031671 h 2323145"/>
              <a:gd name="connsiteX211" fmla="*/ 2506437 w 11269336"/>
              <a:gd name="connsiteY211" fmla="*/ 2030918 h 2323145"/>
              <a:gd name="connsiteX212" fmla="*/ 2491752 w 11269336"/>
              <a:gd name="connsiteY212" fmla="*/ 2033906 h 2323145"/>
              <a:gd name="connsiteX213" fmla="*/ 2486338 w 11269336"/>
              <a:gd name="connsiteY213" fmla="*/ 2035862 h 2323145"/>
              <a:gd name="connsiteX214" fmla="*/ 2478186 w 11269336"/>
              <a:gd name="connsiteY214" fmla="*/ 2036953 h 2323145"/>
              <a:gd name="connsiteX215" fmla="*/ 2477950 w 11269336"/>
              <a:gd name="connsiteY215" fmla="*/ 2036715 h 2323145"/>
              <a:gd name="connsiteX216" fmla="*/ 2470381 w 11269336"/>
              <a:gd name="connsiteY216" fmla="*/ 2038256 h 2323145"/>
              <a:gd name="connsiteX217" fmla="*/ 2433781 w 11269336"/>
              <a:gd name="connsiteY217" fmla="*/ 2049140 h 2323145"/>
              <a:gd name="connsiteX218" fmla="*/ 2381172 w 11269336"/>
              <a:gd name="connsiteY218" fmla="*/ 2030645 h 2323145"/>
              <a:gd name="connsiteX219" fmla="*/ 2360198 w 11269336"/>
              <a:gd name="connsiteY219" fmla="*/ 2029059 h 2323145"/>
              <a:gd name="connsiteX220" fmla="*/ 2348815 w 11269336"/>
              <a:gd name="connsiteY220" fmla="*/ 2026798 h 2323145"/>
              <a:gd name="connsiteX221" fmla="*/ 2347988 w 11269336"/>
              <a:gd name="connsiteY221" fmla="*/ 2025745 h 2323145"/>
              <a:gd name="connsiteX222" fmla="*/ 2312920 w 11269336"/>
              <a:gd name="connsiteY222" fmla="*/ 2036311 h 2323145"/>
              <a:gd name="connsiteX223" fmla="*/ 2307986 w 11269336"/>
              <a:gd name="connsiteY223" fmla="*/ 2035583 h 2323145"/>
              <a:gd name="connsiteX224" fmla="*/ 2285481 w 11269336"/>
              <a:gd name="connsiteY224" fmla="*/ 2045197 h 2323145"/>
              <a:gd name="connsiteX225" fmla="*/ 2273666 w 11269336"/>
              <a:gd name="connsiteY225" fmla="*/ 2048710 h 2323145"/>
              <a:gd name="connsiteX226" fmla="*/ 2270719 w 11269336"/>
              <a:gd name="connsiteY226" fmla="*/ 2052702 h 2323145"/>
              <a:gd name="connsiteX227" fmla="*/ 2253080 w 11269336"/>
              <a:gd name="connsiteY227" fmla="*/ 2056363 h 2323145"/>
              <a:gd name="connsiteX228" fmla="*/ 2250906 w 11269336"/>
              <a:gd name="connsiteY228" fmla="*/ 2055654 h 2323145"/>
              <a:gd name="connsiteX229" fmla="*/ 2236905 w 11269336"/>
              <a:gd name="connsiteY229" fmla="*/ 2062882 h 2323145"/>
              <a:gd name="connsiteX230" fmla="*/ 2225830 w 11269336"/>
              <a:gd name="connsiteY230" fmla="*/ 2074027 h 2323145"/>
              <a:gd name="connsiteX231" fmla="*/ 2073776 w 11269336"/>
              <a:gd name="connsiteY231" fmla="*/ 2089244 h 2323145"/>
              <a:gd name="connsiteX232" fmla="*/ 1948256 w 11269336"/>
              <a:gd name="connsiteY232" fmla="*/ 2146616 h 2323145"/>
              <a:gd name="connsiteX233" fmla="*/ 1865582 w 11269336"/>
              <a:gd name="connsiteY233" fmla="*/ 2153738 h 2323145"/>
              <a:gd name="connsiteX234" fmla="*/ 1835210 w 11269336"/>
              <a:gd name="connsiteY234" fmla="*/ 2134244 h 2323145"/>
              <a:gd name="connsiteX235" fmla="*/ 1632661 w 11269336"/>
              <a:gd name="connsiteY235" fmla="*/ 2173882 h 2323145"/>
              <a:gd name="connsiteX236" fmla="*/ 1579590 w 11269336"/>
              <a:gd name="connsiteY236" fmla="*/ 2173680 h 2323145"/>
              <a:gd name="connsiteX237" fmla="*/ 1535601 w 11269336"/>
              <a:gd name="connsiteY237" fmla="*/ 2194590 h 2323145"/>
              <a:gd name="connsiteX238" fmla="*/ 1515594 w 11269336"/>
              <a:gd name="connsiteY238" fmla="*/ 2189622 h 2323145"/>
              <a:gd name="connsiteX239" fmla="*/ 1512113 w 11269336"/>
              <a:gd name="connsiteY239" fmla="*/ 2188534 h 2323145"/>
              <a:gd name="connsiteX240" fmla="*/ 1498838 w 11269336"/>
              <a:gd name="connsiteY240" fmla="*/ 2189213 h 2323145"/>
              <a:gd name="connsiteX241" fmla="*/ 1494279 w 11269336"/>
              <a:gd name="connsiteY241" fmla="*/ 2183112 h 2323145"/>
              <a:gd name="connsiteX242" fmla="*/ 1473714 w 11269336"/>
              <a:gd name="connsiteY242" fmla="*/ 2179625 h 2323145"/>
              <a:gd name="connsiteX243" fmla="*/ 1449503 w 11269336"/>
              <a:gd name="connsiteY243" fmla="*/ 2182633 h 2323145"/>
              <a:gd name="connsiteX244" fmla="*/ 1266687 w 11269336"/>
              <a:gd name="connsiteY244" fmla="*/ 2212688 h 2323145"/>
              <a:gd name="connsiteX245" fmla="*/ 1239614 w 11269336"/>
              <a:gd name="connsiteY245" fmla="*/ 2209727 h 2323145"/>
              <a:gd name="connsiteX246" fmla="*/ 1202436 w 11269336"/>
              <a:gd name="connsiteY246" fmla="*/ 2209817 h 2323145"/>
              <a:gd name="connsiteX247" fmla="*/ 1136097 w 11269336"/>
              <a:gd name="connsiteY247" fmla="*/ 2205112 h 2323145"/>
              <a:gd name="connsiteX248" fmla="*/ 988232 w 11269336"/>
              <a:gd name="connsiteY248" fmla="*/ 2235635 h 2323145"/>
              <a:gd name="connsiteX249" fmla="*/ 981959 w 11269336"/>
              <a:gd name="connsiteY249" fmla="*/ 2231607 h 2323145"/>
              <a:gd name="connsiteX250" fmla="*/ 938600 w 11269336"/>
              <a:gd name="connsiteY250" fmla="*/ 2238113 h 2323145"/>
              <a:gd name="connsiteX251" fmla="*/ 791788 w 11269336"/>
              <a:gd name="connsiteY251" fmla="*/ 2293224 h 2323145"/>
              <a:gd name="connsiteX252" fmla="*/ 706914 w 11269336"/>
              <a:gd name="connsiteY252" fmla="*/ 2305046 h 2323145"/>
              <a:gd name="connsiteX253" fmla="*/ 675971 w 11269336"/>
              <a:gd name="connsiteY253" fmla="*/ 2304030 h 2323145"/>
              <a:gd name="connsiteX254" fmla="*/ 624180 w 11269336"/>
              <a:gd name="connsiteY254" fmla="*/ 2302650 h 2323145"/>
              <a:gd name="connsiteX255" fmla="*/ 583453 w 11269336"/>
              <a:gd name="connsiteY255" fmla="*/ 2288788 h 2323145"/>
              <a:gd name="connsiteX256" fmla="*/ 540946 w 11269336"/>
              <a:gd name="connsiteY256" fmla="*/ 2292721 h 2323145"/>
              <a:gd name="connsiteX257" fmla="*/ 533680 w 11269336"/>
              <a:gd name="connsiteY257" fmla="*/ 2310233 h 2323145"/>
              <a:gd name="connsiteX258" fmla="*/ 487366 w 11269336"/>
              <a:gd name="connsiteY258" fmla="*/ 2309053 h 2323145"/>
              <a:gd name="connsiteX259" fmla="*/ 416820 w 11269336"/>
              <a:gd name="connsiteY259" fmla="*/ 2305443 h 2323145"/>
              <a:gd name="connsiteX260" fmla="*/ 376805 w 11269336"/>
              <a:gd name="connsiteY260" fmla="*/ 2307647 h 2323145"/>
              <a:gd name="connsiteX261" fmla="*/ 266777 w 11269336"/>
              <a:gd name="connsiteY261" fmla="*/ 2309012 h 2323145"/>
              <a:gd name="connsiteX262" fmla="*/ 156013 w 11269336"/>
              <a:gd name="connsiteY262" fmla="*/ 2306832 h 2323145"/>
              <a:gd name="connsiteX263" fmla="*/ 87258 w 11269336"/>
              <a:gd name="connsiteY263" fmla="*/ 2285511 h 2323145"/>
              <a:gd name="connsiteX264" fmla="*/ 23798 w 11269336"/>
              <a:gd name="connsiteY264" fmla="*/ 2281822 h 2323145"/>
              <a:gd name="connsiteX265" fmla="*/ 0 w 11269336"/>
              <a:gd name="connsiteY265" fmla="*/ 2285369 h 2323145"/>
              <a:gd name="connsiteX266" fmla="*/ 0 w 11269336"/>
              <a:gd name="connsiteY26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028928 w 11269336"/>
              <a:gd name="connsiteY21" fmla="*/ 745350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028928 w 11269336"/>
              <a:gd name="connsiteY21" fmla="*/ 745350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9070855 w 11269336"/>
              <a:gd name="connsiteY23" fmla="*/ 794621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9070855 w 11269336"/>
              <a:gd name="connsiteY23" fmla="*/ 794621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795998 w 11269336"/>
              <a:gd name="connsiteY29" fmla="*/ 863337 h 2323145"/>
              <a:gd name="connsiteX30" fmla="*/ 8776970 w 11269336"/>
              <a:gd name="connsiteY30" fmla="*/ 885177 h 2323145"/>
              <a:gd name="connsiteX31" fmla="*/ 8755719 w 11269336"/>
              <a:gd name="connsiteY31" fmla="*/ 889754 h 2323145"/>
              <a:gd name="connsiteX32" fmla="*/ 8743257 w 11269336"/>
              <a:gd name="connsiteY32" fmla="*/ 904723 h 2323145"/>
              <a:gd name="connsiteX33" fmla="*/ 8721366 w 11269336"/>
              <a:gd name="connsiteY33" fmla="*/ 904711 h 2323145"/>
              <a:gd name="connsiteX34" fmla="*/ 8678353 w 11269336"/>
              <a:gd name="connsiteY34" fmla="*/ 926318 h 2323145"/>
              <a:gd name="connsiteX35" fmla="*/ 8636849 w 11269336"/>
              <a:gd name="connsiteY35" fmla="*/ 937900 h 2323145"/>
              <a:gd name="connsiteX36" fmla="*/ 8620213 w 11269336"/>
              <a:gd name="connsiteY36" fmla="*/ 943068 h 2323145"/>
              <a:gd name="connsiteX37" fmla="*/ 8612581 w 11269336"/>
              <a:gd name="connsiteY37" fmla="*/ 952695 h 2323145"/>
              <a:gd name="connsiteX38" fmla="*/ 8589038 w 11269336"/>
              <a:gd name="connsiteY38" fmla="*/ 963892 h 2323145"/>
              <a:gd name="connsiteX39" fmla="*/ 8579950 w 11269336"/>
              <a:gd name="connsiteY39" fmla="*/ 960899 h 2323145"/>
              <a:gd name="connsiteX40" fmla="*/ 8579319 w 11269336"/>
              <a:gd name="connsiteY40" fmla="*/ 965630 h 2323145"/>
              <a:gd name="connsiteX41" fmla="*/ 8547429 w 11269336"/>
              <a:gd name="connsiteY41" fmla="*/ 984506 h 2323145"/>
              <a:gd name="connsiteX42" fmla="*/ 8478704 w 11269336"/>
              <a:gd name="connsiteY42" fmla="*/ 1025490 h 2323145"/>
              <a:gd name="connsiteX43" fmla="*/ 8461421 w 11269336"/>
              <a:gd name="connsiteY43" fmla="*/ 1035512 h 2323145"/>
              <a:gd name="connsiteX44" fmla="*/ 8445003 w 11269336"/>
              <a:gd name="connsiteY44" fmla="*/ 1036851 h 2323145"/>
              <a:gd name="connsiteX45" fmla="*/ 8357350 w 11269336"/>
              <a:gd name="connsiteY45" fmla="*/ 1060213 h 2323145"/>
              <a:gd name="connsiteX46" fmla="*/ 8335565 w 11269336"/>
              <a:gd name="connsiteY46" fmla="*/ 1061151 h 2323145"/>
              <a:gd name="connsiteX47" fmla="*/ 8325267 w 11269336"/>
              <a:gd name="connsiteY47" fmla="*/ 1055919 h 2323145"/>
              <a:gd name="connsiteX48" fmla="*/ 8293586 w 11269336"/>
              <a:gd name="connsiteY48" fmla="*/ 1076144 h 2323145"/>
              <a:gd name="connsiteX49" fmla="*/ 8242405 w 11269336"/>
              <a:gd name="connsiteY49" fmla="*/ 1095960 h 2323145"/>
              <a:gd name="connsiteX50" fmla="*/ 8197391 w 11269336"/>
              <a:gd name="connsiteY50" fmla="*/ 1107746 h 2323145"/>
              <a:gd name="connsiteX51" fmla="*/ 8081474 w 11269336"/>
              <a:gd name="connsiteY51" fmla="*/ 1130125 h 2323145"/>
              <a:gd name="connsiteX52" fmla="*/ 8053585 w 11269336"/>
              <a:gd name="connsiteY52" fmla="*/ 1129169 h 2323145"/>
              <a:gd name="connsiteX53" fmla="*/ 8038422 w 11269336"/>
              <a:gd name="connsiteY53" fmla="*/ 1119092 h 2323145"/>
              <a:gd name="connsiteX54" fmla="*/ 8029450 w 11269336"/>
              <a:gd name="connsiteY54" fmla="*/ 1125592 h 2323145"/>
              <a:gd name="connsiteX55" fmla="*/ 7959552 w 11269336"/>
              <a:gd name="connsiteY55" fmla="*/ 1140188 h 2323145"/>
              <a:gd name="connsiteX56" fmla="*/ 7914188 w 11269336"/>
              <a:gd name="connsiteY56" fmla="*/ 1150862 h 2323145"/>
              <a:gd name="connsiteX57" fmla="*/ 7914918 w 11269336"/>
              <a:gd name="connsiteY57" fmla="*/ 1168758 h 2323145"/>
              <a:gd name="connsiteX58" fmla="*/ 7875510 w 11269336"/>
              <a:gd name="connsiteY58" fmla="*/ 1183153 h 2323145"/>
              <a:gd name="connsiteX59" fmla="*/ 7829932 w 11269336"/>
              <a:gd name="connsiteY59" fmla="*/ 1180782 h 2323145"/>
              <a:gd name="connsiteX60" fmla="*/ 7779182 w 11269336"/>
              <a:gd name="connsiteY60" fmla="*/ 1192665 h 2323145"/>
              <a:gd name="connsiteX61" fmla="*/ 7748774 w 11269336"/>
              <a:gd name="connsiteY61" fmla="*/ 1199586 h 2323145"/>
              <a:gd name="connsiteX62" fmla="*/ 7671846 w 11269336"/>
              <a:gd name="connsiteY62" fmla="*/ 1231966 h 2323145"/>
              <a:gd name="connsiteX63" fmla="*/ 7554146 w 11269336"/>
              <a:gd name="connsiteY63" fmla="*/ 1319748 h 2323145"/>
              <a:gd name="connsiteX64" fmla="*/ 7515052 w 11269336"/>
              <a:gd name="connsiteY64" fmla="*/ 1336718 h 2323145"/>
              <a:gd name="connsiteX65" fmla="*/ 7507193 w 11269336"/>
              <a:gd name="connsiteY65" fmla="*/ 1334617 h 2323145"/>
              <a:gd name="connsiteX66" fmla="*/ 7461694 w 11269336"/>
              <a:gd name="connsiteY66" fmla="*/ 1375866 h 2323145"/>
              <a:gd name="connsiteX67" fmla="*/ 7377571 w 11269336"/>
              <a:gd name="connsiteY67" fmla="*/ 1400128 h 2323145"/>
              <a:gd name="connsiteX68" fmla="*/ 7311261 w 11269336"/>
              <a:gd name="connsiteY68" fmla="*/ 1412652 h 2323145"/>
              <a:gd name="connsiteX69" fmla="*/ 7275307 w 11269336"/>
              <a:gd name="connsiteY69" fmla="*/ 1422171 h 2323145"/>
              <a:gd name="connsiteX70" fmla="*/ 7247783 w 11269336"/>
              <a:gd name="connsiteY70" fmla="*/ 1426330 h 2323145"/>
              <a:gd name="connsiteX71" fmla="*/ 7185047 w 11269336"/>
              <a:gd name="connsiteY71" fmla="*/ 1451812 h 2323145"/>
              <a:gd name="connsiteX72" fmla="*/ 7084117 w 11269336"/>
              <a:gd name="connsiteY72" fmla="*/ 1500281 h 2323145"/>
              <a:gd name="connsiteX73" fmla="*/ 7062011 w 11269336"/>
              <a:gd name="connsiteY73" fmla="*/ 1509183 h 2323145"/>
              <a:gd name="connsiteX74" fmla="*/ 7040555 w 11269336"/>
              <a:gd name="connsiteY74" fmla="*/ 1511207 h 2323145"/>
              <a:gd name="connsiteX75" fmla="*/ 7033438 w 11269336"/>
              <a:gd name="connsiteY75" fmla="*/ 1506772 h 2323145"/>
              <a:gd name="connsiteX76" fmla="*/ 7020886 w 11269336"/>
              <a:gd name="connsiteY76" fmla="*/ 1510764 h 2323145"/>
              <a:gd name="connsiteX77" fmla="*/ 7017033 w 11269336"/>
              <a:gd name="connsiteY77" fmla="*/ 1510650 h 2323145"/>
              <a:gd name="connsiteX78" fmla="*/ 6995460 w 11269336"/>
              <a:gd name="connsiteY78" fmla="*/ 1511173 h 2323145"/>
              <a:gd name="connsiteX79" fmla="*/ 6962144 w 11269336"/>
              <a:gd name="connsiteY79" fmla="*/ 1541508 h 2323145"/>
              <a:gd name="connsiteX80" fmla="*/ 6910674 w 11269336"/>
              <a:gd name="connsiteY80" fmla="*/ 1554793 h 2323145"/>
              <a:gd name="connsiteX81" fmla="*/ 6732152 w 11269336"/>
              <a:gd name="connsiteY81" fmla="*/ 1642538 h 2323145"/>
              <a:gd name="connsiteX82" fmla="*/ 6694106 w 11269336"/>
              <a:gd name="connsiteY82" fmla="*/ 1632377 h 2323145"/>
              <a:gd name="connsiteX83" fmla="*/ 6617223 w 11269336"/>
              <a:gd name="connsiteY83" fmla="*/ 1659889 h 2323145"/>
              <a:gd name="connsiteX84" fmla="*/ 6521138 w 11269336"/>
              <a:gd name="connsiteY84" fmla="*/ 1744340 h 2323145"/>
              <a:gd name="connsiteX85" fmla="*/ 6380677 w 11269336"/>
              <a:gd name="connsiteY85" fmla="*/ 1796883 h 2323145"/>
              <a:gd name="connsiteX86" fmla="*/ 6374897 w 11269336"/>
              <a:gd name="connsiteY86" fmla="*/ 1809910 h 2323145"/>
              <a:gd name="connsiteX87" fmla="*/ 6364545 w 11269336"/>
              <a:gd name="connsiteY87" fmla="*/ 1820090 h 2323145"/>
              <a:gd name="connsiteX88" fmla="*/ 6362126 w 11269336"/>
              <a:gd name="connsiteY88" fmla="*/ 1819991 h 2323145"/>
              <a:gd name="connsiteX89" fmla="*/ 6346673 w 11269336"/>
              <a:gd name="connsiteY89" fmla="*/ 1827824 h 2323145"/>
              <a:gd name="connsiteX90" fmla="*/ 6345588 w 11269336"/>
              <a:gd name="connsiteY90" fmla="*/ 1832232 h 2323145"/>
              <a:gd name="connsiteX91" fmla="*/ 6335708 w 11269336"/>
              <a:gd name="connsiteY91" fmla="*/ 1838451 h 2323145"/>
              <a:gd name="connsiteX92" fmla="*/ 6318182 w 11269336"/>
              <a:gd name="connsiteY92" fmla="*/ 1852975 h 2323145"/>
              <a:gd name="connsiteX93" fmla="*/ 6313084 w 11269336"/>
              <a:gd name="connsiteY93" fmla="*/ 1853561 h 2323145"/>
              <a:gd name="connsiteX94" fmla="*/ 6283816 w 11269336"/>
              <a:gd name="connsiteY94" fmla="*/ 1872148 h 2323145"/>
              <a:gd name="connsiteX95" fmla="*/ 6282550 w 11269336"/>
              <a:gd name="connsiteY95" fmla="*/ 1871392 h 2323145"/>
              <a:gd name="connsiteX96" fmla="*/ 6270527 w 11269336"/>
              <a:gd name="connsiteY96" fmla="*/ 1872208 h 2323145"/>
              <a:gd name="connsiteX97" fmla="*/ 6249518 w 11269336"/>
              <a:gd name="connsiteY97" fmla="*/ 1876079 h 2323145"/>
              <a:gd name="connsiteX98" fmla="*/ 6190386 w 11269336"/>
              <a:gd name="connsiteY98" fmla="*/ 1872478 h 2323145"/>
              <a:gd name="connsiteX99" fmla="*/ 6159777 w 11269336"/>
              <a:gd name="connsiteY99" fmla="*/ 1891745 h 2323145"/>
              <a:gd name="connsiteX100" fmla="*/ 6153131 w 11269336"/>
              <a:gd name="connsiteY100" fmla="*/ 1895079 h 2323145"/>
              <a:gd name="connsiteX101" fmla="*/ 6152798 w 11269336"/>
              <a:gd name="connsiteY101" fmla="*/ 1894920 h 2323145"/>
              <a:gd name="connsiteX102" fmla="*/ 6145388 w 11269336"/>
              <a:gd name="connsiteY102" fmla="*/ 1897990 h 2323145"/>
              <a:gd name="connsiteX103" fmla="*/ 6141014 w 11269336"/>
              <a:gd name="connsiteY103" fmla="*/ 1901155 h 2323145"/>
              <a:gd name="connsiteX104" fmla="*/ 6128122 w 11269336"/>
              <a:gd name="connsiteY104" fmla="*/ 1907623 h 2323145"/>
              <a:gd name="connsiteX105" fmla="*/ 6122351 w 11269336"/>
              <a:gd name="connsiteY105" fmla="*/ 1908359 h 2323145"/>
              <a:gd name="connsiteX106" fmla="*/ 6064750 w 11269336"/>
              <a:gd name="connsiteY106" fmla="*/ 1896394 h 2323145"/>
              <a:gd name="connsiteX107" fmla="*/ 5964230 w 11269336"/>
              <a:gd name="connsiteY107" fmla="*/ 1910038 h 2323145"/>
              <a:gd name="connsiteX108" fmla="*/ 5865399 w 11269336"/>
              <a:gd name="connsiteY108" fmla="*/ 1926966 h 2323145"/>
              <a:gd name="connsiteX109" fmla="*/ 5829951 w 11269336"/>
              <a:gd name="connsiteY109" fmla="*/ 1934755 h 2323145"/>
              <a:gd name="connsiteX110" fmla="*/ 5765285 w 11269336"/>
              <a:gd name="connsiteY110" fmla="*/ 1941322 h 2323145"/>
              <a:gd name="connsiteX111" fmla="*/ 5734750 w 11269336"/>
              <a:gd name="connsiteY111" fmla="*/ 1939793 h 2323145"/>
              <a:gd name="connsiteX112" fmla="*/ 5733569 w 11269336"/>
              <a:gd name="connsiteY112" fmla="*/ 1940505 h 2323145"/>
              <a:gd name="connsiteX113" fmla="*/ 5730329 w 11269336"/>
              <a:gd name="connsiteY113" fmla="*/ 1937845 h 2323145"/>
              <a:gd name="connsiteX114" fmla="*/ 5724661 w 11269336"/>
              <a:gd name="connsiteY114" fmla="*/ 1937455 h 2323145"/>
              <a:gd name="connsiteX115" fmla="*/ 5710186 w 11269336"/>
              <a:gd name="connsiteY115" fmla="*/ 1941370 h 2323145"/>
              <a:gd name="connsiteX116" fmla="*/ 5704910 w 11269336"/>
              <a:gd name="connsiteY116" fmla="*/ 1943663 h 2323145"/>
              <a:gd name="connsiteX117" fmla="*/ 5696836 w 11269336"/>
              <a:gd name="connsiteY117" fmla="*/ 1945271 h 2323145"/>
              <a:gd name="connsiteX118" fmla="*/ 5696583 w 11269336"/>
              <a:gd name="connsiteY118" fmla="*/ 1945050 h 2323145"/>
              <a:gd name="connsiteX119" fmla="*/ 5689123 w 11269336"/>
              <a:gd name="connsiteY119" fmla="*/ 1947067 h 2323145"/>
              <a:gd name="connsiteX120" fmla="*/ 5653291 w 11269336"/>
              <a:gd name="connsiteY120" fmla="*/ 1960245 h 2323145"/>
              <a:gd name="connsiteX121" fmla="*/ 5599385 w 11269336"/>
              <a:gd name="connsiteY121" fmla="*/ 1945198 h 2323145"/>
              <a:gd name="connsiteX122" fmla="*/ 5578300 w 11269336"/>
              <a:gd name="connsiteY122" fmla="*/ 1944963 h 2323145"/>
              <a:gd name="connsiteX123" fmla="*/ 5566758 w 11269336"/>
              <a:gd name="connsiteY123" fmla="*/ 1943441 h 2323145"/>
              <a:gd name="connsiteX124" fmla="*/ 5565857 w 11269336"/>
              <a:gd name="connsiteY124" fmla="*/ 1942445 h 2323145"/>
              <a:gd name="connsiteX125" fmla="*/ 5531534 w 11269336"/>
              <a:gd name="connsiteY125" fmla="*/ 1955208 h 2323145"/>
              <a:gd name="connsiteX126" fmla="*/ 5526552 w 11269336"/>
              <a:gd name="connsiteY126" fmla="*/ 1954799 h 2323145"/>
              <a:gd name="connsiteX127" fmla="*/ 5504723 w 11269336"/>
              <a:gd name="connsiteY127" fmla="*/ 1965811 h 2323145"/>
              <a:gd name="connsiteX128" fmla="*/ 5493156 w 11269336"/>
              <a:gd name="connsiteY128" fmla="*/ 1970063 h 2323145"/>
              <a:gd name="connsiteX129" fmla="*/ 5490486 w 11269336"/>
              <a:gd name="connsiteY129" fmla="*/ 1974227 h 2323145"/>
              <a:gd name="connsiteX130" fmla="*/ 5473107 w 11269336"/>
              <a:gd name="connsiteY130" fmla="*/ 1979001 h 2323145"/>
              <a:gd name="connsiteX131" fmla="*/ 5470885 w 11269336"/>
              <a:gd name="connsiteY131" fmla="*/ 1978432 h 2323145"/>
              <a:gd name="connsiteX132" fmla="*/ 5457393 w 11269336"/>
              <a:gd name="connsiteY132" fmla="*/ 1986525 h 2323145"/>
              <a:gd name="connsiteX133" fmla="*/ 5447102 w 11269336"/>
              <a:gd name="connsiteY133" fmla="*/ 1998329 h 2323145"/>
              <a:gd name="connsiteX134" fmla="*/ 5159151 w 11269336"/>
              <a:gd name="connsiteY134" fmla="*/ 2029640 h 2323145"/>
              <a:gd name="connsiteX135" fmla="*/ 5041688 w 11269336"/>
              <a:gd name="connsiteY135" fmla="*/ 2022334 h 2323145"/>
              <a:gd name="connsiteX136" fmla="*/ 4860988 w 11269336"/>
              <a:gd name="connsiteY136" fmla="*/ 2135698 h 2323145"/>
              <a:gd name="connsiteX137" fmla="*/ 4807902 w 11269336"/>
              <a:gd name="connsiteY137" fmla="*/ 2138894 h 2323145"/>
              <a:gd name="connsiteX138" fmla="*/ 4765388 w 11269336"/>
              <a:gd name="connsiteY138" fmla="*/ 2162525 h 2323145"/>
              <a:gd name="connsiteX139" fmla="*/ 4745033 w 11269336"/>
              <a:gd name="connsiteY139" fmla="*/ 2158859 h 2323145"/>
              <a:gd name="connsiteX140" fmla="*/ 4741475 w 11269336"/>
              <a:gd name="connsiteY140" fmla="*/ 2157998 h 2323145"/>
              <a:gd name="connsiteX141" fmla="*/ 4728247 w 11269336"/>
              <a:gd name="connsiteY141" fmla="*/ 2159526 h 2323145"/>
              <a:gd name="connsiteX142" fmla="*/ 4723263 w 11269336"/>
              <a:gd name="connsiteY142" fmla="*/ 2153742 h 2323145"/>
              <a:gd name="connsiteX143" fmla="*/ 4702453 w 11269336"/>
              <a:gd name="connsiteY143" fmla="*/ 2151586 h 2323145"/>
              <a:gd name="connsiteX144" fmla="*/ 4678455 w 11269336"/>
              <a:gd name="connsiteY144" fmla="*/ 2156131 h 2323145"/>
              <a:gd name="connsiteX145" fmla="*/ 4593061 w 11269336"/>
              <a:gd name="connsiteY145" fmla="*/ 2171597 h 2323145"/>
              <a:gd name="connsiteX146" fmla="*/ 4579902 w 11269336"/>
              <a:gd name="connsiteY146" fmla="*/ 2177927 h 2323145"/>
              <a:gd name="connsiteX147" fmla="*/ 4533444 w 11269336"/>
              <a:gd name="connsiteY147" fmla="*/ 2181200 h 2323145"/>
              <a:gd name="connsiteX148" fmla="*/ 4492832 w 11269336"/>
              <a:gd name="connsiteY148" fmla="*/ 2188033 h 2323145"/>
              <a:gd name="connsiteX149" fmla="*/ 4467257 w 11269336"/>
              <a:gd name="connsiteY149" fmla="*/ 2196121 h 2323145"/>
              <a:gd name="connsiteX150" fmla="*/ 4459937 w 11269336"/>
              <a:gd name="connsiteY150" fmla="*/ 2195182 h 2323145"/>
              <a:gd name="connsiteX151" fmla="*/ 4433312 w 11269336"/>
              <a:gd name="connsiteY151" fmla="*/ 2199004 h 2323145"/>
              <a:gd name="connsiteX152" fmla="*/ 4420601 w 11269336"/>
              <a:gd name="connsiteY152" fmla="*/ 2205158 h 2323145"/>
              <a:gd name="connsiteX153" fmla="*/ 4405765 w 11269336"/>
              <a:gd name="connsiteY153" fmla="*/ 2199902 h 2323145"/>
              <a:gd name="connsiteX154" fmla="*/ 4401354 w 11269336"/>
              <a:gd name="connsiteY154" fmla="*/ 2194745 h 2323145"/>
              <a:gd name="connsiteX155" fmla="*/ 4383151 w 11269336"/>
              <a:gd name="connsiteY155" fmla="*/ 2201140 h 2323145"/>
              <a:gd name="connsiteX156" fmla="*/ 4366646 w 11269336"/>
              <a:gd name="connsiteY156" fmla="*/ 2198564 h 2323145"/>
              <a:gd name="connsiteX157" fmla="*/ 4354009 w 11269336"/>
              <a:gd name="connsiteY157" fmla="*/ 2204984 h 2323145"/>
              <a:gd name="connsiteX158" fmla="*/ 4348284 w 11269336"/>
              <a:gd name="connsiteY158" fmla="*/ 2205270 h 2323145"/>
              <a:gd name="connsiteX159" fmla="*/ 4333906 w 11269336"/>
              <a:gd name="connsiteY159" fmla="*/ 2205251 h 2323145"/>
              <a:gd name="connsiteX160" fmla="*/ 4308819 w 11269336"/>
              <a:gd name="connsiteY160" fmla="*/ 2203822 h 2323145"/>
              <a:gd name="connsiteX161" fmla="*/ 4301210 w 11269336"/>
              <a:gd name="connsiteY161" fmla="*/ 2204456 h 2323145"/>
              <a:gd name="connsiteX162" fmla="*/ 4283095 w 11269336"/>
              <a:gd name="connsiteY162" fmla="*/ 2198177 h 2323145"/>
              <a:gd name="connsiteX163" fmla="*/ 4250119 w 11269336"/>
              <a:gd name="connsiteY163" fmla="*/ 2196342 h 2323145"/>
              <a:gd name="connsiteX164" fmla="*/ 4189203 w 11269336"/>
              <a:gd name="connsiteY164" fmla="*/ 2178994 h 2323145"/>
              <a:gd name="connsiteX165" fmla="*/ 4154035 w 11269336"/>
              <a:gd name="connsiteY165" fmla="*/ 2171950 h 2323145"/>
              <a:gd name="connsiteX166" fmla="*/ 4129569 w 11269336"/>
              <a:gd name="connsiteY166" fmla="*/ 2163850 h 2323145"/>
              <a:gd name="connsiteX167" fmla="*/ 4061250 w 11269336"/>
              <a:gd name="connsiteY167" fmla="*/ 2159236 h 2323145"/>
              <a:gd name="connsiteX168" fmla="*/ 3945480 w 11269336"/>
              <a:gd name="connsiteY168" fmla="*/ 2158279 h 2323145"/>
              <a:gd name="connsiteX169" fmla="*/ 3921468 w 11269336"/>
              <a:gd name="connsiteY169" fmla="*/ 2156588 h 2323145"/>
              <a:gd name="connsiteX170" fmla="*/ 3903348 w 11269336"/>
              <a:gd name="connsiteY170" fmla="*/ 2149220 h 2323145"/>
              <a:gd name="connsiteX171" fmla="*/ 3901342 w 11269336"/>
              <a:gd name="connsiteY171" fmla="*/ 2142355 h 2323145"/>
              <a:gd name="connsiteX172" fmla="*/ 3888539 w 11269336"/>
              <a:gd name="connsiteY172" fmla="*/ 2140476 h 2323145"/>
              <a:gd name="connsiteX173" fmla="*/ 3885662 w 11269336"/>
              <a:gd name="connsiteY173" fmla="*/ 2138740 h 2323145"/>
              <a:gd name="connsiteX174" fmla="*/ 3868627 w 11269336"/>
              <a:gd name="connsiteY174" fmla="*/ 2130023 h 2323145"/>
              <a:gd name="connsiteX175" fmla="*/ 3819177 w 11269336"/>
              <a:gd name="connsiteY175" fmla="*/ 2142111 h 2323145"/>
              <a:gd name="connsiteX176" fmla="*/ 3769100 w 11269336"/>
              <a:gd name="connsiteY176" fmla="*/ 2131731 h 2323145"/>
              <a:gd name="connsiteX177" fmla="*/ 3562752 w 11269336"/>
              <a:gd name="connsiteY177" fmla="*/ 2131785 h 2323145"/>
              <a:gd name="connsiteX178" fmla="*/ 3541402 w 11269336"/>
              <a:gd name="connsiteY178" fmla="*/ 2106821 h 2323145"/>
              <a:gd name="connsiteX179" fmla="*/ 3365341 w 11269336"/>
              <a:gd name="connsiteY179" fmla="*/ 2077638 h 2323145"/>
              <a:gd name="connsiteX180" fmla="*/ 3170922 w 11269336"/>
              <a:gd name="connsiteY180" fmla="*/ 2115957 h 2323145"/>
              <a:gd name="connsiteX181" fmla="*/ 3156256 w 11269336"/>
              <a:gd name="connsiteY181" fmla="*/ 2124773 h 2323145"/>
              <a:gd name="connsiteX182" fmla="*/ 3140298 w 11269336"/>
              <a:gd name="connsiteY182" fmla="*/ 2129182 h 2323145"/>
              <a:gd name="connsiteX183" fmla="*/ 3138514 w 11269336"/>
              <a:gd name="connsiteY183" fmla="*/ 2128069 h 2323145"/>
              <a:gd name="connsiteX184" fmla="*/ 3120467 w 11269336"/>
              <a:gd name="connsiteY184" fmla="*/ 2128281 h 2323145"/>
              <a:gd name="connsiteX185" fmla="*/ 3116175 w 11269336"/>
              <a:gd name="connsiteY185" fmla="*/ 2131633 h 2323145"/>
              <a:gd name="connsiteX186" fmla="*/ 3103685 w 11269336"/>
              <a:gd name="connsiteY186" fmla="*/ 2132814 h 2323145"/>
              <a:gd name="connsiteX187" fmla="*/ 3078794 w 11269336"/>
              <a:gd name="connsiteY187" fmla="*/ 2137935 h 2323145"/>
              <a:gd name="connsiteX188" fmla="*/ 3074407 w 11269336"/>
              <a:gd name="connsiteY188" fmla="*/ 2136274 h 2323145"/>
              <a:gd name="connsiteX189" fmla="*/ 3037285 w 11269336"/>
              <a:gd name="connsiteY189" fmla="*/ 2139919 h 2323145"/>
              <a:gd name="connsiteX190" fmla="*/ 3036901 w 11269336"/>
              <a:gd name="connsiteY190" fmla="*/ 2138726 h 2323145"/>
              <a:gd name="connsiteX191" fmla="*/ 3026996 w 11269336"/>
              <a:gd name="connsiteY191" fmla="*/ 2134322 h 2323145"/>
              <a:gd name="connsiteX192" fmla="*/ 3007772 w 11269336"/>
              <a:gd name="connsiteY192" fmla="*/ 2128742 h 2323145"/>
              <a:gd name="connsiteX193" fmla="*/ 2965030 w 11269336"/>
              <a:gd name="connsiteY193" fmla="*/ 2100494 h 2323145"/>
              <a:gd name="connsiteX194" fmla="*/ 2926342 w 11269336"/>
              <a:gd name="connsiteY194" fmla="*/ 2104155 h 2323145"/>
              <a:gd name="connsiteX195" fmla="*/ 2918608 w 11269336"/>
              <a:gd name="connsiteY195" fmla="*/ 2104215 h 2323145"/>
              <a:gd name="connsiteX196" fmla="*/ 2918475 w 11269336"/>
              <a:gd name="connsiteY196" fmla="*/ 2103937 h 2323145"/>
              <a:gd name="connsiteX197" fmla="*/ 2910360 w 11269336"/>
              <a:gd name="connsiteY197" fmla="*/ 2103444 h 2323145"/>
              <a:gd name="connsiteX198" fmla="*/ 2904507 w 11269336"/>
              <a:gd name="connsiteY198" fmla="*/ 2104326 h 2323145"/>
              <a:gd name="connsiteX199" fmla="*/ 2889503 w 11269336"/>
              <a:gd name="connsiteY199" fmla="*/ 2104443 h 2323145"/>
              <a:gd name="connsiteX200" fmla="*/ 2884480 w 11269336"/>
              <a:gd name="connsiteY200" fmla="*/ 2102626 h 2323145"/>
              <a:gd name="connsiteX201" fmla="*/ 2882689 w 11269336"/>
              <a:gd name="connsiteY201" fmla="*/ 2099228 h 2323145"/>
              <a:gd name="connsiteX202" fmla="*/ 2881291 w 11269336"/>
              <a:gd name="connsiteY202" fmla="*/ 2099618 h 2323145"/>
              <a:gd name="connsiteX203" fmla="*/ 2853979 w 11269336"/>
              <a:gd name="connsiteY203" fmla="*/ 2090388 h 2323145"/>
              <a:gd name="connsiteX204" fmla="*/ 2791790 w 11269336"/>
              <a:gd name="connsiteY204" fmla="*/ 2080332 h 2323145"/>
              <a:gd name="connsiteX205" fmla="*/ 2755844 w 11269336"/>
              <a:gd name="connsiteY205" fmla="*/ 2078874 h 2323145"/>
              <a:gd name="connsiteX206" fmla="*/ 2657742 w 11269336"/>
              <a:gd name="connsiteY206" fmla="*/ 2070179 h 2323145"/>
              <a:gd name="connsiteX207" fmla="*/ 2559549 w 11269336"/>
              <a:gd name="connsiteY207" fmla="*/ 2057873 h 2323145"/>
              <a:gd name="connsiteX208" fmla="*/ 2512054 w 11269336"/>
              <a:gd name="connsiteY208" fmla="*/ 2031671 h 2323145"/>
              <a:gd name="connsiteX209" fmla="*/ 2506437 w 11269336"/>
              <a:gd name="connsiteY209" fmla="*/ 2030918 h 2323145"/>
              <a:gd name="connsiteX210" fmla="*/ 2491752 w 11269336"/>
              <a:gd name="connsiteY210" fmla="*/ 2033906 h 2323145"/>
              <a:gd name="connsiteX211" fmla="*/ 2486338 w 11269336"/>
              <a:gd name="connsiteY211" fmla="*/ 2035862 h 2323145"/>
              <a:gd name="connsiteX212" fmla="*/ 2478186 w 11269336"/>
              <a:gd name="connsiteY212" fmla="*/ 2036953 h 2323145"/>
              <a:gd name="connsiteX213" fmla="*/ 2477950 w 11269336"/>
              <a:gd name="connsiteY213" fmla="*/ 2036715 h 2323145"/>
              <a:gd name="connsiteX214" fmla="*/ 2470381 w 11269336"/>
              <a:gd name="connsiteY214" fmla="*/ 2038256 h 2323145"/>
              <a:gd name="connsiteX215" fmla="*/ 2433781 w 11269336"/>
              <a:gd name="connsiteY215" fmla="*/ 2049140 h 2323145"/>
              <a:gd name="connsiteX216" fmla="*/ 2381172 w 11269336"/>
              <a:gd name="connsiteY216" fmla="*/ 2030645 h 2323145"/>
              <a:gd name="connsiteX217" fmla="*/ 2360198 w 11269336"/>
              <a:gd name="connsiteY217" fmla="*/ 2029059 h 2323145"/>
              <a:gd name="connsiteX218" fmla="*/ 2348815 w 11269336"/>
              <a:gd name="connsiteY218" fmla="*/ 2026798 h 2323145"/>
              <a:gd name="connsiteX219" fmla="*/ 2347988 w 11269336"/>
              <a:gd name="connsiteY219" fmla="*/ 2025745 h 2323145"/>
              <a:gd name="connsiteX220" fmla="*/ 2312920 w 11269336"/>
              <a:gd name="connsiteY220" fmla="*/ 2036311 h 2323145"/>
              <a:gd name="connsiteX221" fmla="*/ 2307986 w 11269336"/>
              <a:gd name="connsiteY221" fmla="*/ 2035583 h 2323145"/>
              <a:gd name="connsiteX222" fmla="*/ 2285481 w 11269336"/>
              <a:gd name="connsiteY222" fmla="*/ 2045197 h 2323145"/>
              <a:gd name="connsiteX223" fmla="*/ 2273666 w 11269336"/>
              <a:gd name="connsiteY223" fmla="*/ 2048710 h 2323145"/>
              <a:gd name="connsiteX224" fmla="*/ 2270719 w 11269336"/>
              <a:gd name="connsiteY224" fmla="*/ 2052702 h 2323145"/>
              <a:gd name="connsiteX225" fmla="*/ 2253080 w 11269336"/>
              <a:gd name="connsiteY225" fmla="*/ 2056363 h 2323145"/>
              <a:gd name="connsiteX226" fmla="*/ 2250906 w 11269336"/>
              <a:gd name="connsiteY226" fmla="*/ 2055654 h 2323145"/>
              <a:gd name="connsiteX227" fmla="*/ 2236905 w 11269336"/>
              <a:gd name="connsiteY227" fmla="*/ 2062882 h 2323145"/>
              <a:gd name="connsiteX228" fmla="*/ 2225830 w 11269336"/>
              <a:gd name="connsiteY228" fmla="*/ 2074027 h 2323145"/>
              <a:gd name="connsiteX229" fmla="*/ 2073776 w 11269336"/>
              <a:gd name="connsiteY229" fmla="*/ 2089244 h 2323145"/>
              <a:gd name="connsiteX230" fmla="*/ 1948256 w 11269336"/>
              <a:gd name="connsiteY230" fmla="*/ 2146616 h 2323145"/>
              <a:gd name="connsiteX231" fmla="*/ 1865582 w 11269336"/>
              <a:gd name="connsiteY231" fmla="*/ 2153738 h 2323145"/>
              <a:gd name="connsiteX232" fmla="*/ 1835210 w 11269336"/>
              <a:gd name="connsiteY232" fmla="*/ 2134244 h 2323145"/>
              <a:gd name="connsiteX233" fmla="*/ 1632661 w 11269336"/>
              <a:gd name="connsiteY233" fmla="*/ 2173882 h 2323145"/>
              <a:gd name="connsiteX234" fmla="*/ 1579590 w 11269336"/>
              <a:gd name="connsiteY234" fmla="*/ 2173680 h 2323145"/>
              <a:gd name="connsiteX235" fmla="*/ 1535601 w 11269336"/>
              <a:gd name="connsiteY235" fmla="*/ 2194590 h 2323145"/>
              <a:gd name="connsiteX236" fmla="*/ 1515594 w 11269336"/>
              <a:gd name="connsiteY236" fmla="*/ 2189622 h 2323145"/>
              <a:gd name="connsiteX237" fmla="*/ 1512113 w 11269336"/>
              <a:gd name="connsiteY237" fmla="*/ 2188534 h 2323145"/>
              <a:gd name="connsiteX238" fmla="*/ 1498838 w 11269336"/>
              <a:gd name="connsiteY238" fmla="*/ 2189213 h 2323145"/>
              <a:gd name="connsiteX239" fmla="*/ 1494279 w 11269336"/>
              <a:gd name="connsiteY239" fmla="*/ 2183112 h 2323145"/>
              <a:gd name="connsiteX240" fmla="*/ 1473714 w 11269336"/>
              <a:gd name="connsiteY240" fmla="*/ 2179625 h 2323145"/>
              <a:gd name="connsiteX241" fmla="*/ 1449503 w 11269336"/>
              <a:gd name="connsiteY241" fmla="*/ 2182633 h 2323145"/>
              <a:gd name="connsiteX242" fmla="*/ 1266687 w 11269336"/>
              <a:gd name="connsiteY242" fmla="*/ 2212688 h 2323145"/>
              <a:gd name="connsiteX243" fmla="*/ 1239614 w 11269336"/>
              <a:gd name="connsiteY243" fmla="*/ 2209727 h 2323145"/>
              <a:gd name="connsiteX244" fmla="*/ 1202436 w 11269336"/>
              <a:gd name="connsiteY244" fmla="*/ 2209817 h 2323145"/>
              <a:gd name="connsiteX245" fmla="*/ 1136097 w 11269336"/>
              <a:gd name="connsiteY245" fmla="*/ 2205112 h 2323145"/>
              <a:gd name="connsiteX246" fmla="*/ 988232 w 11269336"/>
              <a:gd name="connsiteY246" fmla="*/ 2235635 h 2323145"/>
              <a:gd name="connsiteX247" fmla="*/ 981959 w 11269336"/>
              <a:gd name="connsiteY247" fmla="*/ 2231607 h 2323145"/>
              <a:gd name="connsiteX248" fmla="*/ 938600 w 11269336"/>
              <a:gd name="connsiteY248" fmla="*/ 2238113 h 2323145"/>
              <a:gd name="connsiteX249" fmla="*/ 791788 w 11269336"/>
              <a:gd name="connsiteY249" fmla="*/ 2293224 h 2323145"/>
              <a:gd name="connsiteX250" fmla="*/ 706914 w 11269336"/>
              <a:gd name="connsiteY250" fmla="*/ 2305046 h 2323145"/>
              <a:gd name="connsiteX251" fmla="*/ 675971 w 11269336"/>
              <a:gd name="connsiteY251" fmla="*/ 2304030 h 2323145"/>
              <a:gd name="connsiteX252" fmla="*/ 624180 w 11269336"/>
              <a:gd name="connsiteY252" fmla="*/ 2302650 h 2323145"/>
              <a:gd name="connsiteX253" fmla="*/ 583453 w 11269336"/>
              <a:gd name="connsiteY253" fmla="*/ 2288788 h 2323145"/>
              <a:gd name="connsiteX254" fmla="*/ 540946 w 11269336"/>
              <a:gd name="connsiteY254" fmla="*/ 2292721 h 2323145"/>
              <a:gd name="connsiteX255" fmla="*/ 533680 w 11269336"/>
              <a:gd name="connsiteY255" fmla="*/ 2310233 h 2323145"/>
              <a:gd name="connsiteX256" fmla="*/ 487366 w 11269336"/>
              <a:gd name="connsiteY256" fmla="*/ 2309053 h 2323145"/>
              <a:gd name="connsiteX257" fmla="*/ 416820 w 11269336"/>
              <a:gd name="connsiteY257" fmla="*/ 2305443 h 2323145"/>
              <a:gd name="connsiteX258" fmla="*/ 376805 w 11269336"/>
              <a:gd name="connsiteY258" fmla="*/ 2307647 h 2323145"/>
              <a:gd name="connsiteX259" fmla="*/ 266777 w 11269336"/>
              <a:gd name="connsiteY259" fmla="*/ 2309012 h 2323145"/>
              <a:gd name="connsiteX260" fmla="*/ 156013 w 11269336"/>
              <a:gd name="connsiteY260" fmla="*/ 2306832 h 2323145"/>
              <a:gd name="connsiteX261" fmla="*/ 87258 w 11269336"/>
              <a:gd name="connsiteY261" fmla="*/ 2285511 h 2323145"/>
              <a:gd name="connsiteX262" fmla="*/ 23798 w 11269336"/>
              <a:gd name="connsiteY262" fmla="*/ 2281822 h 2323145"/>
              <a:gd name="connsiteX263" fmla="*/ 0 w 11269336"/>
              <a:gd name="connsiteY263" fmla="*/ 2285369 h 2323145"/>
              <a:gd name="connsiteX264" fmla="*/ 0 w 11269336"/>
              <a:gd name="connsiteY264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8914746 w 11269336"/>
              <a:gd name="connsiteY23" fmla="*/ 826428 h 2323145"/>
              <a:gd name="connsiteX24" fmla="*/ 8917778 w 11269336"/>
              <a:gd name="connsiteY24" fmla="*/ 835198 h 2323145"/>
              <a:gd name="connsiteX25" fmla="*/ 8905560 w 11269336"/>
              <a:gd name="connsiteY25" fmla="*/ 838358 h 2323145"/>
              <a:gd name="connsiteX26" fmla="*/ 8897564 w 11269336"/>
              <a:gd name="connsiteY26" fmla="*/ 834287 h 2323145"/>
              <a:gd name="connsiteX27" fmla="*/ 8878040 w 11269336"/>
              <a:gd name="connsiteY27" fmla="*/ 844150 h 2323145"/>
              <a:gd name="connsiteX28" fmla="*/ 8795998 w 11269336"/>
              <a:gd name="connsiteY28" fmla="*/ 863337 h 2323145"/>
              <a:gd name="connsiteX29" fmla="*/ 8776970 w 11269336"/>
              <a:gd name="connsiteY29" fmla="*/ 885177 h 2323145"/>
              <a:gd name="connsiteX30" fmla="*/ 8755719 w 11269336"/>
              <a:gd name="connsiteY30" fmla="*/ 889754 h 2323145"/>
              <a:gd name="connsiteX31" fmla="*/ 8743257 w 11269336"/>
              <a:gd name="connsiteY31" fmla="*/ 904723 h 2323145"/>
              <a:gd name="connsiteX32" fmla="*/ 8721366 w 11269336"/>
              <a:gd name="connsiteY32" fmla="*/ 904711 h 2323145"/>
              <a:gd name="connsiteX33" fmla="*/ 8678353 w 11269336"/>
              <a:gd name="connsiteY33" fmla="*/ 926318 h 2323145"/>
              <a:gd name="connsiteX34" fmla="*/ 8636849 w 11269336"/>
              <a:gd name="connsiteY34" fmla="*/ 937900 h 2323145"/>
              <a:gd name="connsiteX35" fmla="*/ 8620213 w 11269336"/>
              <a:gd name="connsiteY35" fmla="*/ 943068 h 2323145"/>
              <a:gd name="connsiteX36" fmla="*/ 8612581 w 11269336"/>
              <a:gd name="connsiteY36" fmla="*/ 952695 h 2323145"/>
              <a:gd name="connsiteX37" fmla="*/ 8589038 w 11269336"/>
              <a:gd name="connsiteY37" fmla="*/ 963892 h 2323145"/>
              <a:gd name="connsiteX38" fmla="*/ 8579950 w 11269336"/>
              <a:gd name="connsiteY38" fmla="*/ 960899 h 2323145"/>
              <a:gd name="connsiteX39" fmla="*/ 8579319 w 11269336"/>
              <a:gd name="connsiteY39" fmla="*/ 965630 h 2323145"/>
              <a:gd name="connsiteX40" fmla="*/ 8547429 w 11269336"/>
              <a:gd name="connsiteY40" fmla="*/ 984506 h 2323145"/>
              <a:gd name="connsiteX41" fmla="*/ 8478704 w 11269336"/>
              <a:gd name="connsiteY41" fmla="*/ 1025490 h 2323145"/>
              <a:gd name="connsiteX42" fmla="*/ 8461421 w 11269336"/>
              <a:gd name="connsiteY42" fmla="*/ 1035512 h 2323145"/>
              <a:gd name="connsiteX43" fmla="*/ 8445003 w 11269336"/>
              <a:gd name="connsiteY43" fmla="*/ 1036851 h 2323145"/>
              <a:gd name="connsiteX44" fmla="*/ 8357350 w 11269336"/>
              <a:gd name="connsiteY44" fmla="*/ 1060213 h 2323145"/>
              <a:gd name="connsiteX45" fmla="*/ 8335565 w 11269336"/>
              <a:gd name="connsiteY45" fmla="*/ 1061151 h 2323145"/>
              <a:gd name="connsiteX46" fmla="*/ 8325267 w 11269336"/>
              <a:gd name="connsiteY46" fmla="*/ 1055919 h 2323145"/>
              <a:gd name="connsiteX47" fmla="*/ 8293586 w 11269336"/>
              <a:gd name="connsiteY47" fmla="*/ 1076144 h 2323145"/>
              <a:gd name="connsiteX48" fmla="*/ 8242405 w 11269336"/>
              <a:gd name="connsiteY48" fmla="*/ 1095960 h 2323145"/>
              <a:gd name="connsiteX49" fmla="*/ 8197391 w 11269336"/>
              <a:gd name="connsiteY49" fmla="*/ 1107746 h 2323145"/>
              <a:gd name="connsiteX50" fmla="*/ 8081474 w 11269336"/>
              <a:gd name="connsiteY50" fmla="*/ 1130125 h 2323145"/>
              <a:gd name="connsiteX51" fmla="*/ 8053585 w 11269336"/>
              <a:gd name="connsiteY51" fmla="*/ 1129169 h 2323145"/>
              <a:gd name="connsiteX52" fmla="*/ 8038422 w 11269336"/>
              <a:gd name="connsiteY52" fmla="*/ 1119092 h 2323145"/>
              <a:gd name="connsiteX53" fmla="*/ 8029450 w 11269336"/>
              <a:gd name="connsiteY53" fmla="*/ 1125592 h 2323145"/>
              <a:gd name="connsiteX54" fmla="*/ 7959552 w 11269336"/>
              <a:gd name="connsiteY54" fmla="*/ 1140188 h 2323145"/>
              <a:gd name="connsiteX55" fmla="*/ 7914188 w 11269336"/>
              <a:gd name="connsiteY55" fmla="*/ 1150862 h 2323145"/>
              <a:gd name="connsiteX56" fmla="*/ 7914918 w 11269336"/>
              <a:gd name="connsiteY56" fmla="*/ 1168758 h 2323145"/>
              <a:gd name="connsiteX57" fmla="*/ 7875510 w 11269336"/>
              <a:gd name="connsiteY57" fmla="*/ 1183153 h 2323145"/>
              <a:gd name="connsiteX58" fmla="*/ 7829932 w 11269336"/>
              <a:gd name="connsiteY58" fmla="*/ 1180782 h 2323145"/>
              <a:gd name="connsiteX59" fmla="*/ 7779182 w 11269336"/>
              <a:gd name="connsiteY59" fmla="*/ 1192665 h 2323145"/>
              <a:gd name="connsiteX60" fmla="*/ 7748774 w 11269336"/>
              <a:gd name="connsiteY60" fmla="*/ 1199586 h 2323145"/>
              <a:gd name="connsiteX61" fmla="*/ 7671846 w 11269336"/>
              <a:gd name="connsiteY61" fmla="*/ 1231966 h 2323145"/>
              <a:gd name="connsiteX62" fmla="*/ 7554146 w 11269336"/>
              <a:gd name="connsiteY62" fmla="*/ 1319748 h 2323145"/>
              <a:gd name="connsiteX63" fmla="*/ 7515052 w 11269336"/>
              <a:gd name="connsiteY63" fmla="*/ 1336718 h 2323145"/>
              <a:gd name="connsiteX64" fmla="*/ 7507193 w 11269336"/>
              <a:gd name="connsiteY64" fmla="*/ 1334617 h 2323145"/>
              <a:gd name="connsiteX65" fmla="*/ 7461694 w 11269336"/>
              <a:gd name="connsiteY65" fmla="*/ 1375866 h 2323145"/>
              <a:gd name="connsiteX66" fmla="*/ 7377571 w 11269336"/>
              <a:gd name="connsiteY66" fmla="*/ 1400128 h 2323145"/>
              <a:gd name="connsiteX67" fmla="*/ 7311261 w 11269336"/>
              <a:gd name="connsiteY67" fmla="*/ 1412652 h 2323145"/>
              <a:gd name="connsiteX68" fmla="*/ 7275307 w 11269336"/>
              <a:gd name="connsiteY68" fmla="*/ 1422171 h 2323145"/>
              <a:gd name="connsiteX69" fmla="*/ 7247783 w 11269336"/>
              <a:gd name="connsiteY69" fmla="*/ 1426330 h 2323145"/>
              <a:gd name="connsiteX70" fmla="*/ 7185047 w 11269336"/>
              <a:gd name="connsiteY70" fmla="*/ 1451812 h 2323145"/>
              <a:gd name="connsiteX71" fmla="*/ 7084117 w 11269336"/>
              <a:gd name="connsiteY71" fmla="*/ 1500281 h 2323145"/>
              <a:gd name="connsiteX72" fmla="*/ 7062011 w 11269336"/>
              <a:gd name="connsiteY72" fmla="*/ 1509183 h 2323145"/>
              <a:gd name="connsiteX73" fmla="*/ 7040555 w 11269336"/>
              <a:gd name="connsiteY73" fmla="*/ 1511207 h 2323145"/>
              <a:gd name="connsiteX74" fmla="*/ 7033438 w 11269336"/>
              <a:gd name="connsiteY74" fmla="*/ 1506772 h 2323145"/>
              <a:gd name="connsiteX75" fmla="*/ 7020886 w 11269336"/>
              <a:gd name="connsiteY75" fmla="*/ 1510764 h 2323145"/>
              <a:gd name="connsiteX76" fmla="*/ 7017033 w 11269336"/>
              <a:gd name="connsiteY76" fmla="*/ 1510650 h 2323145"/>
              <a:gd name="connsiteX77" fmla="*/ 6995460 w 11269336"/>
              <a:gd name="connsiteY77" fmla="*/ 1511173 h 2323145"/>
              <a:gd name="connsiteX78" fmla="*/ 6962144 w 11269336"/>
              <a:gd name="connsiteY78" fmla="*/ 1541508 h 2323145"/>
              <a:gd name="connsiteX79" fmla="*/ 6910674 w 11269336"/>
              <a:gd name="connsiteY79" fmla="*/ 1554793 h 2323145"/>
              <a:gd name="connsiteX80" fmla="*/ 6732152 w 11269336"/>
              <a:gd name="connsiteY80" fmla="*/ 1642538 h 2323145"/>
              <a:gd name="connsiteX81" fmla="*/ 6694106 w 11269336"/>
              <a:gd name="connsiteY81" fmla="*/ 1632377 h 2323145"/>
              <a:gd name="connsiteX82" fmla="*/ 6617223 w 11269336"/>
              <a:gd name="connsiteY82" fmla="*/ 1659889 h 2323145"/>
              <a:gd name="connsiteX83" fmla="*/ 6521138 w 11269336"/>
              <a:gd name="connsiteY83" fmla="*/ 1744340 h 2323145"/>
              <a:gd name="connsiteX84" fmla="*/ 6380677 w 11269336"/>
              <a:gd name="connsiteY84" fmla="*/ 1796883 h 2323145"/>
              <a:gd name="connsiteX85" fmla="*/ 6374897 w 11269336"/>
              <a:gd name="connsiteY85" fmla="*/ 1809910 h 2323145"/>
              <a:gd name="connsiteX86" fmla="*/ 6364545 w 11269336"/>
              <a:gd name="connsiteY86" fmla="*/ 1820090 h 2323145"/>
              <a:gd name="connsiteX87" fmla="*/ 6362126 w 11269336"/>
              <a:gd name="connsiteY87" fmla="*/ 1819991 h 2323145"/>
              <a:gd name="connsiteX88" fmla="*/ 6346673 w 11269336"/>
              <a:gd name="connsiteY88" fmla="*/ 1827824 h 2323145"/>
              <a:gd name="connsiteX89" fmla="*/ 6345588 w 11269336"/>
              <a:gd name="connsiteY89" fmla="*/ 1832232 h 2323145"/>
              <a:gd name="connsiteX90" fmla="*/ 6335708 w 11269336"/>
              <a:gd name="connsiteY90" fmla="*/ 1838451 h 2323145"/>
              <a:gd name="connsiteX91" fmla="*/ 6318182 w 11269336"/>
              <a:gd name="connsiteY91" fmla="*/ 1852975 h 2323145"/>
              <a:gd name="connsiteX92" fmla="*/ 6313084 w 11269336"/>
              <a:gd name="connsiteY92" fmla="*/ 1853561 h 2323145"/>
              <a:gd name="connsiteX93" fmla="*/ 6283816 w 11269336"/>
              <a:gd name="connsiteY93" fmla="*/ 1872148 h 2323145"/>
              <a:gd name="connsiteX94" fmla="*/ 6282550 w 11269336"/>
              <a:gd name="connsiteY94" fmla="*/ 1871392 h 2323145"/>
              <a:gd name="connsiteX95" fmla="*/ 6270527 w 11269336"/>
              <a:gd name="connsiteY95" fmla="*/ 1872208 h 2323145"/>
              <a:gd name="connsiteX96" fmla="*/ 6249518 w 11269336"/>
              <a:gd name="connsiteY96" fmla="*/ 1876079 h 2323145"/>
              <a:gd name="connsiteX97" fmla="*/ 6190386 w 11269336"/>
              <a:gd name="connsiteY97" fmla="*/ 1872478 h 2323145"/>
              <a:gd name="connsiteX98" fmla="*/ 6159777 w 11269336"/>
              <a:gd name="connsiteY98" fmla="*/ 1891745 h 2323145"/>
              <a:gd name="connsiteX99" fmla="*/ 6153131 w 11269336"/>
              <a:gd name="connsiteY99" fmla="*/ 1895079 h 2323145"/>
              <a:gd name="connsiteX100" fmla="*/ 6152798 w 11269336"/>
              <a:gd name="connsiteY100" fmla="*/ 1894920 h 2323145"/>
              <a:gd name="connsiteX101" fmla="*/ 6145388 w 11269336"/>
              <a:gd name="connsiteY101" fmla="*/ 1897990 h 2323145"/>
              <a:gd name="connsiteX102" fmla="*/ 6141014 w 11269336"/>
              <a:gd name="connsiteY102" fmla="*/ 1901155 h 2323145"/>
              <a:gd name="connsiteX103" fmla="*/ 6128122 w 11269336"/>
              <a:gd name="connsiteY103" fmla="*/ 1907623 h 2323145"/>
              <a:gd name="connsiteX104" fmla="*/ 6122351 w 11269336"/>
              <a:gd name="connsiteY104" fmla="*/ 1908359 h 2323145"/>
              <a:gd name="connsiteX105" fmla="*/ 6064750 w 11269336"/>
              <a:gd name="connsiteY105" fmla="*/ 1896394 h 2323145"/>
              <a:gd name="connsiteX106" fmla="*/ 5964230 w 11269336"/>
              <a:gd name="connsiteY106" fmla="*/ 1910038 h 2323145"/>
              <a:gd name="connsiteX107" fmla="*/ 5865399 w 11269336"/>
              <a:gd name="connsiteY107" fmla="*/ 1926966 h 2323145"/>
              <a:gd name="connsiteX108" fmla="*/ 5829951 w 11269336"/>
              <a:gd name="connsiteY108" fmla="*/ 1934755 h 2323145"/>
              <a:gd name="connsiteX109" fmla="*/ 5765285 w 11269336"/>
              <a:gd name="connsiteY109" fmla="*/ 1941322 h 2323145"/>
              <a:gd name="connsiteX110" fmla="*/ 5734750 w 11269336"/>
              <a:gd name="connsiteY110" fmla="*/ 1939793 h 2323145"/>
              <a:gd name="connsiteX111" fmla="*/ 5733569 w 11269336"/>
              <a:gd name="connsiteY111" fmla="*/ 1940505 h 2323145"/>
              <a:gd name="connsiteX112" fmla="*/ 5730329 w 11269336"/>
              <a:gd name="connsiteY112" fmla="*/ 1937845 h 2323145"/>
              <a:gd name="connsiteX113" fmla="*/ 5724661 w 11269336"/>
              <a:gd name="connsiteY113" fmla="*/ 1937455 h 2323145"/>
              <a:gd name="connsiteX114" fmla="*/ 5710186 w 11269336"/>
              <a:gd name="connsiteY114" fmla="*/ 1941370 h 2323145"/>
              <a:gd name="connsiteX115" fmla="*/ 5704910 w 11269336"/>
              <a:gd name="connsiteY115" fmla="*/ 1943663 h 2323145"/>
              <a:gd name="connsiteX116" fmla="*/ 5696836 w 11269336"/>
              <a:gd name="connsiteY116" fmla="*/ 1945271 h 2323145"/>
              <a:gd name="connsiteX117" fmla="*/ 5696583 w 11269336"/>
              <a:gd name="connsiteY117" fmla="*/ 1945050 h 2323145"/>
              <a:gd name="connsiteX118" fmla="*/ 5689123 w 11269336"/>
              <a:gd name="connsiteY118" fmla="*/ 1947067 h 2323145"/>
              <a:gd name="connsiteX119" fmla="*/ 5653291 w 11269336"/>
              <a:gd name="connsiteY119" fmla="*/ 1960245 h 2323145"/>
              <a:gd name="connsiteX120" fmla="*/ 5599385 w 11269336"/>
              <a:gd name="connsiteY120" fmla="*/ 1945198 h 2323145"/>
              <a:gd name="connsiteX121" fmla="*/ 5578300 w 11269336"/>
              <a:gd name="connsiteY121" fmla="*/ 1944963 h 2323145"/>
              <a:gd name="connsiteX122" fmla="*/ 5566758 w 11269336"/>
              <a:gd name="connsiteY122" fmla="*/ 1943441 h 2323145"/>
              <a:gd name="connsiteX123" fmla="*/ 5565857 w 11269336"/>
              <a:gd name="connsiteY123" fmla="*/ 1942445 h 2323145"/>
              <a:gd name="connsiteX124" fmla="*/ 5531534 w 11269336"/>
              <a:gd name="connsiteY124" fmla="*/ 1955208 h 2323145"/>
              <a:gd name="connsiteX125" fmla="*/ 5526552 w 11269336"/>
              <a:gd name="connsiteY125" fmla="*/ 1954799 h 2323145"/>
              <a:gd name="connsiteX126" fmla="*/ 5504723 w 11269336"/>
              <a:gd name="connsiteY126" fmla="*/ 1965811 h 2323145"/>
              <a:gd name="connsiteX127" fmla="*/ 5493156 w 11269336"/>
              <a:gd name="connsiteY127" fmla="*/ 1970063 h 2323145"/>
              <a:gd name="connsiteX128" fmla="*/ 5490486 w 11269336"/>
              <a:gd name="connsiteY128" fmla="*/ 1974227 h 2323145"/>
              <a:gd name="connsiteX129" fmla="*/ 5473107 w 11269336"/>
              <a:gd name="connsiteY129" fmla="*/ 1979001 h 2323145"/>
              <a:gd name="connsiteX130" fmla="*/ 5470885 w 11269336"/>
              <a:gd name="connsiteY130" fmla="*/ 1978432 h 2323145"/>
              <a:gd name="connsiteX131" fmla="*/ 5457393 w 11269336"/>
              <a:gd name="connsiteY131" fmla="*/ 1986525 h 2323145"/>
              <a:gd name="connsiteX132" fmla="*/ 5447102 w 11269336"/>
              <a:gd name="connsiteY132" fmla="*/ 1998329 h 2323145"/>
              <a:gd name="connsiteX133" fmla="*/ 5159151 w 11269336"/>
              <a:gd name="connsiteY133" fmla="*/ 2029640 h 2323145"/>
              <a:gd name="connsiteX134" fmla="*/ 5041688 w 11269336"/>
              <a:gd name="connsiteY134" fmla="*/ 2022334 h 2323145"/>
              <a:gd name="connsiteX135" fmla="*/ 4860988 w 11269336"/>
              <a:gd name="connsiteY135" fmla="*/ 2135698 h 2323145"/>
              <a:gd name="connsiteX136" fmla="*/ 4807902 w 11269336"/>
              <a:gd name="connsiteY136" fmla="*/ 2138894 h 2323145"/>
              <a:gd name="connsiteX137" fmla="*/ 4765388 w 11269336"/>
              <a:gd name="connsiteY137" fmla="*/ 2162525 h 2323145"/>
              <a:gd name="connsiteX138" fmla="*/ 4745033 w 11269336"/>
              <a:gd name="connsiteY138" fmla="*/ 2158859 h 2323145"/>
              <a:gd name="connsiteX139" fmla="*/ 4741475 w 11269336"/>
              <a:gd name="connsiteY139" fmla="*/ 2157998 h 2323145"/>
              <a:gd name="connsiteX140" fmla="*/ 4728247 w 11269336"/>
              <a:gd name="connsiteY140" fmla="*/ 2159526 h 2323145"/>
              <a:gd name="connsiteX141" fmla="*/ 4723263 w 11269336"/>
              <a:gd name="connsiteY141" fmla="*/ 2153742 h 2323145"/>
              <a:gd name="connsiteX142" fmla="*/ 4702453 w 11269336"/>
              <a:gd name="connsiteY142" fmla="*/ 2151586 h 2323145"/>
              <a:gd name="connsiteX143" fmla="*/ 4678455 w 11269336"/>
              <a:gd name="connsiteY143" fmla="*/ 2156131 h 2323145"/>
              <a:gd name="connsiteX144" fmla="*/ 4593061 w 11269336"/>
              <a:gd name="connsiteY144" fmla="*/ 2171597 h 2323145"/>
              <a:gd name="connsiteX145" fmla="*/ 4579902 w 11269336"/>
              <a:gd name="connsiteY145" fmla="*/ 2177927 h 2323145"/>
              <a:gd name="connsiteX146" fmla="*/ 4533444 w 11269336"/>
              <a:gd name="connsiteY146" fmla="*/ 2181200 h 2323145"/>
              <a:gd name="connsiteX147" fmla="*/ 4492832 w 11269336"/>
              <a:gd name="connsiteY147" fmla="*/ 2188033 h 2323145"/>
              <a:gd name="connsiteX148" fmla="*/ 4467257 w 11269336"/>
              <a:gd name="connsiteY148" fmla="*/ 2196121 h 2323145"/>
              <a:gd name="connsiteX149" fmla="*/ 4459937 w 11269336"/>
              <a:gd name="connsiteY149" fmla="*/ 2195182 h 2323145"/>
              <a:gd name="connsiteX150" fmla="*/ 4433312 w 11269336"/>
              <a:gd name="connsiteY150" fmla="*/ 2199004 h 2323145"/>
              <a:gd name="connsiteX151" fmla="*/ 4420601 w 11269336"/>
              <a:gd name="connsiteY151" fmla="*/ 2205158 h 2323145"/>
              <a:gd name="connsiteX152" fmla="*/ 4405765 w 11269336"/>
              <a:gd name="connsiteY152" fmla="*/ 2199902 h 2323145"/>
              <a:gd name="connsiteX153" fmla="*/ 4401354 w 11269336"/>
              <a:gd name="connsiteY153" fmla="*/ 2194745 h 2323145"/>
              <a:gd name="connsiteX154" fmla="*/ 4383151 w 11269336"/>
              <a:gd name="connsiteY154" fmla="*/ 2201140 h 2323145"/>
              <a:gd name="connsiteX155" fmla="*/ 4366646 w 11269336"/>
              <a:gd name="connsiteY155" fmla="*/ 2198564 h 2323145"/>
              <a:gd name="connsiteX156" fmla="*/ 4354009 w 11269336"/>
              <a:gd name="connsiteY156" fmla="*/ 2204984 h 2323145"/>
              <a:gd name="connsiteX157" fmla="*/ 4348284 w 11269336"/>
              <a:gd name="connsiteY157" fmla="*/ 2205270 h 2323145"/>
              <a:gd name="connsiteX158" fmla="*/ 4333906 w 11269336"/>
              <a:gd name="connsiteY158" fmla="*/ 2205251 h 2323145"/>
              <a:gd name="connsiteX159" fmla="*/ 4308819 w 11269336"/>
              <a:gd name="connsiteY159" fmla="*/ 2203822 h 2323145"/>
              <a:gd name="connsiteX160" fmla="*/ 4301210 w 11269336"/>
              <a:gd name="connsiteY160" fmla="*/ 2204456 h 2323145"/>
              <a:gd name="connsiteX161" fmla="*/ 4283095 w 11269336"/>
              <a:gd name="connsiteY161" fmla="*/ 2198177 h 2323145"/>
              <a:gd name="connsiteX162" fmla="*/ 4250119 w 11269336"/>
              <a:gd name="connsiteY162" fmla="*/ 2196342 h 2323145"/>
              <a:gd name="connsiteX163" fmla="*/ 4189203 w 11269336"/>
              <a:gd name="connsiteY163" fmla="*/ 2178994 h 2323145"/>
              <a:gd name="connsiteX164" fmla="*/ 4154035 w 11269336"/>
              <a:gd name="connsiteY164" fmla="*/ 2171950 h 2323145"/>
              <a:gd name="connsiteX165" fmla="*/ 4129569 w 11269336"/>
              <a:gd name="connsiteY165" fmla="*/ 2163850 h 2323145"/>
              <a:gd name="connsiteX166" fmla="*/ 4061250 w 11269336"/>
              <a:gd name="connsiteY166" fmla="*/ 2159236 h 2323145"/>
              <a:gd name="connsiteX167" fmla="*/ 3945480 w 11269336"/>
              <a:gd name="connsiteY167" fmla="*/ 2158279 h 2323145"/>
              <a:gd name="connsiteX168" fmla="*/ 3921468 w 11269336"/>
              <a:gd name="connsiteY168" fmla="*/ 2156588 h 2323145"/>
              <a:gd name="connsiteX169" fmla="*/ 3903348 w 11269336"/>
              <a:gd name="connsiteY169" fmla="*/ 2149220 h 2323145"/>
              <a:gd name="connsiteX170" fmla="*/ 3901342 w 11269336"/>
              <a:gd name="connsiteY170" fmla="*/ 2142355 h 2323145"/>
              <a:gd name="connsiteX171" fmla="*/ 3888539 w 11269336"/>
              <a:gd name="connsiteY171" fmla="*/ 2140476 h 2323145"/>
              <a:gd name="connsiteX172" fmla="*/ 3885662 w 11269336"/>
              <a:gd name="connsiteY172" fmla="*/ 2138740 h 2323145"/>
              <a:gd name="connsiteX173" fmla="*/ 3868627 w 11269336"/>
              <a:gd name="connsiteY173" fmla="*/ 2130023 h 2323145"/>
              <a:gd name="connsiteX174" fmla="*/ 3819177 w 11269336"/>
              <a:gd name="connsiteY174" fmla="*/ 2142111 h 2323145"/>
              <a:gd name="connsiteX175" fmla="*/ 3769100 w 11269336"/>
              <a:gd name="connsiteY175" fmla="*/ 2131731 h 2323145"/>
              <a:gd name="connsiteX176" fmla="*/ 3562752 w 11269336"/>
              <a:gd name="connsiteY176" fmla="*/ 2131785 h 2323145"/>
              <a:gd name="connsiteX177" fmla="*/ 3541402 w 11269336"/>
              <a:gd name="connsiteY177" fmla="*/ 2106821 h 2323145"/>
              <a:gd name="connsiteX178" fmla="*/ 3365341 w 11269336"/>
              <a:gd name="connsiteY178" fmla="*/ 2077638 h 2323145"/>
              <a:gd name="connsiteX179" fmla="*/ 3170922 w 11269336"/>
              <a:gd name="connsiteY179" fmla="*/ 2115957 h 2323145"/>
              <a:gd name="connsiteX180" fmla="*/ 3156256 w 11269336"/>
              <a:gd name="connsiteY180" fmla="*/ 2124773 h 2323145"/>
              <a:gd name="connsiteX181" fmla="*/ 3140298 w 11269336"/>
              <a:gd name="connsiteY181" fmla="*/ 2129182 h 2323145"/>
              <a:gd name="connsiteX182" fmla="*/ 3138514 w 11269336"/>
              <a:gd name="connsiteY182" fmla="*/ 2128069 h 2323145"/>
              <a:gd name="connsiteX183" fmla="*/ 3120467 w 11269336"/>
              <a:gd name="connsiteY183" fmla="*/ 2128281 h 2323145"/>
              <a:gd name="connsiteX184" fmla="*/ 3116175 w 11269336"/>
              <a:gd name="connsiteY184" fmla="*/ 2131633 h 2323145"/>
              <a:gd name="connsiteX185" fmla="*/ 3103685 w 11269336"/>
              <a:gd name="connsiteY185" fmla="*/ 2132814 h 2323145"/>
              <a:gd name="connsiteX186" fmla="*/ 3078794 w 11269336"/>
              <a:gd name="connsiteY186" fmla="*/ 2137935 h 2323145"/>
              <a:gd name="connsiteX187" fmla="*/ 3074407 w 11269336"/>
              <a:gd name="connsiteY187" fmla="*/ 2136274 h 2323145"/>
              <a:gd name="connsiteX188" fmla="*/ 3037285 w 11269336"/>
              <a:gd name="connsiteY188" fmla="*/ 2139919 h 2323145"/>
              <a:gd name="connsiteX189" fmla="*/ 3036901 w 11269336"/>
              <a:gd name="connsiteY189" fmla="*/ 2138726 h 2323145"/>
              <a:gd name="connsiteX190" fmla="*/ 3026996 w 11269336"/>
              <a:gd name="connsiteY190" fmla="*/ 2134322 h 2323145"/>
              <a:gd name="connsiteX191" fmla="*/ 3007772 w 11269336"/>
              <a:gd name="connsiteY191" fmla="*/ 2128742 h 2323145"/>
              <a:gd name="connsiteX192" fmla="*/ 2965030 w 11269336"/>
              <a:gd name="connsiteY192" fmla="*/ 2100494 h 2323145"/>
              <a:gd name="connsiteX193" fmla="*/ 2926342 w 11269336"/>
              <a:gd name="connsiteY193" fmla="*/ 2104155 h 2323145"/>
              <a:gd name="connsiteX194" fmla="*/ 2918608 w 11269336"/>
              <a:gd name="connsiteY194" fmla="*/ 2104215 h 2323145"/>
              <a:gd name="connsiteX195" fmla="*/ 2918475 w 11269336"/>
              <a:gd name="connsiteY195" fmla="*/ 2103937 h 2323145"/>
              <a:gd name="connsiteX196" fmla="*/ 2910360 w 11269336"/>
              <a:gd name="connsiteY196" fmla="*/ 2103444 h 2323145"/>
              <a:gd name="connsiteX197" fmla="*/ 2904507 w 11269336"/>
              <a:gd name="connsiteY197" fmla="*/ 2104326 h 2323145"/>
              <a:gd name="connsiteX198" fmla="*/ 2889503 w 11269336"/>
              <a:gd name="connsiteY198" fmla="*/ 2104443 h 2323145"/>
              <a:gd name="connsiteX199" fmla="*/ 2884480 w 11269336"/>
              <a:gd name="connsiteY199" fmla="*/ 2102626 h 2323145"/>
              <a:gd name="connsiteX200" fmla="*/ 2882689 w 11269336"/>
              <a:gd name="connsiteY200" fmla="*/ 2099228 h 2323145"/>
              <a:gd name="connsiteX201" fmla="*/ 2881291 w 11269336"/>
              <a:gd name="connsiteY201" fmla="*/ 2099618 h 2323145"/>
              <a:gd name="connsiteX202" fmla="*/ 2853979 w 11269336"/>
              <a:gd name="connsiteY202" fmla="*/ 2090388 h 2323145"/>
              <a:gd name="connsiteX203" fmla="*/ 2791790 w 11269336"/>
              <a:gd name="connsiteY203" fmla="*/ 2080332 h 2323145"/>
              <a:gd name="connsiteX204" fmla="*/ 2755844 w 11269336"/>
              <a:gd name="connsiteY204" fmla="*/ 2078874 h 2323145"/>
              <a:gd name="connsiteX205" fmla="*/ 2657742 w 11269336"/>
              <a:gd name="connsiteY205" fmla="*/ 2070179 h 2323145"/>
              <a:gd name="connsiteX206" fmla="*/ 2559549 w 11269336"/>
              <a:gd name="connsiteY206" fmla="*/ 2057873 h 2323145"/>
              <a:gd name="connsiteX207" fmla="*/ 2512054 w 11269336"/>
              <a:gd name="connsiteY207" fmla="*/ 2031671 h 2323145"/>
              <a:gd name="connsiteX208" fmla="*/ 2506437 w 11269336"/>
              <a:gd name="connsiteY208" fmla="*/ 2030918 h 2323145"/>
              <a:gd name="connsiteX209" fmla="*/ 2491752 w 11269336"/>
              <a:gd name="connsiteY209" fmla="*/ 2033906 h 2323145"/>
              <a:gd name="connsiteX210" fmla="*/ 2486338 w 11269336"/>
              <a:gd name="connsiteY210" fmla="*/ 2035862 h 2323145"/>
              <a:gd name="connsiteX211" fmla="*/ 2478186 w 11269336"/>
              <a:gd name="connsiteY211" fmla="*/ 2036953 h 2323145"/>
              <a:gd name="connsiteX212" fmla="*/ 2477950 w 11269336"/>
              <a:gd name="connsiteY212" fmla="*/ 2036715 h 2323145"/>
              <a:gd name="connsiteX213" fmla="*/ 2470381 w 11269336"/>
              <a:gd name="connsiteY213" fmla="*/ 2038256 h 2323145"/>
              <a:gd name="connsiteX214" fmla="*/ 2433781 w 11269336"/>
              <a:gd name="connsiteY214" fmla="*/ 2049140 h 2323145"/>
              <a:gd name="connsiteX215" fmla="*/ 2381172 w 11269336"/>
              <a:gd name="connsiteY215" fmla="*/ 2030645 h 2323145"/>
              <a:gd name="connsiteX216" fmla="*/ 2360198 w 11269336"/>
              <a:gd name="connsiteY216" fmla="*/ 2029059 h 2323145"/>
              <a:gd name="connsiteX217" fmla="*/ 2348815 w 11269336"/>
              <a:gd name="connsiteY217" fmla="*/ 2026798 h 2323145"/>
              <a:gd name="connsiteX218" fmla="*/ 2347988 w 11269336"/>
              <a:gd name="connsiteY218" fmla="*/ 2025745 h 2323145"/>
              <a:gd name="connsiteX219" fmla="*/ 2312920 w 11269336"/>
              <a:gd name="connsiteY219" fmla="*/ 2036311 h 2323145"/>
              <a:gd name="connsiteX220" fmla="*/ 2307986 w 11269336"/>
              <a:gd name="connsiteY220" fmla="*/ 2035583 h 2323145"/>
              <a:gd name="connsiteX221" fmla="*/ 2285481 w 11269336"/>
              <a:gd name="connsiteY221" fmla="*/ 2045197 h 2323145"/>
              <a:gd name="connsiteX222" fmla="*/ 2273666 w 11269336"/>
              <a:gd name="connsiteY222" fmla="*/ 2048710 h 2323145"/>
              <a:gd name="connsiteX223" fmla="*/ 2270719 w 11269336"/>
              <a:gd name="connsiteY223" fmla="*/ 2052702 h 2323145"/>
              <a:gd name="connsiteX224" fmla="*/ 2253080 w 11269336"/>
              <a:gd name="connsiteY224" fmla="*/ 2056363 h 2323145"/>
              <a:gd name="connsiteX225" fmla="*/ 2250906 w 11269336"/>
              <a:gd name="connsiteY225" fmla="*/ 2055654 h 2323145"/>
              <a:gd name="connsiteX226" fmla="*/ 2236905 w 11269336"/>
              <a:gd name="connsiteY226" fmla="*/ 2062882 h 2323145"/>
              <a:gd name="connsiteX227" fmla="*/ 2225830 w 11269336"/>
              <a:gd name="connsiteY227" fmla="*/ 2074027 h 2323145"/>
              <a:gd name="connsiteX228" fmla="*/ 2073776 w 11269336"/>
              <a:gd name="connsiteY228" fmla="*/ 2089244 h 2323145"/>
              <a:gd name="connsiteX229" fmla="*/ 1948256 w 11269336"/>
              <a:gd name="connsiteY229" fmla="*/ 2146616 h 2323145"/>
              <a:gd name="connsiteX230" fmla="*/ 1865582 w 11269336"/>
              <a:gd name="connsiteY230" fmla="*/ 2153738 h 2323145"/>
              <a:gd name="connsiteX231" fmla="*/ 1835210 w 11269336"/>
              <a:gd name="connsiteY231" fmla="*/ 2134244 h 2323145"/>
              <a:gd name="connsiteX232" fmla="*/ 1632661 w 11269336"/>
              <a:gd name="connsiteY232" fmla="*/ 2173882 h 2323145"/>
              <a:gd name="connsiteX233" fmla="*/ 1579590 w 11269336"/>
              <a:gd name="connsiteY233" fmla="*/ 2173680 h 2323145"/>
              <a:gd name="connsiteX234" fmla="*/ 1535601 w 11269336"/>
              <a:gd name="connsiteY234" fmla="*/ 2194590 h 2323145"/>
              <a:gd name="connsiteX235" fmla="*/ 1515594 w 11269336"/>
              <a:gd name="connsiteY235" fmla="*/ 2189622 h 2323145"/>
              <a:gd name="connsiteX236" fmla="*/ 1512113 w 11269336"/>
              <a:gd name="connsiteY236" fmla="*/ 2188534 h 2323145"/>
              <a:gd name="connsiteX237" fmla="*/ 1498838 w 11269336"/>
              <a:gd name="connsiteY237" fmla="*/ 2189213 h 2323145"/>
              <a:gd name="connsiteX238" fmla="*/ 1494279 w 11269336"/>
              <a:gd name="connsiteY238" fmla="*/ 2183112 h 2323145"/>
              <a:gd name="connsiteX239" fmla="*/ 1473714 w 11269336"/>
              <a:gd name="connsiteY239" fmla="*/ 2179625 h 2323145"/>
              <a:gd name="connsiteX240" fmla="*/ 1449503 w 11269336"/>
              <a:gd name="connsiteY240" fmla="*/ 2182633 h 2323145"/>
              <a:gd name="connsiteX241" fmla="*/ 1266687 w 11269336"/>
              <a:gd name="connsiteY241" fmla="*/ 2212688 h 2323145"/>
              <a:gd name="connsiteX242" fmla="*/ 1239614 w 11269336"/>
              <a:gd name="connsiteY242" fmla="*/ 2209727 h 2323145"/>
              <a:gd name="connsiteX243" fmla="*/ 1202436 w 11269336"/>
              <a:gd name="connsiteY243" fmla="*/ 2209817 h 2323145"/>
              <a:gd name="connsiteX244" fmla="*/ 1136097 w 11269336"/>
              <a:gd name="connsiteY244" fmla="*/ 2205112 h 2323145"/>
              <a:gd name="connsiteX245" fmla="*/ 988232 w 11269336"/>
              <a:gd name="connsiteY245" fmla="*/ 2235635 h 2323145"/>
              <a:gd name="connsiteX246" fmla="*/ 981959 w 11269336"/>
              <a:gd name="connsiteY246" fmla="*/ 2231607 h 2323145"/>
              <a:gd name="connsiteX247" fmla="*/ 938600 w 11269336"/>
              <a:gd name="connsiteY247" fmla="*/ 2238113 h 2323145"/>
              <a:gd name="connsiteX248" fmla="*/ 791788 w 11269336"/>
              <a:gd name="connsiteY248" fmla="*/ 2293224 h 2323145"/>
              <a:gd name="connsiteX249" fmla="*/ 706914 w 11269336"/>
              <a:gd name="connsiteY249" fmla="*/ 2305046 h 2323145"/>
              <a:gd name="connsiteX250" fmla="*/ 675971 w 11269336"/>
              <a:gd name="connsiteY250" fmla="*/ 2304030 h 2323145"/>
              <a:gd name="connsiteX251" fmla="*/ 624180 w 11269336"/>
              <a:gd name="connsiteY251" fmla="*/ 2302650 h 2323145"/>
              <a:gd name="connsiteX252" fmla="*/ 583453 w 11269336"/>
              <a:gd name="connsiteY252" fmla="*/ 2288788 h 2323145"/>
              <a:gd name="connsiteX253" fmla="*/ 540946 w 11269336"/>
              <a:gd name="connsiteY253" fmla="*/ 2292721 h 2323145"/>
              <a:gd name="connsiteX254" fmla="*/ 533680 w 11269336"/>
              <a:gd name="connsiteY254" fmla="*/ 2310233 h 2323145"/>
              <a:gd name="connsiteX255" fmla="*/ 487366 w 11269336"/>
              <a:gd name="connsiteY255" fmla="*/ 2309053 h 2323145"/>
              <a:gd name="connsiteX256" fmla="*/ 416820 w 11269336"/>
              <a:gd name="connsiteY256" fmla="*/ 2305443 h 2323145"/>
              <a:gd name="connsiteX257" fmla="*/ 376805 w 11269336"/>
              <a:gd name="connsiteY257" fmla="*/ 2307647 h 2323145"/>
              <a:gd name="connsiteX258" fmla="*/ 266777 w 11269336"/>
              <a:gd name="connsiteY258" fmla="*/ 2309012 h 2323145"/>
              <a:gd name="connsiteX259" fmla="*/ 156013 w 11269336"/>
              <a:gd name="connsiteY259" fmla="*/ 2306832 h 2323145"/>
              <a:gd name="connsiteX260" fmla="*/ 87258 w 11269336"/>
              <a:gd name="connsiteY260" fmla="*/ 2285511 h 2323145"/>
              <a:gd name="connsiteX261" fmla="*/ 23798 w 11269336"/>
              <a:gd name="connsiteY261" fmla="*/ 2281822 h 2323145"/>
              <a:gd name="connsiteX262" fmla="*/ 0 w 11269336"/>
              <a:gd name="connsiteY262" fmla="*/ 2285369 h 2323145"/>
              <a:gd name="connsiteX263" fmla="*/ 0 w 11269336"/>
              <a:gd name="connsiteY26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9062863 w 11269336"/>
              <a:gd name="connsiteY22" fmla="*/ 754656 h 2323145"/>
              <a:gd name="connsiteX23" fmla="*/ 8914746 w 11269336"/>
              <a:gd name="connsiteY23" fmla="*/ 826428 h 2323145"/>
              <a:gd name="connsiteX24" fmla="*/ 8917778 w 11269336"/>
              <a:gd name="connsiteY24" fmla="*/ 835198 h 2323145"/>
              <a:gd name="connsiteX25" fmla="*/ 8905560 w 11269336"/>
              <a:gd name="connsiteY25" fmla="*/ 838358 h 2323145"/>
              <a:gd name="connsiteX26" fmla="*/ 8897564 w 11269336"/>
              <a:gd name="connsiteY26" fmla="*/ 834287 h 2323145"/>
              <a:gd name="connsiteX27" fmla="*/ 8878040 w 11269336"/>
              <a:gd name="connsiteY27" fmla="*/ 844150 h 2323145"/>
              <a:gd name="connsiteX28" fmla="*/ 8795998 w 11269336"/>
              <a:gd name="connsiteY28" fmla="*/ 863337 h 2323145"/>
              <a:gd name="connsiteX29" fmla="*/ 8776970 w 11269336"/>
              <a:gd name="connsiteY29" fmla="*/ 885177 h 2323145"/>
              <a:gd name="connsiteX30" fmla="*/ 8755719 w 11269336"/>
              <a:gd name="connsiteY30" fmla="*/ 889754 h 2323145"/>
              <a:gd name="connsiteX31" fmla="*/ 8743257 w 11269336"/>
              <a:gd name="connsiteY31" fmla="*/ 904723 h 2323145"/>
              <a:gd name="connsiteX32" fmla="*/ 8721366 w 11269336"/>
              <a:gd name="connsiteY32" fmla="*/ 904711 h 2323145"/>
              <a:gd name="connsiteX33" fmla="*/ 8678353 w 11269336"/>
              <a:gd name="connsiteY33" fmla="*/ 926318 h 2323145"/>
              <a:gd name="connsiteX34" fmla="*/ 8636849 w 11269336"/>
              <a:gd name="connsiteY34" fmla="*/ 937900 h 2323145"/>
              <a:gd name="connsiteX35" fmla="*/ 8620213 w 11269336"/>
              <a:gd name="connsiteY35" fmla="*/ 943068 h 2323145"/>
              <a:gd name="connsiteX36" fmla="*/ 8612581 w 11269336"/>
              <a:gd name="connsiteY36" fmla="*/ 952695 h 2323145"/>
              <a:gd name="connsiteX37" fmla="*/ 8589038 w 11269336"/>
              <a:gd name="connsiteY37" fmla="*/ 963892 h 2323145"/>
              <a:gd name="connsiteX38" fmla="*/ 8579950 w 11269336"/>
              <a:gd name="connsiteY38" fmla="*/ 960899 h 2323145"/>
              <a:gd name="connsiteX39" fmla="*/ 8579319 w 11269336"/>
              <a:gd name="connsiteY39" fmla="*/ 965630 h 2323145"/>
              <a:gd name="connsiteX40" fmla="*/ 8547429 w 11269336"/>
              <a:gd name="connsiteY40" fmla="*/ 984506 h 2323145"/>
              <a:gd name="connsiteX41" fmla="*/ 8478704 w 11269336"/>
              <a:gd name="connsiteY41" fmla="*/ 1025490 h 2323145"/>
              <a:gd name="connsiteX42" fmla="*/ 8461421 w 11269336"/>
              <a:gd name="connsiteY42" fmla="*/ 1035512 h 2323145"/>
              <a:gd name="connsiteX43" fmla="*/ 8445003 w 11269336"/>
              <a:gd name="connsiteY43" fmla="*/ 1036851 h 2323145"/>
              <a:gd name="connsiteX44" fmla="*/ 8357350 w 11269336"/>
              <a:gd name="connsiteY44" fmla="*/ 1060213 h 2323145"/>
              <a:gd name="connsiteX45" fmla="*/ 8335565 w 11269336"/>
              <a:gd name="connsiteY45" fmla="*/ 1061151 h 2323145"/>
              <a:gd name="connsiteX46" fmla="*/ 8325267 w 11269336"/>
              <a:gd name="connsiteY46" fmla="*/ 1055919 h 2323145"/>
              <a:gd name="connsiteX47" fmla="*/ 8293586 w 11269336"/>
              <a:gd name="connsiteY47" fmla="*/ 1076144 h 2323145"/>
              <a:gd name="connsiteX48" fmla="*/ 8242405 w 11269336"/>
              <a:gd name="connsiteY48" fmla="*/ 1095960 h 2323145"/>
              <a:gd name="connsiteX49" fmla="*/ 8197391 w 11269336"/>
              <a:gd name="connsiteY49" fmla="*/ 1107746 h 2323145"/>
              <a:gd name="connsiteX50" fmla="*/ 8081474 w 11269336"/>
              <a:gd name="connsiteY50" fmla="*/ 1130125 h 2323145"/>
              <a:gd name="connsiteX51" fmla="*/ 8053585 w 11269336"/>
              <a:gd name="connsiteY51" fmla="*/ 1129169 h 2323145"/>
              <a:gd name="connsiteX52" fmla="*/ 8038422 w 11269336"/>
              <a:gd name="connsiteY52" fmla="*/ 1119092 h 2323145"/>
              <a:gd name="connsiteX53" fmla="*/ 8029450 w 11269336"/>
              <a:gd name="connsiteY53" fmla="*/ 1125592 h 2323145"/>
              <a:gd name="connsiteX54" fmla="*/ 7959552 w 11269336"/>
              <a:gd name="connsiteY54" fmla="*/ 1140188 h 2323145"/>
              <a:gd name="connsiteX55" fmla="*/ 7914188 w 11269336"/>
              <a:gd name="connsiteY55" fmla="*/ 1150862 h 2323145"/>
              <a:gd name="connsiteX56" fmla="*/ 7914918 w 11269336"/>
              <a:gd name="connsiteY56" fmla="*/ 1168758 h 2323145"/>
              <a:gd name="connsiteX57" fmla="*/ 7875510 w 11269336"/>
              <a:gd name="connsiteY57" fmla="*/ 1183153 h 2323145"/>
              <a:gd name="connsiteX58" fmla="*/ 7829932 w 11269336"/>
              <a:gd name="connsiteY58" fmla="*/ 1180782 h 2323145"/>
              <a:gd name="connsiteX59" fmla="*/ 7779182 w 11269336"/>
              <a:gd name="connsiteY59" fmla="*/ 1192665 h 2323145"/>
              <a:gd name="connsiteX60" fmla="*/ 7748774 w 11269336"/>
              <a:gd name="connsiteY60" fmla="*/ 1199586 h 2323145"/>
              <a:gd name="connsiteX61" fmla="*/ 7671846 w 11269336"/>
              <a:gd name="connsiteY61" fmla="*/ 1231966 h 2323145"/>
              <a:gd name="connsiteX62" fmla="*/ 7554146 w 11269336"/>
              <a:gd name="connsiteY62" fmla="*/ 1319748 h 2323145"/>
              <a:gd name="connsiteX63" fmla="*/ 7515052 w 11269336"/>
              <a:gd name="connsiteY63" fmla="*/ 1336718 h 2323145"/>
              <a:gd name="connsiteX64" fmla="*/ 7507193 w 11269336"/>
              <a:gd name="connsiteY64" fmla="*/ 1334617 h 2323145"/>
              <a:gd name="connsiteX65" fmla="*/ 7461694 w 11269336"/>
              <a:gd name="connsiteY65" fmla="*/ 1375866 h 2323145"/>
              <a:gd name="connsiteX66" fmla="*/ 7377571 w 11269336"/>
              <a:gd name="connsiteY66" fmla="*/ 1400128 h 2323145"/>
              <a:gd name="connsiteX67" fmla="*/ 7311261 w 11269336"/>
              <a:gd name="connsiteY67" fmla="*/ 1412652 h 2323145"/>
              <a:gd name="connsiteX68" fmla="*/ 7275307 w 11269336"/>
              <a:gd name="connsiteY68" fmla="*/ 1422171 h 2323145"/>
              <a:gd name="connsiteX69" fmla="*/ 7247783 w 11269336"/>
              <a:gd name="connsiteY69" fmla="*/ 1426330 h 2323145"/>
              <a:gd name="connsiteX70" fmla="*/ 7185047 w 11269336"/>
              <a:gd name="connsiteY70" fmla="*/ 1451812 h 2323145"/>
              <a:gd name="connsiteX71" fmla="*/ 7084117 w 11269336"/>
              <a:gd name="connsiteY71" fmla="*/ 1500281 h 2323145"/>
              <a:gd name="connsiteX72" fmla="*/ 7062011 w 11269336"/>
              <a:gd name="connsiteY72" fmla="*/ 1509183 h 2323145"/>
              <a:gd name="connsiteX73" fmla="*/ 7040555 w 11269336"/>
              <a:gd name="connsiteY73" fmla="*/ 1511207 h 2323145"/>
              <a:gd name="connsiteX74" fmla="*/ 7033438 w 11269336"/>
              <a:gd name="connsiteY74" fmla="*/ 1506772 h 2323145"/>
              <a:gd name="connsiteX75" fmla="*/ 7020886 w 11269336"/>
              <a:gd name="connsiteY75" fmla="*/ 1510764 h 2323145"/>
              <a:gd name="connsiteX76" fmla="*/ 7017033 w 11269336"/>
              <a:gd name="connsiteY76" fmla="*/ 1510650 h 2323145"/>
              <a:gd name="connsiteX77" fmla="*/ 6995460 w 11269336"/>
              <a:gd name="connsiteY77" fmla="*/ 1511173 h 2323145"/>
              <a:gd name="connsiteX78" fmla="*/ 6962144 w 11269336"/>
              <a:gd name="connsiteY78" fmla="*/ 1541508 h 2323145"/>
              <a:gd name="connsiteX79" fmla="*/ 6910674 w 11269336"/>
              <a:gd name="connsiteY79" fmla="*/ 1554793 h 2323145"/>
              <a:gd name="connsiteX80" fmla="*/ 6732152 w 11269336"/>
              <a:gd name="connsiteY80" fmla="*/ 1642538 h 2323145"/>
              <a:gd name="connsiteX81" fmla="*/ 6694106 w 11269336"/>
              <a:gd name="connsiteY81" fmla="*/ 1632377 h 2323145"/>
              <a:gd name="connsiteX82" fmla="*/ 6617223 w 11269336"/>
              <a:gd name="connsiteY82" fmla="*/ 1659889 h 2323145"/>
              <a:gd name="connsiteX83" fmla="*/ 6521138 w 11269336"/>
              <a:gd name="connsiteY83" fmla="*/ 1744340 h 2323145"/>
              <a:gd name="connsiteX84" fmla="*/ 6380677 w 11269336"/>
              <a:gd name="connsiteY84" fmla="*/ 1796883 h 2323145"/>
              <a:gd name="connsiteX85" fmla="*/ 6374897 w 11269336"/>
              <a:gd name="connsiteY85" fmla="*/ 1809910 h 2323145"/>
              <a:gd name="connsiteX86" fmla="*/ 6364545 w 11269336"/>
              <a:gd name="connsiteY86" fmla="*/ 1820090 h 2323145"/>
              <a:gd name="connsiteX87" fmla="*/ 6362126 w 11269336"/>
              <a:gd name="connsiteY87" fmla="*/ 1819991 h 2323145"/>
              <a:gd name="connsiteX88" fmla="*/ 6346673 w 11269336"/>
              <a:gd name="connsiteY88" fmla="*/ 1827824 h 2323145"/>
              <a:gd name="connsiteX89" fmla="*/ 6345588 w 11269336"/>
              <a:gd name="connsiteY89" fmla="*/ 1832232 h 2323145"/>
              <a:gd name="connsiteX90" fmla="*/ 6335708 w 11269336"/>
              <a:gd name="connsiteY90" fmla="*/ 1838451 h 2323145"/>
              <a:gd name="connsiteX91" fmla="*/ 6318182 w 11269336"/>
              <a:gd name="connsiteY91" fmla="*/ 1852975 h 2323145"/>
              <a:gd name="connsiteX92" fmla="*/ 6313084 w 11269336"/>
              <a:gd name="connsiteY92" fmla="*/ 1853561 h 2323145"/>
              <a:gd name="connsiteX93" fmla="*/ 6283816 w 11269336"/>
              <a:gd name="connsiteY93" fmla="*/ 1872148 h 2323145"/>
              <a:gd name="connsiteX94" fmla="*/ 6282550 w 11269336"/>
              <a:gd name="connsiteY94" fmla="*/ 1871392 h 2323145"/>
              <a:gd name="connsiteX95" fmla="*/ 6270527 w 11269336"/>
              <a:gd name="connsiteY95" fmla="*/ 1872208 h 2323145"/>
              <a:gd name="connsiteX96" fmla="*/ 6249518 w 11269336"/>
              <a:gd name="connsiteY96" fmla="*/ 1876079 h 2323145"/>
              <a:gd name="connsiteX97" fmla="*/ 6190386 w 11269336"/>
              <a:gd name="connsiteY97" fmla="*/ 1872478 h 2323145"/>
              <a:gd name="connsiteX98" fmla="*/ 6159777 w 11269336"/>
              <a:gd name="connsiteY98" fmla="*/ 1891745 h 2323145"/>
              <a:gd name="connsiteX99" fmla="*/ 6153131 w 11269336"/>
              <a:gd name="connsiteY99" fmla="*/ 1895079 h 2323145"/>
              <a:gd name="connsiteX100" fmla="*/ 6152798 w 11269336"/>
              <a:gd name="connsiteY100" fmla="*/ 1894920 h 2323145"/>
              <a:gd name="connsiteX101" fmla="*/ 6145388 w 11269336"/>
              <a:gd name="connsiteY101" fmla="*/ 1897990 h 2323145"/>
              <a:gd name="connsiteX102" fmla="*/ 6141014 w 11269336"/>
              <a:gd name="connsiteY102" fmla="*/ 1901155 h 2323145"/>
              <a:gd name="connsiteX103" fmla="*/ 6128122 w 11269336"/>
              <a:gd name="connsiteY103" fmla="*/ 1907623 h 2323145"/>
              <a:gd name="connsiteX104" fmla="*/ 6122351 w 11269336"/>
              <a:gd name="connsiteY104" fmla="*/ 1908359 h 2323145"/>
              <a:gd name="connsiteX105" fmla="*/ 6064750 w 11269336"/>
              <a:gd name="connsiteY105" fmla="*/ 1896394 h 2323145"/>
              <a:gd name="connsiteX106" fmla="*/ 5964230 w 11269336"/>
              <a:gd name="connsiteY106" fmla="*/ 1910038 h 2323145"/>
              <a:gd name="connsiteX107" fmla="*/ 5865399 w 11269336"/>
              <a:gd name="connsiteY107" fmla="*/ 1926966 h 2323145"/>
              <a:gd name="connsiteX108" fmla="*/ 5829951 w 11269336"/>
              <a:gd name="connsiteY108" fmla="*/ 1934755 h 2323145"/>
              <a:gd name="connsiteX109" fmla="*/ 5765285 w 11269336"/>
              <a:gd name="connsiteY109" fmla="*/ 1941322 h 2323145"/>
              <a:gd name="connsiteX110" fmla="*/ 5734750 w 11269336"/>
              <a:gd name="connsiteY110" fmla="*/ 1939793 h 2323145"/>
              <a:gd name="connsiteX111" fmla="*/ 5733569 w 11269336"/>
              <a:gd name="connsiteY111" fmla="*/ 1940505 h 2323145"/>
              <a:gd name="connsiteX112" fmla="*/ 5730329 w 11269336"/>
              <a:gd name="connsiteY112" fmla="*/ 1937845 h 2323145"/>
              <a:gd name="connsiteX113" fmla="*/ 5724661 w 11269336"/>
              <a:gd name="connsiteY113" fmla="*/ 1937455 h 2323145"/>
              <a:gd name="connsiteX114" fmla="*/ 5710186 w 11269336"/>
              <a:gd name="connsiteY114" fmla="*/ 1941370 h 2323145"/>
              <a:gd name="connsiteX115" fmla="*/ 5704910 w 11269336"/>
              <a:gd name="connsiteY115" fmla="*/ 1943663 h 2323145"/>
              <a:gd name="connsiteX116" fmla="*/ 5696836 w 11269336"/>
              <a:gd name="connsiteY116" fmla="*/ 1945271 h 2323145"/>
              <a:gd name="connsiteX117" fmla="*/ 5696583 w 11269336"/>
              <a:gd name="connsiteY117" fmla="*/ 1945050 h 2323145"/>
              <a:gd name="connsiteX118" fmla="*/ 5689123 w 11269336"/>
              <a:gd name="connsiteY118" fmla="*/ 1947067 h 2323145"/>
              <a:gd name="connsiteX119" fmla="*/ 5653291 w 11269336"/>
              <a:gd name="connsiteY119" fmla="*/ 1960245 h 2323145"/>
              <a:gd name="connsiteX120" fmla="*/ 5599385 w 11269336"/>
              <a:gd name="connsiteY120" fmla="*/ 1945198 h 2323145"/>
              <a:gd name="connsiteX121" fmla="*/ 5578300 w 11269336"/>
              <a:gd name="connsiteY121" fmla="*/ 1944963 h 2323145"/>
              <a:gd name="connsiteX122" fmla="*/ 5566758 w 11269336"/>
              <a:gd name="connsiteY122" fmla="*/ 1943441 h 2323145"/>
              <a:gd name="connsiteX123" fmla="*/ 5565857 w 11269336"/>
              <a:gd name="connsiteY123" fmla="*/ 1942445 h 2323145"/>
              <a:gd name="connsiteX124" fmla="*/ 5531534 w 11269336"/>
              <a:gd name="connsiteY124" fmla="*/ 1955208 h 2323145"/>
              <a:gd name="connsiteX125" fmla="*/ 5526552 w 11269336"/>
              <a:gd name="connsiteY125" fmla="*/ 1954799 h 2323145"/>
              <a:gd name="connsiteX126" fmla="*/ 5504723 w 11269336"/>
              <a:gd name="connsiteY126" fmla="*/ 1965811 h 2323145"/>
              <a:gd name="connsiteX127" fmla="*/ 5493156 w 11269336"/>
              <a:gd name="connsiteY127" fmla="*/ 1970063 h 2323145"/>
              <a:gd name="connsiteX128" fmla="*/ 5490486 w 11269336"/>
              <a:gd name="connsiteY128" fmla="*/ 1974227 h 2323145"/>
              <a:gd name="connsiteX129" fmla="*/ 5473107 w 11269336"/>
              <a:gd name="connsiteY129" fmla="*/ 1979001 h 2323145"/>
              <a:gd name="connsiteX130" fmla="*/ 5470885 w 11269336"/>
              <a:gd name="connsiteY130" fmla="*/ 1978432 h 2323145"/>
              <a:gd name="connsiteX131" fmla="*/ 5457393 w 11269336"/>
              <a:gd name="connsiteY131" fmla="*/ 1986525 h 2323145"/>
              <a:gd name="connsiteX132" fmla="*/ 5447102 w 11269336"/>
              <a:gd name="connsiteY132" fmla="*/ 1998329 h 2323145"/>
              <a:gd name="connsiteX133" fmla="*/ 5159151 w 11269336"/>
              <a:gd name="connsiteY133" fmla="*/ 2029640 h 2323145"/>
              <a:gd name="connsiteX134" fmla="*/ 5041688 w 11269336"/>
              <a:gd name="connsiteY134" fmla="*/ 2022334 h 2323145"/>
              <a:gd name="connsiteX135" fmla="*/ 4860988 w 11269336"/>
              <a:gd name="connsiteY135" fmla="*/ 2135698 h 2323145"/>
              <a:gd name="connsiteX136" fmla="*/ 4807902 w 11269336"/>
              <a:gd name="connsiteY136" fmla="*/ 2138894 h 2323145"/>
              <a:gd name="connsiteX137" fmla="*/ 4765388 w 11269336"/>
              <a:gd name="connsiteY137" fmla="*/ 2162525 h 2323145"/>
              <a:gd name="connsiteX138" fmla="*/ 4745033 w 11269336"/>
              <a:gd name="connsiteY138" fmla="*/ 2158859 h 2323145"/>
              <a:gd name="connsiteX139" fmla="*/ 4741475 w 11269336"/>
              <a:gd name="connsiteY139" fmla="*/ 2157998 h 2323145"/>
              <a:gd name="connsiteX140" fmla="*/ 4728247 w 11269336"/>
              <a:gd name="connsiteY140" fmla="*/ 2159526 h 2323145"/>
              <a:gd name="connsiteX141" fmla="*/ 4723263 w 11269336"/>
              <a:gd name="connsiteY141" fmla="*/ 2153742 h 2323145"/>
              <a:gd name="connsiteX142" fmla="*/ 4702453 w 11269336"/>
              <a:gd name="connsiteY142" fmla="*/ 2151586 h 2323145"/>
              <a:gd name="connsiteX143" fmla="*/ 4678455 w 11269336"/>
              <a:gd name="connsiteY143" fmla="*/ 2156131 h 2323145"/>
              <a:gd name="connsiteX144" fmla="*/ 4593061 w 11269336"/>
              <a:gd name="connsiteY144" fmla="*/ 2171597 h 2323145"/>
              <a:gd name="connsiteX145" fmla="*/ 4579902 w 11269336"/>
              <a:gd name="connsiteY145" fmla="*/ 2177927 h 2323145"/>
              <a:gd name="connsiteX146" fmla="*/ 4533444 w 11269336"/>
              <a:gd name="connsiteY146" fmla="*/ 2181200 h 2323145"/>
              <a:gd name="connsiteX147" fmla="*/ 4492832 w 11269336"/>
              <a:gd name="connsiteY147" fmla="*/ 2188033 h 2323145"/>
              <a:gd name="connsiteX148" fmla="*/ 4467257 w 11269336"/>
              <a:gd name="connsiteY148" fmla="*/ 2196121 h 2323145"/>
              <a:gd name="connsiteX149" fmla="*/ 4459937 w 11269336"/>
              <a:gd name="connsiteY149" fmla="*/ 2195182 h 2323145"/>
              <a:gd name="connsiteX150" fmla="*/ 4433312 w 11269336"/>
              <a:gd name="connsiteY150" fmla="*/ 2199004 h 2323145"/>
              <a:gd name="connsiteX151" fmla="*/ 4420601 w 11269336"/>
              <a:gd name="connsiteY151" fmla="*/ 2205158 h 2323145"/>
              <a:gd name="connsiteX152" fmla="*/ 4405765 w 11269336"/>
              <a:gd name="connsiteY152" fmla="*/ 2199902 h 2323145"/>
              <a:gd name="connsiteX153" fmla="*/ 4401354 w 11269336"/>
              <a:gd name="connsiteY153" fmla="*/ 2194745 h 2323145"/>
              <a:gd name="connsiteX154" fmla="*/ 4383151 w 11269336"/>
              <a:gd name="connsiteY154" fmla="*/ 2201140 h 2323145"/>
              <a:gd name="connsiteX155" fmla="*/ 4366646 w 11269336"/>
              <a:gd name="connsiteY155" fmla="*/ 2198564 h 2323145"/>
              <a:gd name="connsiteX156" fmla="*/ 4354009 w 11269336"/>
              <a:gd name="connsiteY156" fmla="*/ 2204984 h 2323145"/>
              <a:gd name="connsiteX157" fmla="*/ 4348284 w 11269336"/>
              <a:gd name="connsiteY157" fmla="*/ 2205270 h 2323145"/>
              <a:gd name="connsiteX158" fmla="*/ 4333906 w 11269336"/>
              <a:gd name="connsiteY158" fmla="*/ 2205251 h 2323145"/>
              <a:gd name="connsiteX159" fmla="*/ 4308819 w 11269336"/>
              <a:gd name="connsiteY159" fmla="*/ 2203822 h 2323145"/>
              <a:gd name="connsiteX160" fmla="*/ 4301210 w 11269336"/>
              <a:gd name="connsiteY160" fmla="*/ 2204456 h 2323145"/>
              <a:gd name="connsiteX161" fmla="*/ 4283095 w 11269336"/>
              <a:gd name="connsiteY161" fmla="*/ 2198177 h 2323145"/>
              <a:gd name="connsiteX162" fmla="*/ 4250119 w 11269336"/>
              <a:gd name="connsiteY162" fmla="*/ 2196342 h 2323145"/>
              <a:gd name="connsiteX163" fmla="*/ 4189203 w 11269336"/>
              <a:gd name="connsiteY163" fmla="*/ 2178994 h 2323145"/>
              <a:gd name="connsiteX164" fmla="*/ 4154035 w 11269336"/>
              <a:gd name="connsiteY164" fmla="*/ 2171950 h 2323145"/>
              <a:gd name="connsiteX165" fmla="*/ 4129569 w 11269336"/>
              <a:gd name="connsiteY165" fmla="*/ 2163850 h 2323145"/>
              <a:gd name="connsiteX166" fmla="*/ 4061250 w 11269336"/>
              <a:gd name="connsiteY166" fmla="*/ 2159236 h 2323145"/>
              <a:gd name="connsiteX167" fmla="*/ 3945480 w 11269336"/>
              <a:gd name="connsiteY167" fmla="*/ 2158279 h 2323145"/>
              <a:gd name="connsiteX168" fmla="*/ 3921468 w 11269336"/>
              <a:gd name="connsiteY168" fmla="*/ 2156588 h 2323145"/>
              <a:gd name="connsiteX169" fmla="*/ 3903348 w 11269336"/>
              <a:gd name="connsiteY169" fmla="*/ 2149220 h 2323145"/>
              <a:gd name="connsiteX170" fmla="*/ 3901342 w 11269336"/>
              <a:gd name="connsiteY170" fmla="*/ 2142355 h 2323145"/>
              <a:gd name="connsiteX171" fmla="*/ 3888539 w 11269336"/>
              <a:gd name="connsiteY171" fmla="*/ 2140476 h 2323145"/>
              <a:gd name="connsiteX172" fmla="*/ 3885662 w 11269336"/>
              <a:gd name="connsiteY172" fmla="*/ 2138740 h 2323145"/>
              <a:gd name="connsiteX173" fmla="*/ 3868627 w 11269336"/>
              <a:gd name="connsiteY173" fmla="*/ 2130023 h 2323145"/>
              <a:gd name="connsiteX174" fmla="*/ 3819177 w 11269336"/>
              <a:gd name="connsiteY174" fmla="*/ 2142111 h 2323145"/>
              <a:gd name="connsiteX175" fmla="*/ 3769100 w 11269336"/>
              <a:gd name="connsiteY175" fmla="*/ 2131731 h 2323145"/>
              <a:gd name="connsiteX176" fmla="*/ 3562752 w 11269336"/>
              <a:gd name="connsiteY176" fmla="*/ 2131785 h 2323145"/>
              <a:gd name="connsiteX177" fmla="*/ 3541402 w 11269336"/>
              <a:gd name="connsiteY177" fmla="*/ 2106821 h 2323145"/>
              <a:gd name="connsiteX178" fmla="*/ 3365341 w 11269336"/>
              <a:gd name="connsiteY178" fmla="*/ 2077638 h 2323145"/>
              <a:gd name="connsiteX179" fmla="*/ 3170922 w 11269336"/>
              <a:gd name="connsiteY179" fmla="*/ 2115957 h 2323145"/>
              <a:gd name="connsiteX180" fmla="*/ 3156256 w 11269336"/>
              <a:gd name="connsiteY180" fmla="*/ 2124773 h 2323145"/>
              <a:gd name="connsiteX181" fmla="*/ 3140298 w 11269336"/>
              <a:gd name="connsiteY181" fmla="*/ 2129182 h 2323145"/>
              <a:gd name="connsiteX182" fmla="*/ 3138514 w 11269336"/>
              <a:gd name="connsiteY182" fmla="*/ 2128069 h 2323145"/>
              <a:gd name="connsiteX183" fmla="*/ 3120467 w 11269336"/>
              <a:gd name="connsiteY183" fmla="*/ 2128281 h 2323145"/>
              <a:gd name="connsiteX184" fmla="*/ 3116175 w 11269336"/>
              <a:gd name="connsiteY184" fmla="*/ 2131633 h 2323145"/>
              <a:gd name="connsiteX185" fmla="*/ 3103685 w 11269336"/>
              <a:gd name="connsiteY185" fmla="*/ 2132814 h 2323145"/>
              <a:gd name="connsiteX186" fmla="*/ 3078794 w 11269336"/>
              <a:gd name="connsiteY186" fmla="*/ 2137935 h 2323145"/>
              <a:gd name="connsiteX187" fmla="*/ 3074407 w 11269336"/>
              <a:gd name="connsiteY187" fmla="*/ 2136274 h 2323145"/>
              <a:gd name="connsiteX188" fmla="*/ 3037285 w 11269336"/>
              <a:gd name="connsiteY188" fmla="*/ 2139919 h 2323145"/>
              <a:gd name="connsiteX189" fmla="*/ 3036901 w 11269336"/>
              <a:gd name="connsiteY189" fmla="*/ 2138726 h 2323145"/>
              <a:gd name="connsiteX190" fmla="*/ 3026996 w 11269336"/>
              <a:gd name="connsiteY190" fmla="*/ 2134322 h 2323145"/>
              <a:gd name="connsiteX191" fmla="*/ 3007772 w 11269336"/>
              <a:gd name="connsiteY191" fmla="*/ 2128742 h 2323145"/>
              <a:gd name="connsiteX192" fmla="*/ 2965030 w 11269336"/>
              <a:gd name="connsiteY192" fmla="*/ 2100494 h 2323145"/>
              <a:gd name="connsiteX193" fmla="*/ 2926342 w 11269336"/>
              <a:gd name="connsiteY193" fmla="*/ 2104155 h 2323145"/>
              <a:gd name="connsiteX194" fmla="*/ 2918608 w 11269336"/>
              <a:gd name="connsiteY194" fmla="*/ 2104215 h 2323145"/>
              <a:gd name="connsiteX195" fmla="*/ 2918475 w 11269336"/>
              <a:gd name="connsiteY195" fmla="*/ 2103937 h 2323145"/>
              <a:gd name="connsiteX196" fmla="*/ 2910360 w 11269336"/>
              <a:gd name="connsiteY196" fmla="*/ 2103444 h 2323145"/>
              <a:gd name="connsiteX197" fmla="*/ 2904507 w 11269336"/>
              <a:gd name="connsiteY197" fmla="*/ 2104326 h 2323145"/>
              <a:gd name="connsiteX198" fmla="*/ 2889503 w 11269336"/>
              <a:gd name="connsiteY198" fmla="*/ 2104443 h 2323145"/>
              <a:gd name="connsiteX199" fmla="*/ 2884480 w 11269336"/>
              <a:gd name="connsiteY199" fmla="*/ 2102626 h 2323145"/>
              <a:gd name="connsiteX200" fmla="*/ 2882689 w 11269336"/>
              <a:gd name="connsiteY200" fmla="*/ 2099228 h 2323145"/>
              <a:gd name="connsiteX201" fmla="*/ 2881291 w 11269336"/>
              <a:gd name="connsiteY201" fmla="*/ 2099618 h 2323145"/>
              <a:gd name="connsiteX202" fmla="*/ 2853979 w 11269336"/>
              <a:gd name="connsiteY202" fmla="*/ 2090388 h 2323145"/>
              <a:gd name="connsiteX203" fmla="*/ 2791790 w 11269336"/>
              <a:gd name="connsiteY203" fmla="*/ 2080332 h 2323145"/>
              <a:gd name="connsiteX204" fmla="*/ 2755844 w 11269336"/>
              <a:gd name="connsiteY204" fmla="*/ 2078874 h 2323145"/>
              <a:gd name="connsiteX205" fmla="*/ 2657742 w 11269336"/>
              <a:gd name="connsiteY205" fmla="*/ 2070179 h 2323145"/>
              <a:gd name="connsiteX206" fmla="*/ 2559549 w 11269336"/>
              <a:gd name="connsiteY206" fmla="*/ 2057873 h 2323145"/>
              <a:gd name="connsiteX207" fmla="*/ 2512054 w 11269336"/>
              <a:gd name="connsiteY207" fmla="*/ 2031671 h 2323145"/>
              <a:gd name="connsiteX208" fmla="*/ 2506437 w 11269336"/>
              <a:gd name="connsiteY208" fmla="*/ 2030918 h 2323145"/>
              <a:gd name="connsiteX209" fmla="*/ 2491752 w 11269336"/>
              <a:gd name="connsiteY209" fmla="*/ 2033906 h 2323145"/>
              <a:gd name="connsiteX210" fmla="*/ 2486338 w 11269336"/>
              <a:gd name="connsiteY210" fmla="*/ 2035862 h 2323145"/>
              <a:gd name="connsiteX211" fmla="*/ 2478186 w 11269336"/>
              <a:gd name="connsiteY211" fmla="*/ 2036953 h 2323145"/>
              <a:gd name="connsiteX212" fmla="*/ 2477950 w 11269336"/>
              <a:gd name="connsiteY212" fmla="*/ 2036715 h 2323145"/>
              <a:gd name="connsiteX213" fmla="*/ 2470381 w 11269336"/>
              <a:gd name="connsiteY213" fmla="*/ 2038256 h 2323145"/>
              <a:gd name="connsiteX214" fmla="*/ 2433781 w 11269336"/>
              <a:gd name="connsiteY214" fmla="*/ 2049140 h 2323145"/>
              <a:gd name="connsiteX215" fmla="*/ 2381172 w 11269336"/>
              <a:gd name="connsiteY215" fmla="*/ 2030645 h 2323145"/>
              <a:gd name="connsiteX216" fmla="*/ 2360198 w 11269336"/>
              <a:gd name="connsiteY216" fmla="*/ 2029059 h 2323145"/>
              <a:gd name="connsiteX217" fmla="*/ 2348815 w 11269336"/>
              <a:gd name="connsiteY217" fmla="*/ 2026798 h 2323145"/>
              <a:gd name="connsiteX218" fmla="*/ 2347988 w 11269336"/>
              <a:gd name="connsiteY218" fmla="*/ 2025745 h 2323145"/>
              <a:gd name="connsiteX219" fmla="*/ 2312920 w 11269336"/>
              <a:gd name="connsiteY219" fmla="*/ 2036311 h 2323145"/>
              <a:gd name="connsiteX220" fmla="*/ 2307986 w 11269336"/>
              <a:gd name="connsiteY220" fmla="*/ 2035583 h 2323145"/>
              <a:gd name="connsiteX221" fmla="*/ 2285481 w 11269336"/>
              <a:gd name="connsiteY221" fmla="*/ 2045197 h 2323145"/>
              <a:gd name="connsiteX222" fmla="*/ 2273666 w 11269336"/>
              <a:gd name="connsiteY222" fmla="*/ 2048710 h 2323145"/>
              <a:gd name="connsiteX223" fmla="*/ 2270719 w 11269336"/>
              <a:gd name="connsiteY223" fmla="*/ 2052702 h 2323145"/>
              <a:gd name="connsiteX224" fmla="*/ 2253080 w 11269336"/>
              <a:gd name="connsiteY224" fmla="*/ 2056363 h 2323145"/>
              <a:gd name="connsiteX225" fmla="*/ 2250906 w 11269336"/>
              <a:gd name="connsiteY225" fmla="*/ 2055654 h 2323145"/>
              <a:gd name="connsiteX226" fmla="*/ 2236905 w 11269336"/>
              <a:gd name="connsiteY226" fmla="*/ 2062882 h 2323145"/>
              <a:gd name="connsiteX227" fmla="*/ 2225830 w 11269336"/>
              <a:gd name="connsiteY227" fmla="*/ 2074027 h 2323145"/>
              <a:gd name="connsiteX228" fmla="*/ 2073776 w 11269336"/>
              <a:gd name="connsiteY228" fmla="*/ 2089244 h 2323145"/>
              <a:gd name="connsiteX229" fmla="*/ 1948256 w 11269336"/>
              <a:gd name="connsiteY229" fmla="*/ 2146616 h 2323145"/>
              <a:gd name="connsiteX230" fmla="*/ 1865582 w 11269336"/>
              <a:gd name="connsiteY230" fmla="*/ 2153738 h 2323145"/>
              <a:gd name="connsiteX231" fmla="*/ 1835210 w 11269336"/>
              <a:gd name="connsiteY231" fmla="*/ 2134244 h 2323145"/>
              <a:gd name="connsiteX232" fmla="*/ 1632661 w 11269336"/>
              <a:gd name="connsiteY232" fmla="*/ 2173882 h 2323145"/>
              <a:gd name="connsiteX233" fmla="*/ 1579590 w 11269336"/>
              <a:gd name="connsiteY233" fmla="*/ 2173680 h 2323145"/>
              <a:gd name="connsiteX234" fmla="*/ 1535601 w 11269336"/>
              <a:gd name="connsiteY234" fmla="*/ 2194590 h 2323145"/>
              <a:gd name="connsiteX235" fmla="*/ 1515594 w 11269336"/>
              <a:gd name="connsiteY235" fmla="*/ 2189622 h 2323145"/>
              <a:gd name="connsiteX236" fmla="*/ 1512113 w 11269336"/>
              <a:gd name="connsiteY236" fmla="*/ 2188534 h 2323145"/>
              <a:gd name="connsiteX237" fmla="*/ 1498838 w 11269336"/>
              <a:gd name="connsiteY237" fmla="*/ 2189213 h 2323145"/>
              <a:gd name="connsiteX238" fmla="*/ 1494279 w 11269336"/>
              <a:gd name="connsiteY238" fmla="*/ 2183112 h 2323145"/>
              <a:gd name="connsiteX239" fmla="*/ 1473714 w 11269336"/>
              <a:gd name="connsiteY239" fmla="*/ 2179625 h 2323145"/>
              <a:gd name="connsiteX240" fmla="*/ 1449503 w 11269336"/>
              <a:gd name="connsiteY240" fmla="*/ 2182633 h 2323145"/>
              <a:gd name="connsiteX241" fmla="*/ 1266687 w 11269336"/>
              <a:gd name="connsiteY241" fmla="*/ 2212688 h 2323145"/>
              <a:gd name="connsiteX242" fmla="*/ 1239614 w 11269336"/>
              <a:gd name="connsiteY242" fmla="*/ 2209727 h 2323145"/>
              <a:gd name="connsiteX243" fmla="*/ 1202436 w 11269336"/>
              <a:gd name="connsiteY243" fmla="*/ 2209817 h 2323145"/>
              <a:gd name="connsiteX244" fmla="*/ 1136097 w 11269336"/>
              <a:gd name="connsiteY244" fmla="*/ 2205112 h 2323145"/>
              <a:gd name="connsiteX245" fmla="*/ 988232 w 11269336"/>
              <a:gd name="connsiteY245" fmla="*/ 2235635 h 2323145"/>
              <a:gd name="connsiteX246" fmla="*/ 981959 w 11269336"/>
              <a:gd name="connsiteY246" fmla="*/ 2231607 h 2323145"/>
              <a:gd name="connsiteX247" fmla="*/ 938600 w 11269336"/>
              <a:gd name="connsiteY247" fmla="*/ 2238113 h 2323145"/>
              <a:gd name="connsiteX248" fmla="*/ 791788 w 11269336"/>
              <a:gd name="connsiteY248" fmla="*/ 2293224 h 2323145"/>
              <a:gd name="connsiteX249" fmla="*/ 706914 w 11269336"/>
              <a:gd name="connsiteY249" fmla="*/ 2305046 h 2323145"/>
              <a:gd name="connsiteX250" fmla="*/ 675971 w 11269336"/>
              <a:gd name="connsiteY250" fmla="*/ 2304030 h 2323145"/>
              <a:gd name="connsiteX251" fmla="*/ 624180 w 11269336"/>
              <a:gd name="connsiteY251" fmla="*/ 2302650 h 2323145"/>
              <a:gd name="connsiteX252" fmla="*/ 583453 w 11269336"/>
              <a:gd name="connsiteY252" fmla="*/ 2288788 h 2323145"/>
              <a:gd name="connsiteX253" fmla="*/ 540946 w 11269336"/>
              <a:gd name="connsiteY253" fmla="*/ 2292721 h 2323145"/>
              <a:gd name="connsiteX254" fmla="*/ 533680 w 11269336"/>
              <a:gd name="connsiteY254" fmla="*/ 2310233 h 2323145"/>
              <a:gd name="connsiteX255" fmla="*/ 487366 w 11269336"/>
              <a:gd name="connsiteY255" fmla="*/ 2309053 h 2323145"/>
              <a:gd name="connsiteX256" fmla="*/ 416820 w 11269336"/>
              <a:gd name="connsiteY256" fmla="*/ 2305443 h 2323145"/>
              <a:gd name="connsiteX257" fmla="*/ 376805 w 11269336"/>
              <a:gd name="connsiteY257" fmla="*/ 2307647 h 2323145"/>
              <a:gd name="connsiteX258" fmla="*/ 266777 w 11269336"/>
              <a:gd name="connsiteY258" fmla="*/ 2309012 h 2323145"/>
              <a:gd name="connsiteX259" fmla="*/ 156013 w 11269336"/>
              <a:gd name="connsiteY259" fmla="*/ 2306832 h 2323145"/>
              <a:gd name="connsiteX260" fmla="*/ 87258 w 11269336"/>
              <a:gd name="connsiteY260" fmla="*/ 2285511 h 2323145"/>
              <a:gd name="connsiteX261" fmla="*/ 23798 w 11269336"/>
              <a:gd name="connsiteY261" fmla="*/ 2281822 h 2323145"/>
              <a:gd name="connsiteX262" fmla="*/ 0 w 11269336"/>
              <a:gd name="connsiteY262" fmla="*/ 2285369 h 2323145"/>
              <a:gd name="connsiteX263" fmla="*/ 0 w 11269336"/>
              <a:gd name="connsiteY26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41688 w 11269336"/>
              <a:gd name="connsiteY133" fmla="*/ 2022334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41688 w 11269336"/>
              <a:gd name="connsiteY133" fmla="*/ 2022334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33444 w 11269336"/>
              <a:gd name="connsiteY144" fmla="*/ 2181200 h 2323145"/>
              <a:gd name="connsiteX145" fmla="*/ 4492832 w 11269336"/>
              <a:gd name="connsiteY145" fmla="*/ 2188033 h 2323145"/>
              <a:gd name="connsiteX146" fmla="*/ 4467257 w 11269336"/>
              <a:gd name="connsiteY146" fmla="*/ 2196121 h 2323145"/>
              <a:gd name="connsiteX147" fmla="*/ 4459937 w 11269336"/>
              <a:gd name="connsiteY147" fmla="*/ 2195182 h 2323145"/>
              <a:gd name="connsiteX148" fmla="*/ 4433312 w 11269336"/>
              <a:gd name="connsiteY148" fmla="*/ 2199004 h 2323145"/>
              <a:gd name="connsiteX149" fmla="*/ 4420601 w 11269336"/>
              <a:gd name="connsiteY149" fmla="*/ 2205158 h 2323145"/>
              <a:gd name="connsiteX150" fmla="*/ 4405765 w 11269336"/>
              <a:gd name="connsiteY150" fmla="*/ 2199902 h 2323145"/>
              <a:gd name="connsiteX151" fmla="*/ 4401354 w 11269336"/>
              <a:gd name="connsiteY151" fmla="*/ 2194745 h 2323145"/>
              <a:gd name="connsiteX152" fmla="*/ 4383151 w 11269336"/>
              <a:gd name="connsiteY152" fmla="*/ 2201140 h 2323145"/>
              <a:gd name="connsiteX153" fmla="*/ 4366646 w 11269336"/>
              <a:gd name="connsiteY153" fmla="*/ 2198564 h 2323145"/>
              <a:gd name="connsiteX154" fmla="*/ 4354009 w 11269336"/>
              <a:gd name="connsiteY154" fmla="*/ 2204984 h 2323145"/>
              <a:gd name="connsiteX155" fmla="*/ 4348284 w 11269336"/>
              <a:gd name="connsiteY155" fmla="*/ 2205270 h 2323145"/>
              <a:gd name="connsiteX156" fmla="*/ 4333906 w 11269336"/>
              <a:gd name="connsiteY156" fmla="*/ 2205251 h 2323145"/>
              <a:gd name="connsiteX157" fmla="*/ 4308819 w 11269336"/>
              <a:gd name="connsiteY157" fmla="*/ 2203822 h 2323145"/>
              <a:gd name="connsiteX158" fmla="*/ 4301210 w 11269336"/>
              <a:gd name="connsiteY158" fmla="*/ 2204456 h 2323145"/>
              <a:gd name="connsiteX159" fmla="*/ 4283095 w 11269336"/>
              <a:gd name="connsiteY159" fmla="*/ 2198177 h 2323145"/>
              <a:gd name="connsiteX160" fmla="*/ 4250119 w 11269336"/>
              <a:gd name="connsiteY160" fmla="*/ 2196342 h 2323145"/>
              <a:gd name="connsiteX161" fmla="*/ 4189203 w 11269336"/>
              <a:gd name="connsiteY161" fmla="*/ 2178994 h 2323145"/>
              <a:gd name="connsiteX162" fmla="*/ 4154035 w 11269336"/>
              <a:gd name="connsiteY162" fmla="*/ 2171950 h 2323145"/>
              <a:gd name="connsiteX163" fmla="*/ 4129569 w 11269336"/>
              <a:gd name="connsiteY163" fmla="*/ 2163850 h 2323145"/>
              <a:gd name="connsiteX164" fmla="*/ 4061250 w 11269336"/>
              <a:gd name="connsiteY164" fmla="*/ 2159236 h 2323145"/>
              <a:gd name="connsiteX165" fmla="*/ 3945480 w 11269336"/>
              <a:gd name="connsiteY165" fmla="*/ 2158279 h 2323145"/>
              <a:gd name="connsiteX166" fmla="*/ 3921468 w 11269336"/>
              <a:gd name="connsiteY166" fmla="*/ 2156588 h 2323145"/>
              <a:gd name="connsiteX167" fmla="*/ 3903348 w 11269336"/>
              <a:gd name="connsiteY167" fmla="*/ 2149220 h 2323145"/>
              <a:gd name="connsiteX168" fmla="*/ 3901342 w 11269336"/>
              <a:gd name="connsiteY168" fmla="*/ 2142355 h 2323145"/>
              <a:gd name="connsiteX169" fmla="*/ 3888539 w 11269336"/>
              <a:gd name="connsiteY169" fmla="*/ 2140476 h 2323145"/>
              <a:gd name="connsiteX170" fmla="*/ 3885662 w 11269336"/>
              <a:gd name="connsiteY170" fmla="*/ 2138740 h 2323145"/>
              <a:gd name="connsiteX171" fmla="*/ 3868627 w 11269336"/>
              <a:gd name="connsiteY171" fmla="*/ 2130023 h 2323145"/>
              <a:gd name="connsiteX172" fmla="*/ 3819177 w 11269336"/>
              <a:gd name="connsiteY172" fmla="*/ 2142111 h 2323145"/>
              <a:gd name="connsiteX173" fmla="*/ 3769100 w 11269336"/>
              <a:gd name="connsiteY173" fmla="*/ 2131731 h 2323145"/>
              <a:gd name="connsiteX174" fmla="*/ 3562752 w 11269336"/>
              <a:gd name="connsiteY174" fmla="*/ 2131785 h 2323145"/>
              <a:gd name="connsiteX175" fmla="*/ 3541402 w 11269336"/>
              <a:gd name="connsiteY175" fmla="*/ 2106821 h 2323145"/>
              <a:gd name="connsiteX176" fmla="*/ 3365341 w 11269336"/>
              <a:gd name="connsiteY176" fmla="*/ 2077638 h 2323145"/>
              <a:gd name="connsiteX177" fmla="*/ 3170922 w 11269336"/>
              <a:gd name="connsiteY177" fmla="*/ 2115957 h 2323145"/>
              <a:gd name="connsiteX178" fmla="*/ 3156256 w 11269336"/>
              <a:gd name="connsiteY178" fmla="*/ 2124773 h 2323145"/>
              <a:gd name="connsiteX179" fmla="*/ 3140298 w 11269336"/>
              <a:gd name="connsiteY179" fmla="*/ 2129182 h 2323145"/>
              <a:gd name="connsiteX180" fmla="*/ 3138514 w 11269336"/>
              <a:gd name="connsiteY180" fmla="*/ 2128069 h 2323145"/>
              <a:gd name="connsiteX181" fmla="*/ 3120467 w 11269336"/>
              <a:gd name="connsiteY181" fmla="*/ 2128281 h 2323145"/>
              <a:gd name="connsiteX182" fmla="*/ 3116175 w 11269336"/>
              <a:gd name="connsiteY182" fmla="*/ 2131633 h 2323145"/>
              <a:gd name="connsiteX183" fmla="*/ 3103685 w 11269336"/>
              <a:gd name="connsiteY183" fmla="*/ 2132814 h 2323145"/>
              <a:gd name="connsiteX184" fmla="*/ 3078794 w 11269336"/>
              <a:gd name="connsiteY184" fmla="*/ 2137935 h 2323145"/>
              <a:gd name="connsiteX185" fmla="*/ 3074407 w 11269336"/>
              <a:gd name="connsiteY185" fmla="*/ 2136274 h 2323145"/>
              <a:gd name="connsiteX186" fmla="*/ 3037285 w 11269336"/>
              <a:gd name="connsiteY186" fmla="*/ 2139919 h 2323145"/>
              <a:gd name="connsiteX187" fmla="*/ 3036901 w 11269336"/>
              <a:gd name="connsiteY187" fmla="*/ 2138726 h 2323145"/>
              <a:gd name="connsiteX188" fmla="*/ 3026996 w 11269336"/>
              <a:gd name="connsiteY188" fmla="*/ 2134322 h 2323145"/>
              <a:gd name="connsiteX189" fmla="*/ 3007772 w 11269336"/>
              <a:gd name="connsiteY189" fmla="*/ 2128742 h 2323145"/>
              <a:gd name="connsiteX190" fmla="*/ 2965030 w 11269336"/>
              <a:gd name="connsiteY190" fmla="*/ 2100494 h 2323145"/>
              <a:gd name="connsiteX191" fmla="*/ 2926342 w 11269336"/>
              <a:gd name="connsiteY191" fmla="*/ 2104155 h 2323145"/>
              <a:gd name="connsiteX192" fmla="*/ 2918608 w 11269336"/>
              <a:gd name="connsiteY192" fmla="*/ 2104215 h 2323145"/>
              <a:gd name="connsiteX193" fmla="*/ 2918475 w 11269336"/>
              <a:gd name="connsiteY193" fmla="*/ 2103937 h 2323145"/>
              <a:gd name="connsiteX194" fmla="*/ 2910360 w 11269336"/>
              <a:gd name="connsiteY194" fmla="*/ 2103444 h 2323145"/>
              <a:gd name="connsiteX195" fmla="*/ 2904507 w 11269336"/>
              <a:gd name="connsiteY195" fmla="*/ 2104326 h 2323145"/>
              <a:gd name="connsiteX196" fmla="*/ 2889503 w 11269336"/>
              <a:gd name="connsiteY196" fmla="*/ 2104443 h 2323145"/>
              <a:gd name="connsiteX197" fmla="*/ 2884480 w 11269336"/>
              <a:gd name="connsiteY197" fmla="*/ 2102626 h 2323145"/>
              <a:gd name="connsiteX198" fmla="*/ 2882689 w 11269336"/>
              <a:gd name="connsiteY198" fmla="*/ 2099228 h 2323145"/>
              <a:gd name="connsiteX199" fmla="*/ 2881291 w 11269336"/>
              <a:gd name="connsiteY199" fmla="*/ 2099618 h 2323145"/>
              <a:gd name="connsiteX200" fmla="*/ 2853979 w 11269336"/>
              <a:gd name="connsiteY200" fmla="*/ 2090388 h 2323145"/>
              <a:gd name="connsiteX201" fmla="*/ 2791790 w 11269336"/>
              <a:gd name="connsiteY201" fmla="*/ 2080332 h 2323145"/>
              <a:gd name="connsiteX202" fmla="*/ 2755844 w 11269336"/>
              <a:gd name="connsiteY202" fmla="*/ 2078874 h 2323145"/>
              <a:gd name="connsiteX203" fmla="*/ 2657742 w 11269336"/>
              <a:gd name="connsiteY203" fmla="*/ 2070179 h 2323145"/>
              <a:gd name="connsiteX204" fmla="*/ 2559549 w 11269336"/>
              <a:gd name="connsiteY204" fmla="*/ 2057873 h 2323145"/>
              <a:gd name="connsiteX205" fmla="*/ 2512054 w 11269336"/>
              <a:gd name="connsiteY205" fmla="*/ 2031671 h 2323145"/>
              <a:gd name="connsiteX206" fmla="*/ 2506437 w 11269336"/>
              <a:gd name="connsiteY206" fmla="*/ 2030918 h 2323145"/>
              <a:gd name="connsiteX207" fmla="*/ 2491752 w 11269336"/>
              <a:gd name="connsiteY207" fmla="*/ 2033906 h 2323145"/>
              <a:gd name="connsiteX208" fmla="*/ 2486338 w 11269336"/>
              <a:gd name="connsiteY208" fmla="*/ 2035862 h 2323145"/>
              <a:gd name="connsiteX209" fmla="*/ 2478186 w 11269336"/>
              <a:gd name="connsiteY209" fmla="*/ 2036953 h 2323145"/>
              <a:gd name="connsiteX210" fmla="*/ 2477950 w 11269336"/>
              <a:gd name="connsiteY210" fmla="*/ 2036715 h 2323145"/>
              <a:gd name="connsiteX211" fmla="*/ 2470381 w 11269336"/>
              <a:gd name="connsiteY211" fmla="*/ 2038256 h 2323145"/>
              <a:gd name="connsiteX212" fmla="*/ 2433781 w 11269336"/>
              <a:gd name="connsiteY212" fmla="*/ 2049140 h 2323145"/>
              <a:gd name="connsiteX213" fmla="*/ 2381172 w 11269336"/>
              <a:gd name="connsiteY213" fmla="*/ 2030645 h 2323145"/>
              <a:gd name="connsiteX214" fmla="*/ 2360198 w 11269336"/>
              <a:gd name="connsiteY214" fmla="*/ 2029059 h 2323145"/>
              <a:gd name="connsiteX215" fmla="*/ 2348815 w 11269336"/>
              <a:gd name="connsiteY215" fmla="*/ 2026798 h 2323145"/>
              <a:gd name="connsiteX216" fmla="*/ 2347988 w 11269336"/>
              <a:gd name="connsiteY216" fmla="*/ 2025745 h 2323145"/>
              <a:gd name="connsiteX217" fmla="*/ 2312920 w 11269336"/>
              <a:gd name="connsiteY217" fmla="*/ 2036311 h 2323145"/>
              <a:gd name="connsiteX218" fmla="*/ 2307986 w 11269336"/>
              <a:gd name="connsiteY218" fmla="*/ 2035583 h 2323145"/>
              <a:gd name="connsiteX219" fmla="*/ 2285481 w 11269336"/>
              <a:gd name="connsiteY219" fmla="*/ 2045197 h 2323145"/>
              <a:gd name="connsiteX220" fmla="*/ 2273666 w 11269336"/>
              <a:gd name="connsiteY220" fmla="*/ 2048710 h 2323145"/>
              <a:gd name="connsiteX221" fmla="*/ 2270719 w 11269336"/>
              <a:gd name="connsiteY221" fmla="*/ 2052702 h 2323145"/>
              <a:gd name="connsiteX222" fmla="*/ 2253080 w 11269336"/>
              <a:gd name="connsiteY222" fmla="*/ 2056363 h 2323145"/>
              <a:gd name="connsiteX223" fmla="*/ 2250906 w 11269336"/>
              <a:gd name="connsiteY223" fmla="*/ 2055654 h 2323145"/>
              <a:gd name="connsiteX224" fmla="*/ 2236905 w 11269336"/>
              <a:gd name="connsiteY224" fmla="*/ 2062882 h 2323145"/>
              <a:gd name="connsiteX225" fmla="*/ 2225830 w 11269336"/>
              <a:gd name="connsiteY225" fmla="*/ 2074027 h 2323145"/>
              <a:gd name="connsiteX226" fmla="*/ 2073776 w 11269336"/>
              <a:gd name="connsiteY226" fmla="*/ 2089244 h 2323145"/>
              <a:gd name="connsiteX227" fmla="*/ 1948256 w 11269336"/>
              <a:gd name="connsiteY227" fmla="*/ 2146616 h 2323145"/>
              <a:gd name="connsiteX228" fmla="*/ 1865582 w 11269336"/>
              <a:gd name="connsiteY228" fmla="*/ 2153738 h 2323145"/>
              <a:gd name="connsiteX229" fmla="*/ 1835210 w 11269336"/>
              <a:gd name="connsiteY229" fmla="*/ 2134244 h 2323145"/>
              <a:gd name="connsiteX230" fmla="*/ 1632661 w 11269336"/>
              <a:gd name="connsiteY230" fmla="*/ 2173882 h 2323145"/>
              <a:gd name="connsiteX231" fmla="*/ 1579590 w 11269336"/>
              <a:gd name="connsiteY231" fmla="*/ 2173680 h 2323145"/>
              <a:gd name="connsiteX232" fmla="*/ 1535601 w 11269336"/>
              <a:gd name="connsiteY232" fmla="*/ 2194590 h 2323145"/>
              <a:gd name="connsiteX233" fmla="*/ 1515594 w 11269336"/>
              <a:gd name="connsiteY233" fmla="*/ 2189622 h 2323145"/>
              <a:gd name="connsiteX234" fmla="*/ 1512113 w 11269336"/>
              <a:gd name="connsiteY234" fmla="*/ 2188534 h 2323145"/>
              <a:gd name="connsiteX235" fmla="*/ 1498838 w 11269336"/>
              <a:gd name="connsiteY235" fmla="*/ 2189213 h 2323145"/>
              <a:gd name="connsiteX236" fmla="*/ 1494279 w 11269336"/>
              <a:gd name="connsiteY236" fmla="*/ 2183112 h 2323145"/>
              <a:gd name="connsiteX237" fmla="*/ 1473714 w 11269336"/>
              <a:gd name="connsiteY237" fmla="*/ 2179625 h 2323145"/>
              <a:gd name="connsiteX238" fmla="*/ 1449503 w 11269336"/>
              <a:gd name="connsiteY238" fmla="*/ 2182633 h 2323145"/>
              <a:gd name="connsiteX239" fmla="*/ 1266687 w 11269336"/>
              <a:gd name="connsiteY239" fmla="*/ 2212688 h 2323145"/>
              <a:gd name="connsiteX240" fmla="*/ 1239614 w 11269336"/>
              <a:gd name="connsiteY240" fmla="*/ 2209727 h 2323145"/>
              <a:gd name="connsiteX241" fmla="*/ 1202436 w 11269336"/>
              <a:gd name="connsiteY241" fmla="*/ 2209817 h 2323145"/>
              <a:gd name="connsiteX242" fmla="*/ 1136097 w 11269336"/>
              <a:gd name="connsiteY242" fmla="*/ 2205112 h 2323145"/>
              <a:gd name="connsiteX243" fmla="*/ 988232 w 11269336"/>
              <a:gd name="connsiteY243" fmla="*/ 2235635 h 2323145"/>
              <a:gd name="connsiteX244" fmla="*/ 981959 w 11269336"/>
              <a:gd name="connsiteY244" fmla="*/ 2231607 h 2323145"/>
              <a:gd name="connsiteX245" fmla="*/ 938600 w 11269336"/>
              <a:gd name="connsiteY245" fmla="*/ 2238113 h 2323145"/>
              <a:gd name="connsiteX246" fmla="*/ 791788 w 11269336"/>
              <a:gd name="connsiteY246" fmla="*/ 2293224 h 2323145"/>
              <a:gd name="connsiteX247" fmla="*/ 706914 w 11269336"/>
              <a:gd name="connsiteY247" fmla="*/ 2305046 h 2323145"/>
              <a:gd name="connsiteX248" fmla="*/ 675971 w 11269336"/>
              <a:gd name="connsiteY248" fmla="*/ 2304030 h 2323145"/>
              <a:gd name="connsiteX249" fmla="*/ 624180 w 11269336"/>
              <a:gd name="connsiteY249" fmla="*/ 2302650 h 2323145"/>
              <a:gd name="connsiteX250" fmla="*/ 583453 w 11269336"/>
              <a:gd name="connsiteY250" fmla="*/ 2288788 h 2323145"/>
              <a:gd name="connsiteX251" fmla="*/ 540946 w 11269336"/>
              <a:gd name="connsiteY251" fmla="*/ 2292721 h 2323145"/>
              <a:gd name="connsiteX252" fmla="*/ 533680 w 11269336"/>
              <a:gd name="connsiteY252" fmla="*/ 2310233 h 2323145"/>
              <a:gd name="connsiteX253" fmla="*/ 487366 w 11269336"/>
              <a:gd name="connsiteY253" fmla="*/ 2309053 h 2323145"/>
              <a:gd name="connsiteX254" fmla="*/ 416820 w 11269336"/>
              <a:gd name="connsiteY254" fmla="*/ 2305443 h 2323145"/>
              <a:gd name="connsiteX255" fmla="*/ 376805 w 11269336"/>
              <a:gd name="connsiteY255" fmla="*/ 2307647 h 2323145"/>
              <a:gd name="connsiteX256" fmla="*/ 266777 w 11269336"/>
              <a:gd name="connsiteY256" fmla="*/ 2309012 h 2323145"/>
              <a:gd name="connsiteX257" fmla="*/ 156013 w 11269336"/>
              <a:gd name="connsiteY257" fmla="*/ 2306832 h 2323145"/>
              <a:gd name="connsiteX258" fmla="*/ 87258 w 11269336"/>
              <a:gd name="connsiteY258" fmla="*/ 2285511 h 2323145"/>
              <a:gd name="connsiteX259" fmla="*/ 23798 w 11269336"/>
              <a:gd name="connsiteY259" fmla="*/ 2281822 h 2323145"/>
              <a:gd name="connsiteX260" fmla="*/ 0 w 11269336"/>
              <a:gd name="connsiteY260" fmla="*/ 2285369 h 2323145"/>
              <a:gd name="connsiteX261" fmla="*/ 0 w 11269336"/>
              <a:gd name="connsiteY26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593061 w 11269336"/>
              <a:gd name="connsiteY142" fmla="*/ 2171597 h 2323145"/>
              <a:gd name="connsiteX143" fmla="*/ 4533444 w 11269336"/>
              <a:gd name="connsiteY143" fmla="*/ 2181200 h 2323145"/>
              <a:gd name="connsiteX144" fmla="*/ 4492832 w 11269336"/>
              <a:gd name="connsiteY144" fmla="*/ 2188033 h 2323145"/>
              <a:gd name="connsiteX145" fmla="*/ 4467257 w 11269336"/>
              <a:gd name="connsiteY145" fmla="*/ 2196121 h 2323145"/>
              <a:gd name="connsiteX146" fmla="*/ 4459937 w 11269336"/>
              <a:gd name="connsiteY146" fmla="*/ 2195182 h 2323145"/>
              <a:gd name="connsiteX147" fmla="*/ 4433312 w 11269336"/>
              <a:gd name="connsiteY147" fmla="*/ 2199004 h 2323145"/>
              <a:gd name="connsiteX148" fmla="*/ 4420601 w 11269336"/>
              <a:gd name="connsiteY148" fmla="*/ 2205158 h 2323145"/>
              <a:gd name="connsiteX149" fmla="*/ 4405765 w 11269336"/>
              <a:gd name="connsiteY149" fmla="*/ 2199902 h 2323145"/>
              <a:gd name="connsiteX150" fmla="*/ 4401354 w 11269336"/>
              <a:gd name="connsiteY150" fmla="*/ 2194745 h 2323145"/>
              <a:gd name="connsiteX151" fmla="*/ 4383151 w 11269336"/>
              <a:gd name="connsiteY151" fmla="*/ 2201140 h 2323145"/>
              <a:gd name="connsiteX152" fmla="*/ 4366646 w 11269336"/>
              <a:gd name="connsiteY152" fmla="*/ 2198564 h 2323145"/>
              <a:gd name="connsiteX153" fmla="*/ 4354009 w 11269336"/>
              <a:gd name="connsiteY153" fmla="*/ 2204984 h 2323145"/>
              <a:gd name="connsiteX154" fmla="*/ 4348284 w 11269336"/>
              <a:gd name="connsiteY154" fmla="*/ 2205270 h 2323145"/>
              <a:gd name="connsiteX155" fmla="*/ 4333906 w 11269336"/>
              <a:gd name="connsiteY155" fmla="*/ 2205251 h 2323145"/>
              <a:gd name="connsiteX156" fmla="*/ 4308819 w 11269336"/>
              <a:gd name="connsiteY156" fmla="*/ 2203822 h 2323145"/>
              <a:gd name="connsiteX157" fmla="*/ 4301210 w 11269336"/>
              <a:gd name="connsiteY157" fmla="*/ 2204456 h 2323145"/>
              <a:gd name="connsiteX158" fmla="*/ 4283095 w 11269336"/>
              <a:gd name="connsiteY158" fmla="*/ 2198177 h 2323145"/>
              <a:gd name="connsiteX159" fmla="*/ 4250119 w 11269336"/>
              <a:gd name="connsiteY159" fmla="*/ 2196342 h 2323145"/>
              <a:gd name="connsiteX160" fmla="*/ 4189203 w 11269336"/>
              <a:gd name="connsiteY160" fmla="*/ 2178994 h 2323145"/>
              <a:gd name="connsiteX161" fmla="*/ 4154035 w 11269336"/>
              <a:gd name="connsiteY161" fmla="*/ 2171950 h 2323145"/>
              <a:gd name="connsiteX162" fmla="*/ 4129569 w 11269336"/>
              <a:gd name="connsiteY162" fmla="*/ 2163850 h 2323145"/>
              <a:gd name="connsiteX163" fmla="*/ 4061250 w 11269336"/>
              <a:gd name="connsiteY163" fmla="*/ 2159236 h 2323145"/>
              <a:gd name="connsiteX164" fmla="*/ 3945480 w 11269336"/>
              <a:gd name="connsiteY164" fmla="*/ 2158279 h 2323145"/>
              <a:gd name="connsiteX165" fmla="*/ 3921468 w 11269336"/>
              <a:gd name="connsiteY165" fmla="*/ 2156588 h 2323145"/>
              <a:gd name="connsiteX166" fmla="*/ 3903348 w 11269336"/>
              <a:gd name="connsiteY166" fmla="*/ 2149220 h 2323145"/>
              <a:gd name="connsiteX167" fmla="*/ 3901342 w 11269336"/>
              <a:gd name="connsiteY167" fmla="*/ 2142355 h 2323145"/>
              <a:gd name="connsiteX168" fmla="*/ 3888539 w 11269336"/>
              <a:gd name="connsiteY168" fmla="*/ 2140476 h 2323145"/>
              <a:gd name="connsiteX169" fmla="*/ 3885662 w 11269336"/>
              <a:gd name="connsiteY169" fmla="*/ 2138740 h 2323145"/>
              <a:gd name="connsiteX170" fmla="*/ 3868627 w 11269336"/>
              <a:gd name="connsiteY170" fmla="*/ 2130023 h 2323145"/>
              <a:gd name="connsiteX171" fmla="*/ 3819177 w 11269336"/>
              <a:gd name="connsiteY171" fmla="*/ 2142111 h 2323145"/>
              <a:gd name="connsiteX172" fmla="*/ 3769100 w 11269336"/>
              <a:gd name="connsiteY172" fmla="*/ 2131731 h 2323145"/>
              <a:gd name="connsiteX173" fmla="*/ 3562752 w 11269336"/>
              <a:gd name="connsiteY173" fmla="*/ 2131785 h 2323145"/>
              <a:gd name="connsiteX174" fmla="*/ 3541402 w 11269336"/>
              <a:gd name="connsiteY174" fmla="*/ 2106821 h 2323145"/>
              <a:gd name="connsiteX175" fmla="*/ 3365341 w 11269336"/>
              <a:gd name="connsiteY175" fmla="*/ 2077638 h 2323145"/>
              <a:gd name="connsiteX176" fmla="*/ 3170922 w 11269336"/>
              <a:gd name="connsiteY176" fmla="*/ 2115957 h 2323145"/>
              <a:gd name="connsiteX177" fmla="*/ 3156256 w 11269336"/>
              <a:gd name="connsiteY177" fmla="*/ 2124773 h 2323145"/>
              <a:gd name="connsiteX178" fmla="*/ 3140298 w 11269336"/>
              <a:gd name="connsiteY178" fmla="*/ 2129182 h 2323145"/>
              <a:gd name="connsiteX179" fmla="*/ 3138514 w 11269336"/>
              <a:gd name="connsiteY179" fmla="*/ 2128069 h 2323145"/>
              <a:gd name="connsiteX180" fmla="*/ 3120467 w 11269336"/>
              <a:gd name="connsiteY180" fmla="*/ 2128281 h 2323145"/>
              <a:gd name="connsiteX181" fmla="*/ 3116175 w 11269336"/>
              <a:gd name="connsiteY181" fmla="*/ 2131633 h 2323145"/>
              <a:gd name="connsiteX182" fmla="*/ 3103685 w 11269336"/>
              <a:gd name="connsiteY182" fmla="*/ 2132814 h 2323145"/>
              <a:gd name="connsiteX183" fmla="*/ 3078794 w 11269336"/>
              <a:gd name="connsiteY183" fmla="*/ 2137935 h 2323145"/>
              <a:gd name="connsiteX184" fmla="*/ 3074407 w 11269336"/>
              <a:gd name="connsiteY184" fmla="*/ 2136274 h 2323145"/>
              <a:gd name="connsiteX185" fmla="*/ 3037285 w 11269336"/>
              <a:gd name="connsiteY185" fmla="*/ 2139919 h 2323145"/>
              <a:gd name="connsiteX186" fmla="*/ 3036901 w 11269336"/>
              <a:gd name="connsiteY186" fmla="*/ 2138726 h 2323145"/>
              <a:gd name="connsiteX187" fmla="*/ 3026996 w 11269336"/>
              <a:gd name="connsiteY187" fmla="*/ 2134322 h 2323145"/>
              <a:gd name="connsiteX188" fmla="*/ 3007772 w 11269336"/>
              <a:gd name="connsiteY188" fmla="*/ 2128742 h 2323145"/>
              <a:gd name="connsiteX189" fmla="*/ 2965030 w 11269336"/>
              <a:gd name="connsiteY189" fmla="*/ 2100494 h 2323145"/>
              <a:gd name="connsiteX190" fmla="*/ 2926342 w 11269336"/>
              <a:gd name="connsiteY190" fmla="*/ 2104155 h 2323145"/>
              <a:gd name="connsiteX191" fmla="*/ 2918608 w 11269336"/>
              <a:gd name="connsiteY191" fmla="*/ 2104215 h 2323145"/>
              <a:gd name="connsiteX192" fmla="*/ 2918475 w 11269336"/>
              <a:gd name="connsiteY192" fmla="*/ 2103937 h 2323145"/>
              <a:gd name="connsiteX193" fmla="*/ 2910360 w 11269336"/>
              <a:gd name="connsiteY193" fmla="*/ 2103444 h 2323145"/>
              <a:gd name="connsiteX194" fmla="*/ 2904507 w 11269336"/>
              <a:gd name="connsiteY194" fmla="*/ 2104326 h 2323145"/>
              <a:gd name="connsiteX195" fmla="*/ 2889503 w 11269336"/>
              <a:gd name="connsiteY195" fmla="*/ 2104443 h 2323145"/>
              <a:gd name="connsiteX196" fmla="*/ 2884480 w 11269336"/>
              <a:gd name="connsiteY196" fmla="*/ 2102626 h 2323145"/>
              <a:gd name="connsiteX197" fmla="*/ 2882689 w 11269336"/>
              <a:gd name="connsiteY197" fmla="*/ 2099228 h 2323145"/>
              <a:gd name="connsiteX198" fmla="*/ 2881291 w 11269336"/>
              <a:gd name="connsiteY198" fmla="*/ 2099618 h 2323145"/>
              <a:gd name="connsiteX199" fmla="*/ 2853979 w 11269336"/>
              <a:gd name="connsiteY199" fmla="*/ 2090388 h 2323145"/>
              <a:gd name="connsiteX200" fmla="*/ 2791790 w 11269336"/>
              <a:gd name="connsiteY200" fmla="*/ 2080332 h 2323145"/>
              <a:gd name="connsiteX201" fmla="*/ 2755844 w 11269336"/>
              <a:gd name="connsiteY201" fmla="*/ 2078874 h 2323145"/>
              <a:gd name="connsiteX202" fmla="*/ 2657742 w 11269336"/>
              <a:gd name="connsiteY202" fmla="*/ 2070179 h 2323145"/>
              <a:gd name="connsiteX203" fmla="*/ 2559549 w 11269336"/>
              <a:gd name="connsiteY203" fmla="*/ 2057873 h 2323145"/>
              <a:gd name="connsiteX204" fmla="*/ 2512054 w 11269336"/>
              <a:gd name="connsiteY204" fmla="*/ 2031671 h 2323145"/>
              <a:gd name="connsiteX205" fmla="*/ 2506437 w 11269336"/>
              <a:gd name="connsiteY205" fmla="*/ 2030918 h 2323145"/>
              <a:gd name="connsiteX206" fmla="*/ 2491752 w 11269336"/>
              <a:gd name="connsiteY206" fmla="*/ 2033906 h 2323145"/>
              <a:gd name="connsiteX207" fmla="*/ 2486338 w 11269336"/>
              <a:gd name="connsiteY207" fmla="*/ 2035862 h 2323145"/>
              <a:gd name="connsiteX208" fmla="*/ 2478186 w 11269336"/>
              <a:gd name="connsiteY208" fmla="*/ 2036953 h 2323145"/>
              <a:gd name="connsiteX209" fmla="*/ 2477950 w 11269336"/>
              <a:gd name="connsiteY209" fmla="*/ 2036715 h 2323145"/>
              <a:gd name="connsiteX210" fmla="*/ 2470381 w 11269336"/>
              <a:gd name="connsiteY210" fmla="*/ 2038256 h 2323145"/>
              <a:gd name="connsiteX211" fmla="*/ 2433781 w 11269336"/>
              <a:gd name="connsiteY211" fmla="*/ 2049140 h 2323145"/>
              <a:gd name="connsiteX212" fmla="*/ 2381172 w 11269336"/>
              <a:gd name="connsiteY212" fmla="*/ 2030645 h 2323145"/>
              <a:gd name="connsiteX213" fmla="*/ 2360198 w 11269336"/>
              <a:gd name="connsiteY213" fmla="*/ 2029059 h 2323145"/>
              <a:gd name="connsiteX214" fmla="*/ 2348815 w 11269336"/>
              <a:gd name="connsiteY214" fmla="*/ 2026798 h 2323145"/>
              <a:gd name="connsiteX215" fmla="*/ 2347988 w 11269336"/>
              <a:gd name="connsiteY215" fmla="*/ 2025745 h 2323145"/>
              <a:gd name="connsiteX216" fmla="*/ 2312920 w 11269336"/>
              <a:gd name="connsiteY216" fmla="*/ 2036311 h 2323145"/>
              <a:gd name="connsiteX217" fmla="*/ 2307986 w 11269336"/>
              <a:gd name="connsiteY217" fmla="*/ 2035583 h 2323145"/>
              <a:gd name="connsiteX218" fmla="*/ 2285481 w 11269336"/>
              <a:gd name="connsiteY218" fmla="*/ 2045197 h 2323145"/>
              <a:gd name="connsiteX219" fmla="*/ 2273666 w 11269336"/>
              <a:gd name="connsiteY219" fmla="*/ 2048710 h 2323145"/>
              <a:gd name="connsiteX220" fmla="*/ 2270719 w 11269336"/>
              <a:gd name="connsiteY220" fmla="*/ 2052702 h 2323145"/>
              <a:gd name="connsiteX221" fmla="*/ 2253080 w 11269336"/>
              <a:gd name="connsiteY221" fmla="*/ 2056363 h 2323145"/>
              <a:gd name="connsiteX222" fmla="*/ 2250906 w 11269336"/>
              <a:gd name="connsiteY222" fmla="*/ 2055654 h 2323145"/>
              <a:gd name="connsiteX223" fmla="*/ 2236905 w 11269336"/>
              <a:gd name="connsiteY223" fmla="*/ 2062882 h 2323145"/>
              <a:gd name="connsiteX224" fmla="*/ 2225830 w 11269336"/>
              <a:gd name="connsiteY224" fmla="*/ 2074027 h 2323145"/>
              <a:gd name="connsiteX225" fmla="*/ 2073776 w 11269336"/>
              <a:gd name="connsiteY225" fmla="*/ 2089244 h 2323145"/>
              <a:gd name="connsiteX226" fmla="*/ 1948256 w 11269336"/>
              <a:gd name="connsiteY226" fmla="*/ 2146616 h 2323145"/>
              <a:gd name="connsiteX227" fmla="*/ 1865582 w 11269336"/>
              <a:gd name="connsiteY227" fmla="*/ 2153738 h 2323145"/>
              <a:gd name="connsiteX228" fmla="*/ 1835210 w 11269336"/>
              <a:gd name="connsiteY228" fmla="*/ 2134244 h 2323145"/>
              <a:gd name="connsiteX229" fmla="*/ 1632661 w 11269336"/>
              <a:gd name="connsiteY229" fmla="*/ 2173882 h 2323145"/>
              <a:gd name="connsiteX230" fmla="*/ 1579590 w 11269336"/>
              <a:gd name="connsiteY230" fmla="*/ 2173680 h 2323145"/>
              <a:gd name="connsiteX231" fmla="*/ 1535601 w 11269336"/>
              <a:gd name="connsiteY231" fmla="*/ 2194590 h 2323145"/>
              <a:gd name="connsiteX232" fmla="*/ 1515594 w 11269336"/>
              <a:gd name="connsiteY232" fmla="*/ 2189622 h 2323145"/>
              <a:gd name="connsiteX233" fmla="*/ 1512113 w 11269336"/>
              <a:gd name="connsiteY233" fmla="*/ 2188534 h 2323145"/>
              <a:gd name="connsiteX234" fmla="*/ 1498838 w 11269336"/>
              <a:gd name="connsiteY234" fmla="*/ 2189213 h 2323145"/>
              <a:gd name="connsiteX235" fmla="*/ 1494279 w 11269336"/>
              <a:gd name="connsiteY235" fmla="*/ 2183112 h 2323145"/>
              <a:gd name="connsiteX236" fmla="*/ 1473714 w 11269336"/>
              <a:gd name="connsiteY236" fmla="*/ 2179625 h 2323145"/>
              <a:gd name="connsiteX237" fmla="*/ 1449503 w 11269336"/>
              <a:gd name="connsiteY237" fmla="*/ 2182633 h 2323145"/>
              <a:gd name="connsiteX238" fmla="*/ 1266687 w 11269336"/>
              <a:gd name="connsiteY238" fmla="*/ 2212688 h 2323145"/>
              <a:gd name="connsiteX239" fmla="*/ 1239614 w 11269336"/>
              <a:gd name="connsiteY239" fmla="*/ 2209727 h 2323145"/>
              <a:gd name="connsiteX240" fmla="*/ 1202436 w 11269336"/>
              <a:gd name="connsiteY240" fmla="*/ 2209817 h 2323145"/>
              <a:gd name="connsiteX241" fmla="*/ 1136097 w 11269336"/>
              <a:gd name="connsiteY241" fmla="*/ 2205112 h 2323145"/>
              <a:gd name="connsiteX242" fmla="*/ 988232 w 11269336"/>
              <a:gd name="connsiteY242" fmla="*/ 2235635 h 2323145"/>
              <a:gd name="connsiteX243" fmla="*/ 981959 w 11269336"/>
              <a:gd name="connsiteY243" fmla="*/ 2231607 h 2323145"/>
              <a:gd name="connsiteX244" fmla="*/ 938600 w 11269336"/>
              <a:gd name="connsiteY244" fmla="*/ 2238113 h 2323145"/>
              <a:gd name="connsiteX245" fmla="*/ 791788 w 11269336"/>
              <a:gd name="connsiteY245" fmla="*/ 2293224 h 2323145"/>
              <a:gd name="connsiteX246" fmla="*/ 706914 w 11269336"/>
              <a:gd name="connsiteY246" fmla="*/ 2305046 h 2323145"/>
              <a:gd name="connsiteX247" fmla="*/ 675971 w 11269336"/>
              <a:gd name="connsiteY247" fmla="*/ 2304030 h 2323145"/>
              <a:gd name="connsiteX248" fmla="*/ 624180 w 11269336"/>
              <a:gd name="connsiteY248" fmla="*/ 2302650 h 2323145"/>
              <a:gd name="connsiteX249" fmla="*/ 583453 w 11269336"/>
              <a:gd name="connsiteY249" fmla="*/ 2288788 h 2323145"/>
              <a:gd name="connsiteX250" fmla="*/ 540946 w 11269336"/>
              <a:gd name="connsiteY250" fmla="*/ 2292721 h 2323145"/>
              <a:gd name="connsiteX251" fmla="*/ 533680 w 11269336"/>
              <a:gd name="connsiteY251" fmla="*/ 2310233 h 2323145"/>
              <a:gd name="connsiteX252" fmla="*/ 487366 w 11269336"/>
              <a:gd name="connsiteY252" fmla="*/ 2309053 h 2323145"/>
              <a:gd name="connsiteX253" fmla="*/ 416820 w 11269336"/>
              <a:gd name="connsiteY253" fmla="*/ 2305443 h 2323145"/>
              <a:gd name="connsiteX254" fmla="*/ 376805 w 11269336"/>
              <a:gd name="connsiteY254" fmla="*/ 2307647 h 2323145"/>
              <a:gd name="connsiteX255" fmla="*/ 266777 w 11269336"/>
              <a:gd name="connsiteY255" fmla="*/ 2309012 h 2323145"/>
              <a:gd name="connsiteX256" fmla="*/ 156013 w 11269336"/>
              <a:gd name="connsiteY256" fmla="*/ 2306832 h 2323145"/>
              <a:gd name="connsiteX257" fmla="*/ 87258 w 11269336"/>
              <a:gd name="connsiteY257" fmla="*/ 2285511 h 2323145"/>
              <a:gd name="connsiteX258" fmla="*/ 23798 w 11269336"/>
              <a:gd name="connsiteY258" fmla="*/ 2281822 h 2323145"/>
              <a:gd name="connsiteX259" fmla="*/ 0 w 11269336"/>
              <a:gd name="connsiteY259" fmla="*/ 2285369 h 2323145"/>
              <a:gd name="connsiteX260" fmla="*/ 0 w 11269336"/>
              <a:gd name="connsiteY260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593061 w 11269336"/>
              <a:gd name="connsiteY141" fmla="*/ 2171597 h 2323145"/>
              <a:gd name="connsiteX142" fmla="*/ 4533444 w 11269336"/>
              <a:gd name="connsiteY142" fmla="*/ 2181200 h 2323145"/>
              <a:gd name="connsiteX143" fmla="*/ 4492832 w 11269336"/>
              <a:gd name="connsiteY143" fmla="*/ 2188033 h 2323145"/>
              <a:gd name="connsiteX144" fmla="*/ 4467257 w 11269336"/>
              <a:gd name="connsiteY144" fmla="*/ 2196121 h 2323145"/>
              <a:gd name="connsiteX145" fmla="*/ 4459937 w 11269336"/>
              <a:gd name="connsiteY145" fmla="*/ 2195182 h 2323145"/>
              <a:gd name="connsiteX146" fmla="*/ 4433312 w 11269336"/>
              <a:gd name="connsiteY146" fmla="*/ 2199004 h 2323145"/>
              <a:gd name="connsiteX147" fmla="*/ 4420601 w 11269336"/>
              <a:gd name="connsiteY147" fmla="*/ 2205158 h 2323145"/>
              <a:gd name="connsiteX148" fmla="*/ 4405765 w 11269336"/>
              <a:gd name="connsiteY148" fmla="*/ 2199902 h 2323145"/>
              <a:gd name="connsiteX149" fmla="*/ 4401354 w 11269336"/>
              <a:gd name="connsiteY149" fmla="*/ 2194745 h 2323145"/>
              <a:gd name="connsiteX150" fmla="*/ 4383151 w 11269336"/>
              <a:gd name="connsiteY150" fmla="*/ 2201140 h 2323145"/>
              <a:gd name="connsiteX151" fmla="*/ 4366646 w 11269336"/>
              <a:gd name="connsiteY151" fmla="*/ 2198564 h 2323145"/>
              <a:gd name="connsiteX152" fmla="*/ 4354009 w 11269336"/>
              <a:gd name="connsiteY152" fmla="*/ 2204984 h 2323145"/>
              <a:gd name="connsiteX153" fmla="*/ 4348284 w 11269336"/>
              <a:gd name="connsiteY153" fmla="*/ 2205270 h 2323145"/>
              <a:gd name="connsiteX154" fmla="*/ 4333906 w 11269336"/>
              <a:gd name="connsiteY154" fmla="*/ 2205251 h 2323145"/>
              <a:gd name="connsiteX155" fmla="*/ 4308819 w 11269336"/>
              <a:gd name="connsiteY155" fmla="*/ 2203822 h 2323145"/>
              <a:gd name="connsiteX156" fmla="*/ 4301210 w 11269336"/>
              <a:gd name="connsiteY156" fmla="*/ 2204456 h 2323145"/>
              <a:gd name="connsiteX157" fmla="*/ 4283095 w 11269336"/>
              <a:gd name="connsiteY157" fmla="*/ 2198177 h 2323145"/>
              <a:gd name="connsiteX158" fmla="*/ 4250119 w 11269336"/>
              <a:gd name="connsiteY158" fmla="*/ 2196342 h 2323145"/>
              <a:gd name="connsiteX159" fmla="*/ 4189203 w 11269336"/>
              <a:gd name="connsiteY159" fmla="*/ 2178994 h 2323145"/>
              <a:gd name="connsiteX160" fmla="*/ 4154035 w 11269336"/>
              <a:gd name="connsiteY160" fmla="*/ 2171950 h 2323145"/>
              <a:gd name="connsiteX161" fmla="*/ 4129569 w 11269336"/>
              <a:gd name="connsiteY161" fmla="*/ 2163850 h 2323145"/>
              <a:gd name="connsiteX162" fmla="*/ 4061250 w 11269336"/>
              <a:gd name="connsiteY162" fmla="*/ 2159236 h 2323145"/>
              <a:gd name="connsiteX163" fmla="*/ 3945480 w 11269336"/>
              <a:gd name="connsiteY163" fmla="*/ 2158279 h 2323145"/>
              <a:gd name="connsiteX164" fmla="*/ 3921468 w 11269336"/>
              <a:gd name="connsiteY164" fmla="*/ 2156588 h 2323145"/>
              <a:gd name="connsiteX165" fmla="*/ 3903348 w 11269336"/>
              <a:gd name="connsiteY165" fmla="*/ 2149220 h 2323145"/>
              <a:gd name="connsiteX166" fmla="*/ 3901342 w 11269336"/>
              <a:gd name="connsiteY166" fmla="*/ 2142355 h 2323145"/>
              <a:gd name="connsiteX167" fmla="*/ 3888539 w 11269336"/>
              <a:gd name="connsiteY167" fmla="*/ 2140476 h 2323145"/>
              <a:gd name="connsiteX168" fmla="*/ 3885662 w 11269336"/>
              <a:gd name="connsiteY168" fmla="*/ 2138740 h 2323145"/>
              <a:gd name="connsiteX169" fmla="*/ 3868627 w 11269336"/>
              <a:gd name="connsiteY169" fmla="*/ 2130023 h 2323145"/>
              <a:gd name="connsiteX170" fmla="*/ 3819177 w 11269336"/>
              <a:gd name="connsiteY170" fmla="*/ 2142111 h 2323145"/>
              <a:gd name="connsiteX171" fmla="*/ 3769100 w 11269336"/>
              <a:gd name="connsiteY171" fmla="*/ 2131731 h 2323145"/>
              <a:gd name="connsiteX172" fmla="*/ 3562752 w 11269336"/>
              <a:gd name="connsiteY172" fmla="*/ 2131785 h 2323145"/>
              <a:gd name="connsiteX173" fmla="*/ 3541402 w 11269336"/>
              <a:gd name="connsiteY173" fmla="*/ 2106821 h 2323145"/>
              <a:gd name="connsiteX174" fmla="*/ 3365341 w 11269336"/>
              <a:gd name="connsiteY174" fmla="*/ 2077638 h 2323145"/>
              <a:gd name="connsiteX175" fmla="*/ 3170922 w 11269336"/>
              <a:gd name="connsiteY175" fmla="*/ 2115957 h 2323145"/>
              <a:gd name="connsiteX176" fmla="*/ 3156256 w 11269336"/>
              <a:gd name="connsiteY176" fmla="*/ 2124773 h 2323145"/>
              <a:gd name="connsiteX177" fmla="*/ 3140298 w 11269336"/>
              <a:gd name="connsiteY177" fmla="*/ 2129182 h 2323145"/>
              <a:gd name="connsiteX178" fmla="*/ 3138514 w 11269336"/>
              <a:gd name="connsiteY178" fmla="*/ 2128069 h 2323145"/>
              <a:gd name="connsiteX179" fmla="*/ 3120467 w 11269336"/>
              <a:gd name="connsiteY179" fmla="*/ 2128281 h 2323145"/>
              <a:gd name="connsiteX180" fmla="*/ 3116175 w 11269336"/>
              <a:gd name="connsiteY180" fmla="*/ 2131633 h 2323145"/>
              <a:gd name="connsiteX181" fmla="*/ 3103685 w 11269336"/>
              <a:gd name="connsiteY181" fmla="*/ 2132814 h 2323145"/>
              <a:gd name="connsiteX182" fmla="*/ 3078794 w 11269336"/>
              <a:gd name="connsiteY182" fmla="*/ 2137935 h 2323145"/>
              <a:gd name="connsiteX183" fmla="*/ 3074407 w 11269336"/>
              <a:gd name="connsiteY183" fmla="*/ 2136274 h 2323145"/>
              <a:gd name="connsiteX184" fmla="*/ 3037285 w 11269336"/>
              <a:gd name="connsiteY184" fmla="*/ 2139919 h 2323145"/>
              <a:gd name="connsiteX185" fmla="*/ 3036901 w 11269336"/>
              <a:gd name="connsiteY185" fmla="*/ 2138726 h 2323145"/>
              <a:gd name="connsiteX186" fmla="*/ 3026996 w 11269336"/>
              <a:gd name="connsiteY186" fmla="*/ 2134322 h 2323145"/>
              <a:gd name="connsiteX187" fmla="*/ 3007772 w 11269336"/>
              <a:gd name="connsiteY187" fmla="*/ 2128742 h 2323145"/>
              <a:gd name="connsiteX188" fmla="*/ 2965030 w 11269336"/>
              <a:gd name="connsiteY188" fmla="*/ 2100494 h 2323145"/>
              <a:gd name="connsiteX189" fmla="*/ 2926342 w 11269336"/>
              <a:gd name="connsiteY189" fmla="*/ 2104155 h 2323145"/>
              <a:gd name="connsiteX190" fmla="*/ 2918608 w 11269336"/>
              <a:gd name="connsiteY190" fmla="*/ 2104215 h 2323145"/>
              <a:gd name="connsiteX191" fmla="*/ 2918475 w 11269336"/>
              <a:gd name="connsiteY191" fmla="*/ 2103937 h 2323145"/>
              <a:gd name="connsiteX192" fmla="*/ 2910360 w 11269336"/>
              <a:gd name="connsiteY192" fmla="*/ 2103444 h 2323145"/>
              <a:gd name="connsiteX193" fmla="*/ 2904507 w 11269336"/>
              <a:gd name="connsiteY193" fmla="*/ 2104326 h 2323145"/>
              <a:gd name="connsiteX194" fmla="*/ 2889503 w 11269336"/>
              <a:gd name="connsiteY194" fmla="*/ 2104443 h 2323145"/>
              <a:gd name="connsiteX195" fmla="*/ 2884480 w 11269336"/>
              <a:gd name="connsiteY195" fmla="*/ 2102626 h 2323145"/>
              <a:gd name="connsiteX196" fmla="*/ 2882689 w 11269336"/>
              <a:gd name="connsiteY196" fmla="*/ 2099228 h 2323145"/>
              <a:gd name="connsiteX197" fmla="*/ 2881291 w 11269336"/>
              <a:gd name="connsiteY197" fmla="*/ 2099618 h 2323145"/>
              <a:gd name="connsiteX198" fmla="*/ 2853979 w 11269336"/>
              <a:gd name="connsiteY198" fmla="*/ 2090388 h 2323145"/>
              <a:gd name="connsiteX199" fmla="*/ 2791790 w 11269336"/>
              <a:gd name="connsiteY199" fmla="*/ 2080332 h 2323145"/>
              <a:gd name="connsiteX200" fmla="*/ 2755844 w 11269336"/>
              <a:gd name="connsiteY200" fmla="*/ 2078874 h 2323145"/>
              <a:gd name="connsiteX201" fmla="*/ 2657742 w 11269336"/>
              <a:gd name="connsiteY201" fmla="*/ 2070179 h 2323145"/>
              <a:gd name="connsiteX202" fmla="*/ 2559549 w 11269336"/>
              <a:gd name="connsiteY202" fmla="*/ 2057873 h 2323145"/>
              <a:gd name="connsiteX203" fmla="*/ 2512054 w 11269336"/>
              <a:gd name="connsiteY203" fmla="*/ 2031671 h 2323145"/>
              <a:gd name="connsiteX204" fmla="*/ 2506437 w 11269336"/>
              <a:gd name="connsiteY204" fmla="*/ 2030918 h 2323145"/>
              <a:gd name="connsiteX205" fmla="*/ 2491752 w 11269336"/>
              <a:gd name="connsiteY205" fmla="*/ 2033906 h 2323145"/>
              <a:gd name="connsiteX206" fmla="*/ 2486338 w 11269336"/>
              <a:gd name="connsiteY206" fmla="*/ 2035862 h 2323145"/>
              <a:gd name="connsiteX207" fmla="*/ 2478186 w 11269336"/>
              <a:gd name="connsiteY207" fmla="*/ 2036953 h 2323145"/>
              <a:gd name="connsiteX208" fmla="*/ 2477950 w 11269336"/>
              <a:gd name="connsiteY208" fmla="*/ 2036715 h 2323145"/>
              <a:gd name="connsiteX209" fmla="*/ 2470381 w 11269336"/>
              <a:gd name="connsiteY209" fmla="*/ 2038256 h 2323145"/>
              <a:gd name="connsiteX210" fmla="*/ 2433781 w 11269336"/>
              <a:gd name="connsiteY210" fmla="*/ 2049140 h 2323145"/>
              <a:gd name="connsiteX211" fmla="*/ 2381172 w 11269336"/>
              <a:gd name="connsiteY211" fmla="*/ 2030645 h 2323145"/>
              <a:gd name="connsiteX212" fmla="*/ 2360198 w 11269336"/>
              <a:gd name="connsiteY212" fmla="*/ 2029059 h 2323145"/>
              <a:gd name="connsiteX213" fmla="*/ 2348815 w 11269336"/>
              <a:gd name="connsiteY213" fmla="*/ 2026798 h 2323145"/>
              <a:gd name="connsiteX214" fmla="*/ 2347988 w 11269336"/>
              <a:gd name="connsiteY214" fmla="*/ 2025745 h 2323145"/>
              <a:gd name="connsiteX215" fmla="*/ 2312920 w 11269336"/>
              <a:gd name="connsiteY215" fmla="*/ 2036311 h 2323145"/>
              <a:gd name="connsiteX216" fmla="*/ 2307986 w 11269336"/>
              <a:gd name="connsiteY216" fmla="*/ 2035583 h 2323145"/>
              <a:gd name="connsiteX217" fmla="*/ 2285481 w 11269336"/>
              <a:gd name="connsiteY217" fmla="*/ 2045197 h 2323145"/>
              <a:gd name="connsiteX218" fmla="*/ 2273666 w 11269336"/>
              <a:gd name="connsiteY218" fmla="*/ 2048710 h 2323145"/>
              <a:gd name="connsiteX219" fmla="*/ 2270719 w 11269336"/>
              <a:gd name="connsiteY219" fmla="*/ 2052702 h 2323145"/>
              <a:gd name="connsiteX220" fmla="*/ 2253080 w 11269336"/>
              <a:gd name="connsiteY220" fmla="*/ 2056363 h 2323145"/>
              <a:gd name="connsiteX221" fmla="*/ 2250906 w 11269336"/>
              <a:gd name="connsiteY221" fmla="*/ 2055654 h 2323145"/>
              <a:gd name="connsiteX222" fmla="*/ 2236905 w 11269336"/>
              <a:gd name="connsiteY222" fmla="*/ 2062882 h 2323145"/>
              <a:gd name="connsiteX223" fmla="*/ 2225830 w 11269336"/>
              <a:gd name="connsiteY223" fmla="*/ 2074027 h 2323145"/>
              <a:gd name="connsiteX224" fmla="*/ 2073776 w 11269336"/>
              <a:gd name="connsiteY224" fmla="*/ 2089244 h 2323145"/>
              <a:gd name="connsiteX225" fmla="*/ 1948256 w 11269336"/>
              <a:gd name="connsiteY225" fmla="*/ 2146616 h 2323145"/>
              <a:gd name="connsiteX226" fmla="*/ 1865582 w 11269336"/>
              <a:gd name="connsiteY226" fmla="*/ 2153738 h 2323145"/>
              <a:gd name="connsiteX227" fmla="*/ 1835210 w 11269336"/>
              <a:gd name="connsiteY227" fmla="*/ 2134244 h 2323145"/>
              <a:gd name="connsiteX228" fmla="*/ 1632661 w 11269336"/>
              <a:gd name="connsiteY228" fmla="*/ 2173882 h 2323145"/>
              <a:gd name="connsiteX229" fmla="*/ 1579590 w 11269336"/>
              <a:gd name="connsiteY229" fmla="*/ 2173680 h 2323145"/>
              <a:gd name="connsiteX230" fmla="*/ 1535601 w 11269336"/>
              <a:gd name="connsiteY230" fmla="*/ 2194590 h 2323145"/>
              <a:gd name="connsiteX231" fmla="*/ 1515594 w 11269336"/>
              <a:gd name="connsiteY231" fmla="*/ 2189622 h 2323145"/>
              <a:gd name="connsiteX232" fmla="*/ 1512113 w 11269336"/>
              <a:gd name="connsiteY232" fmla="*/ 2188534 h 2323145"/>
              <a:gd name="connsiteX233" fmla="*/ 1498838 w 11269336"/>
              <a:gd name="connsiteY233" fmla="*/ 2189213 h 2323145"/>
              <a:gd name="connsiteX234" fmla="*/ 1494279 w 11269336"/>
              <a:gd name="connsiteY234" fmla="*/ 2183112 h 2323145"/>
              <a:gd name="connsiteX235" fmla="*/ 1473714 w 11269336"/>
              <a:gd name="connsiteY235" fmla="*/ 2179625 h 2323145"/>
              <a:gd name="connsiteX236" fmla="*/ 1449503 w 11269336"/>
              <a:gd name="connsiteY236" fmla="*/ 2182633 h 2323145"/>
              <a:gd name="connsiteX237" fmla="*/ 1266687 w 11269336"/>
              <a:gd name="connsiteY237" fmla="*/ 2212688 h 2323145"/>
              <a:gd name="connsiteX238" fmla="*/ 1239614 w 11269336"/>
              <a:gd name="connsiteY238" fmla="*/ 2209727 h 2323145"/>
              <a:gd name="connsiteX239" fmla="*/ 1202436 w 11269336"/>
              <a:gd name="connsiteY239" fmla="*/ 2209817 h 2323145"/>
              <a:gd name="connsiteX240" fmla="*/ 1136097 w 11269336"/>
              <a:gd name="connsiteY240" fmla="*/ 2205112 h 2323145"/>
              <a:gd name="connsiteX241" fmla="*/ 988232 w 11269336"/>
              <a:gd name="connsiteY241" fmla="*/ 2235635 h 2323145"/>
              <a:gd name="connsiteX242" fmla="*/ 981959 w 11269336"/>
              <a:gd name="connsiteY242" fmla="*/ 2231607 h 2323145"/>
              <a:gd name="connsiteX243" fmla="*/ 938600 w 11269336"/>
              <a:gd name="connsiteY243" fmla="*/ 2238113 h 2323145"/>
              <a:gd name="connsiteX244" fmla="*/ 791788 w 11269336"/>
              <a:gd name="connsiteY244" fmla="*/ 2293224 h 2323145"/>
              <a:gd name="connsiteX245" fmla="*/ 706914 w 11269336"/>
              <a:gd name="connsiteY245" fmla="*/ 2305046 h 2323145"/>
              <a:gd name="connsiteX246" fmla="*/ 675971 w 11269336"/>
              <a:gd name="connsiteY246" fmla="*/ 2304030 h 2323145"/>
              <a:gd name="connsiteX247" fmla="*/ 624180 w 11269336"/>
              <a:gd name="connsiteY247" fmla="*/ 2302650 h 2323145"/>
              <a:gd name="connsiteX248" fmla="*/ 583453 w 11269336"/>
              <a:gd name="connsiteY248" fmla="*/ 2288788 h 2323145"/>
              <a:gd name="connsiteX249" fmla="*/ 540946 w 11269336"/>
              <a:gd name="connsiteY249" fmla="*/ 2292721 h 2323145"/>
              <a:gd name="connsiteX250" fmla="*/ 533680 w 11269336"/>
              <a:gd name="connsiteY250" fmla="*/ 2310233 h 2323145"/>
              <a:gd name="connsiteX251" fmla="*/ 487366 w 11269336"/>
              <a:gd name="connsiteY251" fmla="*/ 2309053 h 2323145"/>
              <a:gd name="connsiteX252" fmla="*/ 416820 w 11269336"/>
              <a:gd name="connsiteY252" fmla="*/ 2305443 h 2323145"/>
              <a:gd name="connsiteX253" fmla="*/ 376805 w 11269336"/>
              <a:gd name="connsiteY253" fmla="*/ 2307647 h 2323145"/>
              <a:gd name="connsiteX254" fmla="*/ 266777 w 11269336"/>
              <a:gd name="connsiteY254" fmla="*/ 2309012 h 2323145"/>
              <a:gd name="connsiteX255" fmla="*/ 156013 w 11269336"/>
              <a:gd name="connsiteY255" fmla="*/ 2306832 h 2323145"/>
              <a:gd name="connsiteX256" fmla="*/ 87258 w 11269336"/>
              <a:gd name="connsiteY256" fmla="*/ 2285511 h 2323145"/>
              <a:gd name="connsiteX257" fmla="*/ 23798 w 11269336"/>
              <a:gd name="connsiteY257" fmla="*/ 2281822 h 2323145"/>
              <a:gd name="connsiteX258" fmla="*/ 0 w 11269336"/>
              <a:gd name="connsiteY258" fmla="*/ 2285369 h 2323145"/>
              <a:gd name="connsiteX259" fmla="*/ 0 w 11269336"/>
              <a:gd name="connsiteY259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20601 w 11269336"/>
              <a:gd name="connsiteY146" fmla="*/ 2205158 h 2323145"/>
              <a:gd name="connsiteX147" fmla="*/ 4405765 w 11269336"/>
              <a:gd name="connsiteY147" fmla="*/ 2199902 h 2323145"/>
              <a:gd name="connsiteX148" fmla="*/ 4401354 w 11269336"/>
              <a:gd name="connsiteY148" fmla="*/ 2194745 h 2323145"/>
              <a:gd name="connsiteX149" fmla="*/ 4383151 w 11269336"/>
              <a:gd name="connsiteY149" fmla="*/ 2201140 h 2323145"/>
              <a:gd name="connsiteX150" fmla="*/ 4366646 w 11269336"/>
              <a:gd name="connsiteY150" fmla="*/ 2198564 h 2323145"/>
              <a:gd name="connsiteX151" fmla="*/ 4354009 w 11269336"/>
              <a:gd name="connsiteY151" fmla="*/ 2204984 h 2323145"/>
              <a:gd name="connsiteX152" fmla="*/ 4348284 w 11269336"/>
              <a:gd name="connsiteY152" fmla="*/ 2205270 h 2323145"/>
              <a:gd name="connsiteX153" fmla="*/ 4333906 w 11269336"/>
              <a:gd name="connsiteY153" fmla="*/ 2205251 h 2323145"/>
              <a:gd name="connsiteX154" fmla="*/ 4308819 w 11269336"/>
              <a:gd name="connsiteY154" fmla="*/ 2203822 h 2323145"/>
              <a:gd name="connsiteX155" fmla="*/ 4301210 w 11269336"/>
              <a:gd name="connsiteY155" fmla="*/ 2204456 h 2323145"/>
              <a:gd name="connsiteX156" fmla="*/ 4283095 w 11269336"/>
              <a:gd name="connsiteY156" fmla="*/ 2198177 h 2323145"/>
              <a:gd name="connsiteX157" fmla="*/ 4250119 w 11269336"/>
              <a:gd name="connsiteY157" fmla="*/ 2196342 h 2323145"/>
              <a:gd name="connsiteX158" fmla="*/ 4189203 w 11269336"/>
              <a:gd name="connsiteY158" fmla="*/ 2178994 h 2323145"/>
              <a:gd name="connsiteX159" fmla="*/ 4154035 w 11269336"/>
              <a:gd name="connsiteY159" fmla="*/ 2171950 h 2323145"/>
              <a:gd name="connsiteX160" fmla="*/ 4129569 w 11269336"/>
              <a:gd name="connsiteY160" fmla="*/ 2163850 h 2323145"/>
              <a:gd name="connsiteX161" fmla="*/ 4061250 w 11269336"/>
              <a:gd name="connsiteY161" fmla="*/ 2159236 h 2323145"/>
              <a:gd name="connsiteX162" fmla="*/ 3945480 w 11269336"/>
              <a:gd name="connsiteY162" fmla="*/ 2158279 h 2323145"/>
              <a:gd name="connsiteX163" fmla="*/ 3921468 w 11269336"/>
              <a:gd name="connsiteY163" fmla="*/ 2156588 h 2323145"/>
              <a:gd name="connsiteX164" fmla="*/ 3903348 w 11269336"/>
              <a:gd name="connsiteY164" fmla="*/ 2149220 h 2323145"/>
              <a:gd name="connsiteX165" fmla="*/ 3901342 w 11269336"/>
              <a:gd name="connsiteY165" fmla="*/ 2142355 h 2323145"/>
              <a:gd name="connsiteX166" fmla="*/ 3888539 w 11269336"/>
              <a:gd name="connsiteY166" fmla="*/ 2140476 h 2323145"/>
              <a:gd name="connsiteX167" fmla="*/ 3885662 w 11269336"/>
              <a:gd name="connsiteY167" fmla="*/ 2138740 h 2323145"/>
              <a:gd name="connsiteX168" fmla="*/ 3868627 w 11269336"/>
              <a:gd name="connsiteY168" fmla="*/ 2130023 h 2323145"/>
              <a:gd name="connsiteX169" fmla="*/ 3819177 w 11269336"/>
              <a:gd name="connsiteY169" fmla="*/ 2142111 h 2323145"/>
              <a:gd name="connsiteX170" fmla="*/ 3769100 w 11269336"/>
              <a:gd name="connsiteY170" fmla="*/ 2131731 h 2323145"/>
              <a:gd name="connsiteX171" fmla="*/ 3562752 w 11269336"/>
              <a:gd name="connsiteY171" fmla="*/ 2131785 h 2323145"/>
              <a:gd name="connsiteX172" fmla="*/ 3541402 w 11269336"/>
              <a:gd name="connsiteY172" fmla="*/ 2106821 h 2323145"/>
              <a:gd name="connsiteX173" fmla="*/ 3365341 w 11269336"/>
              <a:gd name="connsiteY173" fmla="*/ 2077638 h 2323145"/>
              <a:gd name="connsiteX174" fmla="*/ 3170922 w 11269336"/>
              <a:gd name="connsiteY174" fmla="*/ 2115957 h 2323145"/>
              <a:gd name="connsiteX175" fmla="*/ 3156256 w 11269336"/>
              <a:gd name="connsiteY175" fmla="*/ 2124773 h 2323145"/>
              <a:gd name="connsiteX176" fmla="*/ 3140298 w 11269336"/>
              <a:gd name="connsiteY176" fmla="*/ 2129182 h 2323145"/>
              <a:gd name="connsiteX177" fmla="*/ 3138514 w 11269336"/>
              <a:gd name="connsiteY177" fmla="*/ 2128069 h 2323145"/>
              <a:gd name="connsiteX178" fmla="*/ 3120467 w 11269336"/>
              <a:gd name="connsiteY178" fmla="*/ 2128281 h 2323145"/>
              <a:gd name="connsiteX179" fmla="*/ 3116175 w 11269336"/>
              <a:gd name="connsiteY179" fmla="*/ 2131633 h 2323145"/>
              <a:gd name="connsiteX180" fmla="*/ 3103685 w 11269336"/>
              <a:gd name="connsiteY180" fmla="*/ 2132814 h 2323145"/>
              <a:gd name="connsiteX181" fmla="*/ 3078794 w 11269336"/>
              <a:gd name="connsiteY181" fmla="*/ 2137935 h 2323145"/>
              <a:gd name="connsiteX182" fmla="*/ 3074407 w 11269336"/>
              <a:gd name="connsiteY182" fmla="*/ 2136274 h 2323145"/>
              <a:gd name="connsiteX183" fmla="*/ 3037285 w 11269336"/>
              <a:gd name="connsiteY183" fmla="*/ 2139919 h 2323145"/>
              <a:gd name="connsiteX184" fmla="*/ 3036901 w 11269336"/>
              <a:gd name="connsiteY184" fmla="*/ 2138726 h 2323145"/>
              <a:gd name="connsiteX185" fmla="*/ 3026996 w 11269336"/>
              <a:gd name="connsiteY185" fmla="*/ 2134322 h 2323145"/>
              <a:gd name="connsiteX186" fmla="*/ 3007772 w 11269336"/>
              <a:gd name="connsiteY186" fmla="*/ 2128742 h 2323145"/>
              <a:gd name="connsiteX187" fmla="*/ 2965030 w 11269336"/>
              <a:gd name="connsiteY187" fmla="*/ 2100494 h 2323145"/>
              <a:gd name="connsiteX188" fmla="*/ 2926342 w 11269336"/>
              <a:gd name="connsiteY188" fmla="*/ 2104155 h 2323145"/>
              <a:gd name="connsiteX189" fmla="*/ 2918608 w 11269336"/>
              <a:gd name="connsiteY189" fmla="*/ 2104215 h 2323145"/>
              <a:gd name="connsiteX190" fmla="*/ 2918475 w 11269336"/>
              <a:gd name="connsiteY190" fmla="*/ 2103937 h 2323145"/>
              <a:gd name="connsiteX191" fmla="*/ 2910360 w 11269336"/>
              <a:gd name="connsiteY191" fmla="*/ 2103444 h 2323145"/>
              <a:gd name="connsiteX192" fmla="*/ 2904507 w 11269336"/>
              <a:gd name="connsiteY192" fmla="*/ 2104326 h 2323145"/>
              <a:gd name="connsiteX193" fmla="*/ 2889503 w 11269336"/>
              <a:gd name="connsiteY193" fmla="*/ 2104443 h 2323145"/>
              <a:gd name="connsiteX194" fmla="*/ 2884480 w 11269336"/>
              <a:gd name="connsiteY194" fmla="*/ 2102626 h 2323145"/>
              <a:gd name="connsiteX195" fmla="*/ 2882689 w 11269336"/>
              <a:gd name="connsiteY195" fmla="*/ 2099228 h 2323145"/>
              <a:gd name="connsiteX196" fmla="*/ 2881291 w 11269336"/>
              <a:gd name="connsiteY196" fmla="*/ 2099618 h 2323145"/>
              <a:gd name="connsiteX197" fmla="*/ 2853979 w 11269336"/>
              <a:gd name="connsiteY197" fmla="*/ 2090388 h 2323145"/>
              <a:gd name="connsiteX198" fmla="*/ 2791790 w 11269336"/>
              <a:gd name="connsiteY198" fmla="*/ 2080332 h 2323145"/>
              <a:gd name="connsiteX199" fmla="*/ 2755844 w 11269336"/>
              <a:gd name="connsiteY199" fmla="*/ 2078874 h 2323145"/>
              <a:gd name="connsiteX200" fmla="*/ 2657742 w 11269336"/>
              <a:gd name="connsiteY200" fmla="*/ 2070179 h 2323145"/>
              <a:gd name="connsiteX201" fmla="*/ 2559549 w 11269336"/>
              <a:gd name="connsiteY201" fmla="*/ 2057873 h 2323145"/>
              <a:gd name="connsiteX202" fmla="*/ 2512054 w 11269336"/>
              <a:gd name="connsiteY202" fmla="*/ 2031671 h 2323145"/>
              <a:gd name="connsiteX203" fmla="*/ 2506437 w 11269336"/>
              <a:gd name="connsiteY203" fmla="*/ 2030918 h 2323145"/>
              <a:gd name="connsiteX204" fmla="*/ 2491752 w 11269336"/>
              <a:gd name="connsiteY204" fmla="*/ 2033906 h 2323145"/>
              <a:gd name="connsiteX205" fmla="*/ 2486338 w 11269336"/>
              <a:gd name="connsiteY205" fmla="*/ 2035862 h 2323145"/>
              <a:gd name="connsiteX206" fmla="*/ 2478186 w 11269336"/>
              <a:gd name="connsiteY206" fmla="*/ 2036953 h 2323145"/>
              <a:gd name="connsiteX207" fmla="*/ 2477950 w 11269336"/>
              <a:gd name="connsiteY207" fmla="*/ 2036715 h 2323145"/>
              <a:gd name="connsiteX208" fmla="*/ 2470381 w 11269336"/>
              <a:gd name="connsiteY208" fmla="*/ 2038256 h 2323145"/>
              <a:gd name="connsiteX209" fmla="*/ 2433781 w 11269336"/>
              <a:gd name="connsiteY209" fmla="*/ 2049140 h 2323145"/>
              <a:gd name="connsiteX210" fmla="*/ 2381172 w 11269336"/>
              <a:gd name="connsiteY210" fmla="*/ 2030645 h 2323145"/>
              <a:gd name="connsiteX211" fmla="*/ 2360198 w 11269336"/>
              <a:gd name="connsiteY211" fmla="*/ 2029059 h 2323145"/>
              <a:gd name="connsiteX212" fmla="*/ 2348815 w 11269336"/>
              <a:gd name="connsiteY212" fmla="*/ 2026798 h 2323145"/>
              <a:gd name="connsiteX213" fmla="*/ 2347988 w 11269336"/>
              <a:gd name="connsiteY213" fmla="*/ 2025745 h 2323145"/>
              <a:gd name="connsiteX214" fmla="*/ 2312920 w 11269336"/>
              <a:gd name="connsiteY214" fmla="*/ 2036311 h 2323145"/>
              <a:gd name="connsiteX215" fmla="*/ 2307986 w 11269336"/>
              <a:gd name="connsiteY215" fmla="*/ 2035583 h 2323145"/>
              <a:gd name="connsiteX216" fmla="*/ 2285481 w 11269336"/>
              <a:gd name="connsiteY216" fmla="*/ 2045197 h 2323145"/>
              <a:gd name="connsiteX217" fmla="*/ 2273666 w 11269336"/>
              <a:gd name="connsiteY217" fmla="*/ 2048710 h 2323145"/>
              <a:gd name="connsiteX218" fmla="*/ 2270719 w 11269336"/>
              <a:gd name="connsiteY218" fmla="*/ 2052702 h 2323145"/>
              <a:gd name="connsiteX219" fmla="*/ 2253080 w 11269336"/>
              <a:gd name="connsiteY219" fmla="*/ 2056363 h 2323145"/>
              <a:gd name="connsiteX220" fmla="*/ 2250906 w 11269336"/>
              <a:gd name="connsiteY220" fmla="*/ 2055654 h 2323145"/>
              <a:gd name="connsiteX221" fmla="*/ 2236905 w 11269336"/>
              <a:gd name="connsiteY221" fmla="*/ 2062882 h 2323145"/>
              <a:gd name="connsiteX222" fmla="*/ 2225830 w 11269336"/>
              <a:gd name="connsiteY222" fmla="*/ 2074027 h 2323145"/>
              <a:gd name="connsiteX223" fmla="*/ 2073776 w 11269336"/>
              <a:gd name="connsiteY223" fmla="*/ 2089244 h 2323145"/>
              <a:gd name="connsiteX224" fmla="*/ 1948256 w 11269336"/>
              <a:gd name="connsiteY224" fmla="*/ 2146616 h 2323145"/>
              <a:gd name="connsiteX225" fmla="*/ 1865582 w 11269336"/>
              <a:gd name="connsiteY225" fmla="*/ 2153738 h 2323145"/>
              <a:gd name="connsiteX226" fmla="*/ 1835210 w 11269336"/>
              <a:gd name="connsiteY226" fmla="*/ 2134244 h 2323145"/>
              <a:gd name="connsiteX227" fmla="*/ 1632661 w 11269336"/>
              <a:gd name="connsiteY227" fmla="*/ 2173882 h 2323145"/>
              <a:gd name="connsiteX228" fmla="*/ 1579590 w 11269336"/>
              <a:gd name="connsiteY228" fmla="*/ 2173680 h 2323145"/>
              <a:gd name="connsiteX229" fmla="*/ 1535601 w 11269336"/>
              <a:gd name="connsiteY229" fmla="*/ 2194590 h 2323145"/>
              <a:gd name="connsiteX230" fmla="*/ 1515594 w 11269336"/>
              <a:gd name="connsiteY230" fmla="*/ 2189622 h 2323145"/>
              <a:gd name="connsiteX231" fmla="*/ 1512113 w 11269336"/>
              <a:gd name="connsiteY231" fmla="*/ 2188534 h 2323145"/>
              <a:gd name="connsiteX232" fmla="*/ 1498838 w 11269336"/>
              <a:gd name="connsiteY232" fmla="*/ 2189213 h 2323145"/>
              <a:gd name="connsiteX233" fmla="*/ 1494279 w 11269336"/>
              <a:gd name="connsiteY233" fmla="*/ 2183112 h 2323145"/>
              <a:gd name="connsiteX234" fmla="*/ 1473714 w 11269336"/>
              <a:gd name="connsiteY234" fmla="*/ 2179625 h 2323145"/>
              <a:gd name="connsiteX235" fmla="*/ 1449503 w 11269336"/>
              <a:gd name="connsiteY235" fmla="*/ 2182633 h 2323145"/>
              <a:gd name="connsiteX236" fmla="*/ 1266687 w 11269336"/>
              <a:gd name="connsiteY236" fmla="*/ 2212688 h 2323145"/>
              <a:gd name="connsiteX237" fmla="*/ 1239614 w 11269336"/>
              <a:gd name="connsiteY237" fmla="*/ 2209727 h 2323145"/>
              <a:gd name="connsiteX238" fmla="*/ 1202436 w 11269336"/>
              <a:gd name="connsiteY238" fmla="*/ 2209817 h 2323145"/>
              <a:gd name="connsiteX239" fmla="*/ 1136097 w 11269336"/>
              <a:gd name="connsiteY239" fmla="*/ 2205112 h 2323145"/>
              <a:gd name="connsiteX240" fmla="*/ 988232 w 11269336"/>
              <a:gd name="connsiteY240" fmla="*/ 2235635 h 2323145"/>
              <a:gd name="connsiteX241" fmla="*/ 981959 w 11269336"/>
              <a:gd name="connsiteY241" fmla="*/ 2231607 h 2323145"/>
              <a:gd name="connsiteX242" fmla="*/ 938600 w 11269336"/>
              <a:gd name="connsiteY242" fmla="*/ 2238113 h 2323145"/>
              <a:gd name="connsiteX243" fmla="*/ 791788 w 11269336"/>
              <a:gd name="connsiteY243" fmla="*/ 2293224 h 2323145"/>
              <a:gd name="connsiteX244" fmla="*/ 706914 w 11269336"/>
              <a:gd name="connsiteY244" fmla="*/ 2305046 h 2323145"/>
              <a:gd name="connsiteX245" fmla="*/ 675971 w 11269336"/>
              <a:gd name="connsiteY245" fmla="*/ 2304030 h 2323145"/>
              <a:gd name="connsiteX246" fmla="*/ 624180 w 11269336"/>
              <a:gd name="connsiteY246" fmla="*/ 2302650 h 2323145"/>
              <a:gd name="connsiteX247" fmla="*/ 583453 w 11269336"/>
              <a:gd name="connsiteY247" fmla="*/ 2288788 h 2323145"/>
              <a:gd name="connsiteX248" fmla="*/ 540946 w 11269336"/>
              <a:gd name="connsiteY248" fmla="*/ 2292721 h 2323145"/>
              <a:gd name="connsiteX249" fmla="*/ 533680 w 11269336"/>
              <a:gd name="connsiteY249" fmla="*/ 2310233 h 2323145"/>
              <a:gd name="connsiteX250" fmla="*/ 487366 w 11269336"/>
              <a:gd name="connsiteY250" fmla="*/ 2309053 h 2323145"/>
              <a:gd name="connsiteX251" fmla="*/ 416820 w 11269336"/>
              <a:gd name="connsiteY251" fmla="*/ 2305443 h 2323145"/>
              <a:gd name="connsiteX252" fmla="*/ 376805 w 11269336"/>
              <a:gd name="connsiteY252" fmla="*/ 2307647 h 2323145"/>
              <a:gd name="connsiteX253" fmla="*/ 266777 w 11269336"/>
              <a:gd name="connsiteY253" fmla="*/ 2309012 h 2323145"/>
              <a:gd name="connsiteX254" fmla="*/ 156013 w 11269336"/>
              <a:gd name="connsiteY254" fmla="*/ 2306832 h 2323145"/>
              <a:gd name="connsiteX255" fmla="*/ 87258 w 11269336"/>
              <a:gd name="connsiteY255" fmla="*/ 2285511 h 2323145"/>
              <a:gd name="connsiteX256" fmla="*/ 23798 w 11269336"/>
              <a:gd name="connsiteY256" fmla="*/ 2281822 h 2323145"/>
              <a:gd name="connsiteX257" fmla="*/ 0 w 11269336"/>
              <a:gd name="connsiteY257" fmla="*/ 2285369 h 2323145"/>
              <a:gd name="connsiteX258" fmla="*/ 0 w 11269336"/>
              <a:gd name="connsiteY258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20601 w 11269336"/>
              <a:gd name="connsiteY146" fmla="*/ 2205158 h 2323145"/>
              <a:gd name="connsiteX147" fmla="*/ 4405765 w 11269336"/>
              <a:gd name="connsiteY147" fmla="*/ 2199902 h 2323145"/>
              <a:gd name="connsiteX148" fmla="*/ 4401354 w 11269336"/>
              <a:gd name="connsiteY148" fmla="*/ 2194745 h 2323145"/>
              <a:gd name="connsiteX149" fmla="*/ 4366646 w 11269336"/>
              <a:gd name="connsiteY149" fmla="*/ 2198564 h 2323145"/>
              <a:gd name="connsiteX150" fmla="*/ 4354009 w 11269336"/>
              <a:gd name="connsiteY150" fmla="*/ 2204984 h 2323145"/>
              <a:gd name="connsiteX151" fmla="*/ 4348284 w 11269336"/>
              <a:gd name="connsiteY151" fmla="*/ 2205270 h 2323145"/>
              <a:gd name="connsiteX152" fmla="*/ 4333906 w 11269336"/>
              <a:gd name="connsiteY152" fmla="*/ 2205251 h 2323145"/>
              <a:gd name="connsiteX153" fmla="*/ 4308819 w 11269336"/>
              <a:gd name="connsiteY153" fmla="*/ 2203822 h 2323145"/>
              <a:gd name="connsiteX154" fmla="*/ 4301210 w 11269336"/>
              <a:gd name="connsiteY154" fmla="*/ 2204456 h 2323145"/>
              <a:gd name="connsiteX155" fmla="*/ 4283095 w 11269336"/>
              <a:gd name="connsiteY155" fmla="*/ 2198177 h 2323145"/>
              <a:gd name="connsiteX156" fmla="*/ 4250119 w 11269336"/>
              <a:gd name="connsiteY156" fmla="*/ 2196342 h 2323145"/>
              <a:gd name="connsiteX157" fmla="*/ 4189203 w 11269336"/>
              <a:gd name="connsiteY157" fmla="*/ 2178994 h 2323145"/>
              <a:gd name="connsiteX158" fmla="*/ 4154035 w 11269336"/>
              <a:gd name="connsiteY158" fmla="*/ 2171950 h 2323145"/>
              <a:gd name="connsiteX159" fmla="*/ 4129569 w 11269336"/>
              <a:gd name="connsiteY159" fmla="*/ 2163850 h 2323145"/>
              <a:gd name="connsiteX160" fmla="*/ 4061250 w 11269336"/>
              <a:gd name="connsiteY160" fmla="*/ 2159236 h 2323145"/>
              <a:gd name="connsiteX161" fmla="*/ 3945480 w 11269336"/>
              <a:gd name="connsiteY161" fmla="*/ 2158279 h 2323145"/>
              <a:gd name="connsiteX162" fmla="*/ 3921468 w 11269336"/>
              <a:gd name="connsiteY162" fmla="*/ 2156588 h 2323145"/>
              <a:gd name="connsiteX163" fmla="*/ 3903348 w 11269336"/>
              <a:gd name="connsiteY163" fmla="*/ 2149220 h 2323145"/>
              <a:gd name="connsiteX164" fmla="*/ 3901342 w 11269336"/>
              <a:gd name="connsiteY164" fmla="*/ 2142355 h 2323145"/>
              <a:gd name="connsiteX165" fmla="*/ 3888539 w 11269336"/>
              <a:gd name="connsiteY165" fmla="*/ 2140476 h 2323145"/>
              <a:gd name="connsiteX166" fmla="*/ 3885662 w 11269336"/>
              <a:gd name="connsiteY166" fmla="*/ 2138740 h 2323145"/>
              <a:gd name="connsiteX167" fmla="*/ 3868627 w 11269336"/>
              <a:gd name="connsiteY167" fmla="*/ 2130023 h 2323145"/>
              <a:gd name="connsiteX168" fmla="*/ 3819177 w 11269336"/>
              <a:gd name="connsiteY168" fmla="*/ 2142111 h 2323145"/>
              <a:gd name="connsiteX169" fmla="*/ 3769100 w 11269336"/>
              <a:gd name="connsiteY169" fmla="*/ 2131731 h 2323145"/>
              <a:gd name="connsiteX170" fmla="*/ 3562752 w 11269336"/>
              <a:gd name="connsiteY170" fmla="*/ 2131785 h 2323145"/>
              <a:gd name="connsiteX171" fmla="*/ 3541402 w 11269336"/>
              <a:gd name="connsiteY171" fmla="*/ 2106821 h 2323145"/>
              <a:gd name="connsiteX172" fmla="*/ 3365341 w 11269336"/>
              <a:gd name="connsiteY172" fmla="*/ 2077638 h 2323145"/>
              <a:gd name="connsiteX173" fmla="*/ 3170922 w 11269336"/>
              <a:gd name="connsiteY173" fmla="*/ 2115957 h 2323145"/>
              <a:gd name="connsiteX174" fmla="*/ 3156256 w 11269336"/>
              <a:gd name="connsiteY174" fmla="*/ 2124773 h 2323145"/>
              <a:gd name="connsiteX175" fmla="*/ 3140298 w 11269336"/>
              <a:gd name="connsiteY175" fmla="*/ 2129182 h 2323145"/>
              <a:gd name="connsiteX176" fmla="*/ 3138514 w 11269336"/>
              <a:gd name="connsiteY176" fmla="*/ 2128069 h 2323145"/>
              <a:gd name="connsiteX177" fmla="*/ 3120467 w 11269336"/>
              <a:gd name="connsiteY177" fmla="*/ 2128281 h 2323145"/>
              <a:gd name="connsiteX178" fmla="*/ 3116175 w 11269336"/>
              <a:gd name="connsiteY178" fmla="*/ 2131633 h 2323145"/>
              <a:gd name="connsiteX179" fmla="*/ 3103685 w 11269336"/>
              <a:gd name="connsiteY179" fmla="*/ 2132814 h 2323145"/>
              <a:gd name="connsiteX180" fmla="*/ 3078794 w 11269336"/>
              <a:gd name="connsiteY180" fmla="*/ 2137935 h 2323145"/>
              <a:gd name="connsiteX181" fmla="*/ 3074407 w 11269336"/>
              <a:gd name="connsiteY181" fmla="*/ 2136274 h 2323145"/>
              <a:gd name="connsiteX182" fmla="*/ 3037285 w 11269336"/>
              <a:gd name="connsiteY182" fmla="*/ 2139919 h 2323145"/>
              <a:gd name="connsiteX183" fmla="*/ 3036901 w 11269336"/>
              <a:gd name="connsiteY183" fmla="*/ 2138726 h 2323145"/>
              <a:gd name="connsiteX184" fmla="*/ 3026996 w 11269336"/>
              <a:gd name="connsiteY184" fmla="*/ 2134322 h 2323145"/>
              <a:gd name="connsiteX185" fmla="*/ 3007772 w 11269336"/>
              <a:gd name="connsiteY185" fmla="*/ 2128742 h 2323145"/>
              <a:gd name="connsiteX186" fmla="*/ 2965030 w 11269336"/>
              <a:gd name="connsiteY186" fmla="*/ 2100494 h 2323145"/>
              <a:gd name="connsiteX187" fmla="*/ 2926342 w 11269336"/>
              <a:gd name="connsiteY187" fmla="*/ 2104155 h 2323145"/>
              <a:gd name="connsiteX188" fmla="*/ 2918608 w 11269336"/>
              <a:gd name="connsiteY188" fmla="*/ 2104215 h 2323145"/>
              <a:gd name="connsiteX189" fmla="*/ 2918475 w 11269336"/>
              <a:gd name="connsiteY189" fmla="*/ 2103937 h 2323145"/>
              <a:gd name="connsiteX190" fmla="*/ 2910360 w 11269336"/>
              <a:gd name="connsiteY190" fmla="*/ 2103444 h 2323145"/>
              <a:gd name="connsiteX191" fmla="*/ 2904507 w 11269336"/>
              <a:gd name="connsiteY191" fmla="*/ 2104326 h 2323145"/>
              <a:gd name="connsiteX192" fmla="*/ 2889503 w 11269336"/>
              <a:gd name="connsiteY192" fmla="*/ 2104443 h 2323145"/>
              <a:gd name="connsiteX193" fmla="*/ 2884480 w 11269336"/>
              <a:gd name="connsiteY193" fmla="*/ 2102626 h 2323145"/>
              <a:gd name="connsiteX194" fmla="*/ 2882689 w 11269336"/>
              <a:gd name="connsiteY194" fmla="*/ 2099228 h 2323145"/>
              <a:gd name="connsiteX195" fmla="*/ 2881291 w 11269336"/>
              <a:gd name="connsiteY195" fmla="*/ 2099618 h 2323145"/>
              <a:gd name="connsiteX196" fmla="*/ 2853979 w 11269336"/>
              <a:gd name="connsiteY196" fmla="*/ 2090388 h 2323145"/>
              <a:gd name="connsiteX197" fmla="*/ 2791790 w 11269336"/>
              <a:gd name="connsiteY197" fmla="*/ 2080332 h 2323145"/>
              <a:gd name="connsiteX198" fmla="*/ 2755844 w 11269336"/>
              <a:gd name="connsiteY198" fmla="*/ 2078874 h 2323145"/>
              <a:gd name="connsiteX199" fmla="*/ 2657742 w 11269336"/>
              <a:gd name="connsiteY199" fmla="*/ 2070179 h 2323145"/>
              <a:gd name="connsiteX200" fmla="*/ 2559549 w 11269336"/>
              <a:gd name="connsiteY200" fmla="*/ 2057873 h 2323145"/>
              <a:gd name="connsiteX201" fmla="*/ 2512054 w 11269336"/>
              <a:gd name="connsiteY201" fmla="*/ 2031671 h 2323145"/>
              <a:gd name="connsiteX202" fmla="*/ 2506437 w 11269336"/>
              <a:gd name="connsiteY202" fmla="*/ 2030918 h 2323145"/>
              <a:gd name="connsiteX203" fmla="*/ 2491752 w 11269336"/>
              <a:gd name="connsiteY203" fmla="*/ 2033906 h 2323145"/>
              <a:gd name="connsiteX204" fmla="*/ 2486338 w 11269336"/>
              <a:gd name="connsiteY204" fmla="*/ 2035862 h 2323145"/>
              <a:gd name="connsiteX205" fmla="*/ 2478186 w 11269336"/>
              <a:gd name="connsiteY205" fmla="*/ 2036953 h 2323145"/>
              <a:gd name="connsiteX206" fmla="*/ 2477950 w 11269336"/>
              <a:gd name="connsiteY206" fmla="*/ 2036715 h 2323145"/>
              <a:gd name="connsiteX207" fmla="*/ 2470381 w 11269336"/>
              <a:gd name="connsiteY207" fmla="*/ 2038256 h 2323145"/>
              <a:gd name="connsiteX208" fmla="*/ 2433781 w 11269336"/>
              <a:gd name="connsiteY208" fmla="*/ 2049140 h 2323145"/>
              <a:gd name="connsiteX209" fmla="*/ 2381172 w 11269336"/>
              <a:gd name="connsiteY209" fmla="*/ 2030645 h 2323145"/>
              <a:gd name="connsiteX210" fmla="*/ 2360198 w 11269336"/>
              <a:gd name="connsiteY210" fmla="*/ 2029059 h 2323145"/>
              <a:gd name="connsiteX211" fmla="*/ 2348815 w 11269336"/>
              <a:gd name="connsiteY211" fmla="*/ 2026798 h 2323145"/>
              <a:gd name="connsiteX212" fmla="*/ 2347988 w 11269336"/>
              <a:gd name="connsiteY212" fmla="*/ 2025745 h 2323145"/>
              <a:gd name="connsiteX213" fmla="*/ 2312920 w 11269336"/>
              <a:gd name="connsiteY213" fmla="*/ 2036311 h 2323145"/>
              <a:gd name="connsiteX214" fmla="*/ 2307986 w 11269336"/>
              <a:gd name="connsiteY214" fmla="*/ 2035583 h 2323145"/>
              <a:gd name="connsiteX215" fmla="*/ 2285481 w 11269336"/>
              <a:gd name="connsiteY215" fmla="*/ 2045197 h 2323145"/>
              <a:gd name="connsiteX216" fmla="*/ 2273666 w 11269336"/>
              <a:gd name="connsiteY216" fmla="*/ 2048710 h 2323145"/>
              <a:gd name="connsiteX217" fmla="*/ 2270719 w 11269336"/>
              <a:gd name="connsiteY217" fmla="*/ 2052702 h 2323145"/>
              <a:gd name="connsiteX218" fmla="*/ 2253080 w 11269336"/>
              <a:gd name="connsiteY218" fmla="*/ 2056363 h 2323145"/>
              <a:gd name="connsiteX219" fmla="*/ 2250906 w 11269336"/>
              <a:gd name="connsiteY219" fmla="*/ 2055654 h 2323145"/>
              <a:gd name="connsiteX220" fmla="*/ 2236905 w 11269336"/>
              <a:gd name="connsiteY220" fmla="*/ 2062882 h 2323145"/>
              <a:gd name="connsiteX221" fmla="*/ 2225830 w 11269336"/>
              <a:gd name="connsiteY221" fmla="*/ 2074027 h 2323145"/>
              <a:gd name="connsiteX222" fmla="*/ 2073776 w 11269336"/>
              <a:gd name="connsiteY222" fmla="*/ 2089244 h 2323145"/>
              <a:gd name="connsiteX223" fmla="*/ 1948256 w 11269336"/>
              <a:gd name="connsiteY223" fmla="*/ 2146616 h 2323145"/>
              <a:gd name="connsiteX224" fmla="*/ 1865582 w 11269336"/>
              <a:gd name="connsiteY224" fmla="*/ 2153738 h 2323145"/>
              <a:gd name="connsiteX225" fmla="*/ 1835210 w 11269336"/>
              <a:gd name="connsiteY225" fmla="*/ 2134244 h 2323145"/>
              <a:gd name="connsiteX226" fmla="*/ 1632661 w 11269336"/>
              <a:gd name="connsiteY226" fmla="*/ 2173882 h 2323145"/>
              <a:gd name="connsiteX227" fmla="*/ 1579590 w 11269336"/>
              <a:gd name="connsiteY227" fmla="*/ 2173680 h 2323145"/>
              <a:gd name="connsiteX228" fmla="*/ 1535601 w 11269336"/>
              <a:gd name="connsiteY228" fmla="*/ 2194590 h 2323145"/>
              <a:gd name="connsiteX229" fmla="*/ 1515594 w 11269336"/>
              <a:gd name="connsiteY229" fmla="*/ 2189622 h 2323145"/>
              <a:gd name="connsiteX230" fmla="*/ 1512113 w 11269336"/>
              <a:gd name="connsiteY230" fmla="*/ 2188534 h 2323145"/>
              <a:gd name="connsiteX231" fmla="*/ 1498838 w 11269336"/>
              <a:gd name="connsiteY231" fmla="*/ 2189213 h 2323145"/>
              <a:gd name="connsiteX232" fmla="*/ 1494279 w 11269336"/>
              <a:gd name="connsiteY232" fmla="*/ 2183112 h 2323145"/>
              <a:gd name="connsiteX233" fmla="*/ 1473714 w 11269336"/>
              <a:gd name="connsiteY233" fmla="*/ 2179625 h 2323145"/>
              <a:gd name="connsiteX234" fmla="*/ 1449503 w 11269336"/>
              <a:gd name="connsiteY234" fmla="*/ 2182633 h 2323145"/>
              <a:gd name="connsiteX235" fmla="*/ 1266687 w 11269336"/>
              <a:gd name="connsiteY235" fmla="*/ 2212688 h 2323145"/>
              <a:gd name="connsiteX236" fmla="*/ 1239614 w 11269336"/>
              <a:gd name="connsiteY236" fmla="*/ 2209727 h 2323145"/>
              <a:gd name="connsiteX237" fmla="*/ 1202436 w 11269336"/>
              <a:gd name="connsiteY237" fmla="*/ 2209817 h 2323145"/>
              <a:gd name="connsiteX238" fmla="*/ 1136097 w 11269336"/>
              <a:gd name="connsiteY238" fmla="*/ 2205112 h 2323145"/>
              <a:gd name="connsiteX239" fmla="*/ 988232 w 11269336"/>
              <a:gd name="connsiteY239" fmla="*/ 2235635 h 2323145"/>
              <a:gd name="connsiteX240" fmla="*/ 981959 w 11269336"/>
              <a:gd name="connsiteY240" fmla="*/ 2231607 h 2323145"/>
              <a:gd name="connsiteX241" fmla="*/ 938600 w 11269336"/>
              <a:gd name="connsiteY241" fmla="*/ 2238113 h 2323145"/>
              <a:gd name="connsiteX242" fmla="*/ 791788 w 11269336"/>
              <a:gd name="connsiteY242" fmla="*/ 2293224 h 2323145"/>
              <a:gd name="connsiteX243" fmla="*/ 706914 w 11269336"/>
              <a:gd name="connsiteY243" fmla="*/ 2305046 h 2323145"/>
              <a:gd name="connsiteX244" fmla="*/ 675971 w 11269336"/>
              <a:gd name="connsiteY244" fmla="*/ 2304030 h 2323145"/>
              <a:gd name="connsiteX245" fmla="*/ 624180 w 11269336"/>
              <a:gd name="connsiteY245" fmla="*/ 2302650 h 2323145"/>
              <a:gd name="connsiteX246" fmla="*/ 583453 w 11269336"/>
              <a:gd name="connsiteY246" fmla="*/ 2288788 h 2323145"/>
              <a:gd name="connsiteX247" fmla="*/ 540946 w 11269336"/>
              <a:gd name="connsiteY247" fmla="*/ 2292721 h 2323145"/>
              <a:gd name="connsiteX248" fmla="*/ 533680 w 11269336"/>
              <a:gd name="connsiteY248" fmla="*/ 2310233 h 2323145"/>
              <a:gd name="connsiteX249" fmla="*/ 487366 w 11269336"/>
              <a:gd name="connsiteY249" fmla="*/ 2309053 h 2323145"/>
              <a:gd name="connsiteX250" fmla="*/ 416820 w 11269336"/>
              <a:gd name="connsiteY250" fmla="*/ 2305443 h 2323145"/>
              <a:gd name="connsiteX251" fmla="*/ 376805 w 11269336"/>
              <a:gd name="connsiteY251" fmla="*/ 2307647 h 2323145"/>
              <a:gd name="connsiteX252" fmla="*/ 266777 w 11269336"/>
              <a:gd name="connsiteY252" fmla="*/ 2309012 h 2323145"/>
              <a:gd name="connsiteX253" fmla="*/ 156013 w 11269336"/>
              <a:gd name="connsiteY253" fmla="*/ 2306832 h 2323145"/>
              <a:gd name="connsiteX254" fmla="*/ 87258 w 11269336"/>
              <a:gd name="connsiteY254" fmla="*/ 2285511 h 2323145"/>
              <a:gd name="connsiteX255" fmla="*/ 23798 w 11269336"/>
              <a:gd name="connsiteY255" fmla="*/ 2281822 h 2323145"/>
              <a:gd name="connsiteX256" fmla="*/ 0 w 11269336"/>
              <a:gd name="connsiteY256" fmla="*/ 2285369 h 2323145"/>
              <a:gd name="connsiteX257" fmla="*/ 0 w 11269336"/>
              <a:gd name="connsiteY257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05765 w 11269336"/>
              <a:gd name="connsiteY146" fmla="*/ 2199902 h 2323145"/>
              <a:gd name="connsiteX147" fmla="*/ 4401354 w 11269336"/>
              <a:gd name="connsiteY147" fmla="*/ 2194745 h 2323145"/>
              <a:gd name="connsiteX148" fmla="*/ 4366646 w 11269336"/>
              <a:gd name="connsiteY148" fmla="*/ 2198564 h 2323145"/>
              <a:gd name="connsiteX149" fmla="*/ 4354009 w 11269336"/>
              <a:gd name="connsiteY149" fmla="*/ 2204984 h 2323145"/>
              <a:gd name="connsiteX150" fmla="*/ 4348284 w 11269336"/>
              <a:gd name="connsiteY150" fmla="*/ 2205270 h 2323145"/>
              <a:gd name="connsiteX151" fmla="*/ 4333906 w 11269336"/>
              <a:gd name="connsiteY151" fmla="*/ 2205251 h 2323145"/>
              <a:gd name="connsiteX152" fmla="*/ 4308819 w 11269336"/>
              <a:gd name="connsiteY152" fmla="*/ 2203822 h 2323145"/>
              <a:gd name="connsiteX153" fmla="*/ 4301210 w 11269336"/>
              <a:gd name="connsiteY153" fmla="*/ 2204456 h 2323145"/>
              <a:gd name="connsiteX154" fmla="*/ 4283095 w 11269336"/>
              <a:gd name="connsiteY154" fmla="*/ 2198177 h 2323145"/>
              <a:gd name="connsiteX155" fmla="*/ 4250119 w 11269336"/>
              <a:gd name="connsiteY155" fmla="*/ 2196342 h 2323145"/>
              <a:gd name="connsiteX156" fmla="*/ 4189203 w 11269336"/>
              <a:gd name="connsiteY156" fmla="*/ 2178994 h 2323145"/>
              <a:gd name="connsiteX157" fmla="*/ 4154035 w 11269336"/>
              <a:gd name="connsiteY157" fmla="*/ 2171950 h 2323145"/>
              <a:gd name="connsiteX158" fmla="*/ 4129569 w 11269336"/>
              <a:gd name="connsiteY158" fmla="*/ 2163850 h 2323145"/>
              <a:gd name="connsiteX159" fmla="*/ 4061250 w 11269336"/>
              <a:gd name="connsiteY159" fmla="*/ 2159236 h 2323145"/>
              <a:gd name="connsiteX160" fmla="*/ 3945480 w 11269336"/>
              <a:gd name="connsiteY160" fmla="*/ 2158279 h 2323145"/>
              <a:gd name="connsiteX161" fmla="*/ 3921468 w 11269336"/>
              <a:gd name="connsiteY161" fmla="*/ 2156588 h 2323145"/>
              <a:gd name="connsiteX162" fmla="*/ 3903348 w 11269336"/>
              <a:gd name="connsiteY162" fmla="*/ 2149220 h 2323145"/>
              <a:gd name="connsiteX163" fmla="*/ 3901342 w 11269336"/>
              <a:gd name="connsiteY163" fmla="*/ 2142355 h 2323145"/>
              <a:gd name="connsiteX164" fmla="*/ 3888539 w 11269336"/>
              <a:gd name="connsiteY164" fmla="*/ 2140476 h 2323145"/>
              <a:gd name="connsiteX165" fmla="*/ 3885662 w 11269336"/>
              <a:gd name="connsiteY165" fmla="*/ 2138740 h 2323145"/>
              <a:gd name="connsiteX166" fmla="*/ 3868627 w 11269336"/>
              <a:gd name="connsiteY166" fmla="*/ 2130023 h 2323145"/>
              <a:gd name="connsiteX167" fmla="*/ 3819177 w 11269336"/>
              <a:gd name="connsiteY167" fmla="*/ 2142111 h 2323145"/>
              <a:gd name="connsiteX168" fmla="*/ 3769100 w 11269336"/>
              <a:gd name="connsiteY168" fmla="*/ 2131731 h 2323145"/>
              <a:gd name="connsiteX169" fmla="*/ 3562752 w 11269336"/>
              <a:gd name="connsiteY169" fmla="*/ 2131785 h 2323145"/>
              <a:gd name="connsiteX170" fmla="*/ 3541402 w 11269336"/>
              <a:gd name="connsiteY170" fmla="*/ 2106821 h 2323145"/>
              <a:gd name="connsiteX171" fmla="*/ 3365341 w 11269336"/>
              <a:gd name="connsiteY171" fmla="*/ 2077638 h 2323145"/>
              <a:gd name="connsiteX172" fmla="*/ 3170922 w 11269336"/>
              <a:gd name="connsiteY172" fmla="*/ 2115957 h 2323145"/>
              <a:gd name="connsiteX173" fmla="*/ 3156256 w 11269336"/>
              <a:gd name="connsiteY173" fmla="*/ 2124773 h 2323145"/>
              <a:gd name="connsiteX174" fmla="*/ 3140298 w 11269336"/>
              <a:gd name="connsiteY174" fmla="*/ 2129182 h 2323145"/>
              <a:gd name="connsiteX175" fmla="*/ 3138514 w 11269336"/>
              <a:gd name="connsiteY175" fmla="*/ 2128069 h 2323145"/>
              <a:gd name="connsiteX176" fmla="*/ 3120467 w 11269336"/>
              <a:gd name="connsiteY176" fmla="*/ 2128281 h 2323145"/>
              <a:gd name="connsiteX177" fmla="*/ 3116175 w 11269336"/>
              <a:gd name="connsiteY177" fmla="*/ 2131633 h 2323145"/>
              <a:gd name="connsiteX178" fmla="*/ 3103685 w 11269336"/>
              <a:gd name="connsiteY178" fmla="*/ 2132814 h 2323145"/>
              <a:gd name="connsiteX179" fmla="*/ 3078794 w 11269336"/>
              <a:gd name="connsiteY179" fmla="*/ 2137935 h 2323145"/>
              <a:gd name="connsiteX180" fmla="*/ 3074407 w 11269336"/>
              <a:gd name="connsiteY180" fmla="*/ 2136274 h 2323145"/>
              <a:gd name="connsiteX181" fmla="*/ 3037285 w 11269336"/>
              <a:gd name="connsiteY181" fmla="*/ 2139919 h 2323145"/>
              <a:gd name="connsiteX182" fmla="*/ 3036901 w 11269336"/>
              <a:gd name="connsiteY182" fmla="*/ 2138726 h 2323145"/>
              <a:gd name="connsiteX183" fmla="*/ 3026996 w 11269336"/>
              <a:gd name="connsiteY183" fmla="*/ 2134322 h 2323145"/>
              <a:gd name="connsiteX184" fmla="*/ 3007772 w 11269336"/>
              <a:gd name="connsiteY184" fmla="*/ 2128742 h 2323145"/>
              <a:gd name="connsiteX185" fmla="*/ 2965030 w 11269336"/>
              <a:gd name="connsiteY185" fmla="*/ 2100494 h 2323145"/>
              <a:gd name="connsiteX186" fmla="*/ 2926342 w 11269336"/>
              <a:gd name="connsiteY186" fmla="*/ 2104155 h 2323145"/>
              <a:gd name="connsiteX187" fmla="*/ 2918608 w 11269336"/>
              <a:gd name="connsiteY187" fmla="*/ 2104215 h 2323145"/>
              <a:gd name="connsiteX188" fmla="*/ 2918475 w 11269336"/>
              <a:gd name="connsiteY188" fmla="*/ 2103937 h 2323145"/>
              <a:gd name="connsiteX189" fmla="*/ 2910360 w 11269336"/>
              <a:gd name="connsiteY189" fmla="*/ 2103444 h 2323145"/>
              <a:gd name="connsiteX190" fmla="*/ 2904507 w 11269336"/>
              <a:gd name="connsiteY190" fmla="*/ 2104326 h 2323145"/>
              <a:gd name="connsiteX191" fmla="*/ 2889503 w 11269336"/>
              <a:gd name="connsiteY191" fmla="*/ 2104443 h 2323145"/>
              <a:gd name="connsiteX192" fmla="*/ 2884480 w 11269336"/>
              <a:gd name="connsiteY192" fmla="*/ 2102626 h 2323145"/>
              <a:gd name="connsiteX193" fmla="*/ 2882689 w 11269336"/>
              <a:gd name="connsiteY193" fmla="*/ 2099228 h 2323145"/>
              <a:gd name="connsiteX194" fmla="*/ 2881291 w 11269336"/>
              <a:gd name="connsiteY194" fmla="*/ 2099618 h 2323145"/>
              <a:gd name="connsiteX195" fmla="*/ 2853979 w 11269336"/>
              <a:gd name="connsiteY195" fmla="*/ 2090388 h 2323145"/>
              <a:gd name="connsiteX196" fmla="*/ 2791790 w 11269336"/>
              <a:gd name="connsiteY196" fmla="*/ 2080332 h 2323145"/>
              <a:gd name="connsiteX197" fmla="*/ 2755844 w 11269336"/>
              <a:gd name="connsiteY197" fmla="*/ 2078874 h 2323145"/>
              <a:gd name="connsiteX198" fmla="*/ 2657742 w 11269336"/>
              <a:gd name="connsiteY198" fmla="*/ 2070179 h 2323145"/>
              <a:gd name="connsiteX199" fmla="*/ 2559549 w 11269336"/>
              <a:gd name="connsiteY199" fmla="*/ 2057873 h 2323145"/>
              <a:gd name="connsiteX200" fmla="*/ 2512054 w 11269336"/>
              <a:gd name="connsiteY200" fmla="*/ 2031671 h 2323145"/>
              <a:gd name="connsiteX201" fmla="*/ 2506437 w 11269336"/>
              <a:gd name="connsiteY201" fmla="*/ 2030918 h 2323145"/>
              <a:gd name="connsiteX202" fmla="*/ 2491752 w 11269336"/>
              <a:gd name="connsiteY202" fmla="*/ 2033906 h 2323145"/>
              <a:gd name="connsiteX203" fmla="*/ 2486338 w 11269336"/>
              <a:gd name="connsiteY203" fmla="*/ 2035862 h 2323145"/>
              <a:gd name="connsiteX204" fmla="*/ 2478186 w 11269336"/>
              <a:gd name="connsiteY204" fmla="*/ 2036953 h 2323145"/>
              <a:gd name="connsiteX205" fmla="*/ 2477950 w 11269336"/>
              <a:gd name="connsiteY205" fmla="*/ 2036715 h 2323145"/>
              <a:gd name="connsiteX206" fmla="*/ 2470381 w 11269336"/>
              <a:gd name="connsiteY206" fmla="*/ 2038256 h 2323145"/>
              <a:gd name="connsiteX207" fmla="*/ 2433781 w 11269336"/>
              <a:gd name="connsiteY207" fmla="*/ 2049140 h 2323145"/>
              <a:gd name="connsiteX208" fmla="*/ 2381172 w 11269336"/>
              <a:gd name="connsiteY208" fmla="*/ 2030645 h 2323145"/>
              <a:gd name="connsiteX209" fmla="*/ 2360198 w 11269336"/>
              <a:gd name="connsiteY209" fmla="*/ 2029059 h 2323145"/>
              <a:gd name="connsiteX210" fmla="*/ 2348815 w 11269336"/>
              <a:gd name="connsiteY210" fmla="*/ 2026798 h 2323145"/>
              <a:gd name="connsiteX211" fmla="*/ 2347988 w 11269336"/>
              <a:gd name="connsiteY211" fmla="*/ 2025745 h 2323145"/>
              <a:gd name="connsiteX212" fmla="*/ 2312920 w 11269336"/>
              <a:gd name="connsiteY212" fmla="*/ 2036311 h 2323145"/>
              <a:gd name="connsiteX213" fmla="*/ 2307986 w 11269336"/>
              <a:gd name="connsiteY213" fmla="*/ 2035583 h 2323145"/>
              <a:gd name="connsiteX214" fmla="*/ 2285481 w 11269336"/>
              <a:gd name="connsiteY214" fmla="*/ 2045197 h 2323145"/>
              <a:gd name="connsiteX215" fmla="*/ 2273666 w 11269336"/>
              <a:gd name="connsiteY215" fmla="*/ 2048710 h 2323145"/>
              <a:gd name="connsiteX216" fmla="*/ 2270719 w 11269336"/>
              <a:gd name="connsiteY216" fmla="*/ 2052702 h 2323145"/>
              <a:gd name="connsiteX217" fmla="*/ 2253080 w 11269336"/>
              <a:gd name="connsiteY217" fmla="*/ 2056363 h 2323145"/>
              <a:gd name="connsiteX218" fmla="*/ 2250906 w 11269336"/>
              <a:gd name="connsiteY218" fmla="*/ 2055654 h 2323145"/>
              <a:gd name="connsiteX219" fmla="*/ 2236905 w 11269336"/>
              <a:gd name="connsiteY219" fmla="*/ 2062882 h 2323145"/>
              <a:gd name="connsiteX220" fmla="*/ 2225830 w 11269336"/>
              <a:gd name="connsiteY220" fmla="*/ 2074027 h 2323145"/>
              <a:gd name="connsiteX221" fmla="*/ 2073776 w 11269336"/>
              <a:gd name="connsiteY221" fmla="*/ 2089244 h 2323145"/>
              <a:gd name="connsiteX222" fmla="*/ 1948256 w 11269336"/>
              <a:gd name="connsiteY222" fmla="*/ 2146616 h 2323145"/>
              <a:gd name="connsiteX223" fmla="*/ 1865582 w 11269336"/>
              <a:gd name="connsiteY223" fmla="*/ 2153738 h 2323145"/>
              <a:gd name="connsiteX224" fmla="*/ 1835210 w 11269336"/>
              <a:gd name="connsiteY224" fmla="*/ 2134244 h 2323145"/>
              <a:gd name="connsiteX225" fmla="*/ 1632661 w 11269336"/>
              <a:gd name="connsiteY225" fmla="*/ 2173882 h 2323145"/>
              <a:gd name="connsiteX226" fmla="*/ 1579590 w 11269336"/>
              <a:gd name="connsiteY226" fmla="*/ 2173680 h 2323145"/>
              <a:gd name="connsiteX227" fmla="*/ 1535601 w 11269336"/>
              <a:gd name="connsiteY227" fmla="*/ 2194590 h 2323145"/>
              <a:gd name="connsiteX228" fmla="*/ 1515594 w 11269336"/>
              <a:gd name="connsiteY228" fmla="*/ 2189622 h 2323145"/>
              <a:gd name="connsiteX229" fmla="*/ 1512113 w 11269336"/>
              <a:gd name="connsiteY229" fmla="*/ 2188534 h 2323145"/>
              <a:gd name="connsiteX230" fmla="*/ 1498838 w 11269336"/>
              <a:gd name="connsiteY230" fmla="*/ 2189213 h 2323145"/>
              <a:gd name="connsiteX231" fmla="*/ 1494279 w 11269336"/>
              <a:gd name="connsiteY231" fmla="*/ 2183112 h 2323145"/>
              <a:gd name="connsiteX232" fmla="*/ 1473714 w 11269336"/>
              <a:gd name="connsiteY232" fmla="*/ 2179625 h 2323145"/>
              <a:gd name="connsiteX233" fmla="*/ 1449503 w 11269336"/>
              <a:gd name="connsiteY233" fmla="*/ 2182633 h 2323145"/>
              <a:gd name="connsiteX234" fmla="*/ 1266687 w 11269336"/>
              <a:gd name="connsiteY234" fmla="*/ 2212688 h 2323145"/>
              <a:gd name="connsiteX235" fmla="*/ 1239614 w 11269336"/>
              <a:gd name="connsiteY235" fmla="*/ 2209727 h 2323145"/>
              <a:gd name="connsiteX236" fmla="*/ 1202436 w 11269336"/>
              <a:gd name="connsiteY236" fmla="*/ 2209817 h 2323145"/>
              <a:gd name="connsiteX237" fmla="*/ 1136097 w 11269336"/>
              <a:gd name="connsiteY237" fmla="*/ 2205112 h 2323145"/>
              <a:gd name="connsiteX238" fmla="*/ 988232 w 11269336"/>
              <a:gd name="connsiteY238" fmla="*/ 2235635 h 2323145"/>
              <a:gd name="connsiteX239" fmla="*/ 981959 w 11269336"/>
              <a:gd name="connsiteY239" fmla="*/ 2231607 h 2323145"/>
              <a:gd name="connsiteX240" fmla="*/ 938600 w 11269336"/>
              <a:gd name="connsiteY240" fmla="*/ 2238113 h 2323145"/>
              <a:gd name="connsiteX241" fmla="*/ 791788 w 11269336"/>
              <a:gd name="connsiteY241" fmla="*/ 2293224 h 2323145"/>
              <a:gd name="connsiteX242" fmla="*/ 706914 w 11269336"/>
              <a:gd name="connsiteY242" fmla="*/ 2305046 h 2323145"/>
              <a:gd name="connsiteX243" fmla="*/ 675971 w 11269336"/>
              <a:gd name="connsiteY243" fmla="*/ 2304030 h 2323145"/>
              <a:gd name="connsiteX244" fmla="*/ 624180 w 11269336"/>
              <a:gd name="connsiteY244" fmla="*/ 2302650 h 2323145"/>
              <a:gd name="connsiteX245" fmla="*/ 583453 w 11269336"/>
              <a:gd name="connsiteY245" fmla="*/ 2288788 h 2323145"/>
              <a:gd name="connsiteX246" fmla="*/ 540946 w 11269336"/>
              <a:gd name="connsiteY246" fmla="*/ 2292721 h 2323145"/>
              <a:gd name="connsiteX247" fmla="*/ 533680 w 11269336"/>
              <a:gd name="connsiteY247" fmla="*/ 2310233 h 2323145"/>
              <a:gd name="connsiteX248" fmla="*/ 487366 w 11269336"/>
              <a:gd name="connsiteY248" fmla="*/ 2309053 h 2323145"/>
              <a:gd name="connsiteX249" fmla="*/ 416820 w 11269336"/>
              <a:gd name="connsiteY249" fmla="*/ 2305443 h 2323145"/>
              <a:gd name="connsiteX250" fmla="*/ 376805 w 11269336"/>
              <a:gd name="connsiteY250" fmla="*/ 2307647 h 2323145"/>
              <a:gd name="connsiteX251" fmla="*/ 266777 w 11269336"/>
              <a:gd name="connsiteY251" fmla="*/ 2309012 h 2323145"/>
              <a:gd name="connsiteX252" fmla="*/ 156013 w 11269336"/>
              <a:gd name="connsiteY252" fmla="*/ 2306832 h 2323145"/>
              <a:gd name="connsiteX253" fmla="*/ 87258 w 11269336"/>
              <a:gd name="connsiteY253" fmla="*/ 2285511 h 2323145"/>
              <a:gd name="connsiteX254" fmla="*/ 23798 w 11269336"/>
              <a:gd name="connsiteY254" fmla="*/ 2281822 h 2323145"/>
              <a:gd name="connsiteX255" fmla="*/ 0 w 11269336"/>
              <a:gd name="connsiteY255" fmla="*/ 2285369 h 2323145"/>
              <a:gd name="connsiteX256" fmla="*/ 0 w 11269336"/>
              <a:gd name="connsiteY25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05765 w 11269336"/>
              <a:gd name="connsiteY145" fmla="*/ 2199902 h 2323145"/>
              <a:gd name="connsiteX146" fmla="*/ 4401354 w 11269336"/>
              <a:gd name="connsiteY146" fmla="*/ 2194745 h 2323145"/>
              <a:gd name="connsiteX147" fmla="*/ 4366646 w 11269336"/>
              <a:gd name="connsiteY147" fmla="*/ 2198564 h 2323145"/>
              <a:gd name="connsiteX148" fmla="*/ 4354009 w 11269336"/>
              <a:gd name="connsiteY148" fmla="*/ 2204984 h 2323145"/>
              <a:gd name="connsiteX149" fmla="*/ 4348284 w 11269336"/>
              <a:gd name="connsiteY149" fmla="*/ 2205270 h 2323145"/>
              <a:gd name="connsiteX150" fmla="*/ 4333906 w 11269336"/>
              <a:gd name="connsiteY150" fmla="*/ 2205251 h 2323145"/>
              <a:gd name="connsiteX151" fmla="*/ 4308819 w 11269336"/>
              <a:gd name="connsiteY151" fmla="*/ 2203822 h 2323145"/>
              <a:gd name="connsiteX152" fmla="*/ 4301210 w 11269336"/>
              <a:gd name="connsiteY152" fmla="*/ 2204456 h 2323145"/>
              <a:gd name="connsiteX153" fmla="*/ 4283095 w 11269336"/>
              <a:gd name="connsiteY153" fmla="*/ 2198177 h 2323145"/>
              <a:gd name="connsiteX154" fmla="*/ 4250119 w 11269336"/>
              <a:gd name="connsiteY154" fmla="*/ 2196342 h 2323145"/>
              <a:gd name="connsiteX155" fmla="*/ 4189203 w 11269336"/>
              <a:gd name="connsiteY155" fmla="*/ 2178994 h 2323145"/>
              <a:gd name="connsiteX156" fmla="*/ 4154035 w 11269336"/>
              <a:gd name="connsiteY156" fmla="*/ 2171950 h 2323145"/>
              <a:gd name="connsiteX157" fmla="*/ 4129569 w 11269336"/>
              <a:gd name="connsiteY157" fmla="*/ 2163850 h 2323145"/>
              <a:gd name="connsiteX158" fmla="*/ 4061250 w 11269336"/>
              <a:gd name="connsiteY158" fmla="*/ 2159236 h 2323145"/>
              <a:gd name="connsiteX159" fmla="*/ 3945480 w 11269336"/>
              <a:gd name="connsiteY159" fmla="*/ 2158279 h 2323145"/>
              <a:gd name="connsiteX160" fmla="*/ 3921468 w 11269336"/>
              <a:gd name="connsiteY160" fmla="*/ 2156588 h 2323145"/>
              <a:gd name="connsiteX161" fmla="*/ 3903348 w 11269336"/>
              <a:gd name="connsiteY161" fmla="*/ 2149220 h 2323145"/>
              <a:gd name="connsiteX162" fmla="*/ 3901342 w 11269336"/>
              <a:gd name="connsiteY162" fmla="*/ 2142355 h 2323145"/>
              <a:gd name="connsiteX163" fmla="*/ 3888539 w 11269336"/>
              <a:gd name="connsiteY163" fmla="*/ 2140476 h 2323145"/>
              <a:gd name="connsiteX164" fmla="*/ 3885662 w 11269336"/>
              <a:gd name="connsiteY164" fmla="*/ 2138740 h 2323145"/>
              <a:gd name="connsiteX165" fmla="*/ 3868627 w 11269336"/>
              <a:gd name="connsiteY165" fmla="*/ 2130023 h 2323145"/>
              <a:gd name="connsiteX166" fmla="*/ 3819177 w 11269336"/>
              <a:gd name="connsiteY166" fmla="*/ 2142111 h 2323145"/>
              <a:gd name="connsiteX167" fmla="*/ 3769100 w 11269336"/>
              <a:gd name="connsiteY167" fmla="*/ 2131731 h 2323145"/>
              <a:gd name="connsiteX168" fmla="*/ 3562752 w 11269336"/>
              <a:gd name="connsiteY168" fmla="*/ 2131785 h 2323145"/>
              <a:gd name="connsiteX169" fmla="*/ 3541402 w 11269336"/>
              <a:gd name="connsiteY169" fmla="*/ 2106821 h 2323145"/>
              <a:gd name="connsiteX170" fmla="*/ 3365341 w 11269336"/>
              <a:gd name="connsiteY170" fmla="*/ 2077638 h 2323145"/>
              <a:gd name="connsiteX171" fmla="*/ 3170922 w 11269336"/>
              <a:gd name="connsiteY171" fmla="*/ 2115957 h 2323145"/>
              <a:gd name="connsiteX172" fmla="*/ 3156256 w 11269336"/>
              <a:gd name="connsiteY172" fmla="*/ 2124773 h 2323145"/>
              <a:gd name="connsiteX173" fmla="*/ 3140298 w 11269336"/>
              <a:gd name="connsiteY173" fmla="*/ 2129182 h 2323145"/>
              <a:gd name="connsiteX174" fmla="*/ 3138514 w 11269336"/>
              <a:gd name="connsiteY174" fmla="*/ 2128069 h 2323145"/>
              <a:gd name="connsiteX175" fmla="*/ 3120467 w 11269336"/>
              <a:gd name="connsiteY175" fmla="*/ 2128281 h 2323145"/>
              <a:gd name="connsiteX176" fmla="*/ 3116175 w 11269336"/>
              <a:gd name="connsiteY176" fmla="*/ 2131633 h 2323145"/>
              <a:gd name="connsiteX177" fmla="*/ 3103685 w 11269336"/>
              <a:gd name="connsiteY177" fmla="*/ 2132814 h 2323145"/>
              <a:gd name="connsiteX178" fmla="*/ 3078794 w 11269336"/>
              <a:gd name="connsiteY178" fmla="*/ 2137935 h 2323145"/>
              <a:gd name="connsiteX179" fmla="*/ 3074407 w 11269336"/>
              <a:gd name="connsiteY179" fmla="*/ 2136274 h 2323145"/>
              <a:gd name="connsiteX180" fmla="*/ 3037285 w 11269336"/>
              <a:gd name="connsiteY180" fmla="*/ 2139919 h 2323145"/>
              <a:gd name="connsiteX181" fmla="*/ 3036901 w 11269336"/>
              <a:gd name="connsiteY181" fmla="*/ 2138726 h 2323145"/>
              <a:gd name="connsiteX182" fmla="*/ 3026996 w 11269336"/>
              <a:gd name="connsiteY182" fmla="*/ 2134322 h 2323145"/>
              <a:gd name="connsiteX183" fmla="*/ 3007772 w 11269336"/>
              <a:gd name="connsiteY183" fmla="*/ 2128742 h 2323145"/>
              <a:gd name="connsiteX184" fmla="*/ 2965030 w 11269336"/>
              <a:gd name="connsiteY184" fmla="*/ 2100494 h 2323145"/>
              <a:gd name="connsiteX185" fmla="*/ 2926342 w 11269336"/>
              <a:gd name="connsiteY185" fmla="*/ 2104155 h 2323145"/>
              <a:gd name="connsiteX186" fmla="*/ 2918608 w 11269336"/>
              <a:gd name="connsiteY186" fmla="*/ 2104215 h 2323145"/>
              <a:gd name="connsiteX187" fmla="*/ 2918475 w 11269336"/>
              <a:gd name="connsiteY187" fmla="*/ 2103937 h 2323145"/>
              <a:gd name="connsiteX188" fmla="*/ 2910360 w 11269336"/>
              <a:gd name="connsiteY188" fmla="*/ 2103444 h 2323145"/>
              <a:gd name="connsiteX189" fmla="*/ 2904507 w 11269336"/>
              <a:gd name="connsiteY189" fmla="*/ 2104326 h 2323145"/>
              <a:gd name="connsiteX190" fmla="*/ 2889503 w 11269336"/>
              <a:gd name="connsiteY190" fmla="*/ 2104443 h 2323145"/>
              <a:gd name="connsiteX191" fmla="*/ 2884480 w 11269336"/>
              <a:gd name="connsiteY191" fmla="*/ 2102626 h 2323145"/>
              <a:gd name="connsiteX192" fmla="*/ 2882689 w 11269336"/>
              <a:gd name="connsiteY192" fmla="*/ 2099228 h 2323145"/>
              <a:gd name="connsiteX193" fmla="*/ 2881291 w 11269336"/>
              <a:gd name="connsiteY193" fmla="*/ 2099618 h 2323145"/>
              <a:gd name="connsiteX194" fmla="*/ 2853979 w 11269336"/>
              <a:gd name="connsiteY194" fmla="*/ 2090388 h 2323145"/>
              <a:gd name="connsiteX195" fmla="*/ 2791790 w 11269336"/>
              <a:gd name="connsiteY195" fmla="*/ 2080332 h 2323145"/>
              <a:gd name="connsiteX196" fmla="*/ 2755844 w 11269336"/>
              <a:gd name="connsiteY196" fmla="*/ 2078874 h 2323145"/>
              <a:gd name="connsiteX197" fmla="*/ 2657742 w 11269336"/>
              <a:gd name="connsiteY197" fmla="*/ 2070179 h 2323145"/>
              <a:gd name="connsiteX198" fmla="*/ 2559549 w 11269336"/>
              <a:gd name="connsiteY198" fmla="*/ 2057873 h 2323145"/>
              <a:gd name="connsiteX199" fmla="*/ 2512054 w 11269336"/>
              <a:gd name="connsiteY199" fmla="*/ 2031671 h 2323145"/>
              <a:gd name="connsiteX200" fmla="*/ 2506437 w 11269336"/>
              <a:gd name="connsiteY200" fmla="*/ 2030918 h 2323145"/>
              <a:gd name="connsiteX201" fmla="*/ 2491752 w 11269336"/>
              <a:gd name="connsiteY201" fmla="*/ 2033906 h 2323145"/>
              <a:gd name="connsiteX202" fmla="*/ 2486338 w 11269336"/>
              <a:gd name="connsiteY202" fmla="*/ 2035862 h 2323145"/>
              <a:gd name="connsiteX203" fmla="*/ 2478186 w 11269336"/>
              <a:gd name="connsiteY203" fmla="*/ 2036953 h 2323145"/>
              <a:gd name="connsiteX204" fmla="*/ 2477950 w 11269336"/>
              <a:gd name="connsiteY204" fmla="*/ 2036715 h 2323145"/>
              <a:gd name="connsiteX205" fmla="*/ 2470381 w 11269336"/>
              <a:gd name="connsiteY205" fmla="*/ 2038256 h 2323145"/>
              <a:gd name="connsiteX206" fmla="*/ 2433781 w 11269336"/>
              <a:gd name="connsiteY206" fmla="*/ 2049140 h 2323145"/>
              <a:gd name="connsiteX207" fmla="*/ 2381172 w 11269336"/>
              <a:gd name="connsiteY207" fmla="*/ 2030645 h 2323145"/>
              <a:gd name="connsiteX208" fmla="*/ 2360198 w 11269336"/>
              <a:gd name="connsiteY208" fmla="*/ 2029059 h 2323145"/>
              <a:gd name="connsiteX209" fmla="*/ 2348815 w 11269336"/>
              <a:gd name="connsiteY209" fmla="*/ 2026798 h 2323145"/>
              <a:gd name="connsiteX210" fmla="*/ 2347988 w 11269336"/>
              <a:gd name="connsiteY210" fmla="*/ 2025745 h 2323145"/>
              <a:gd name="connsiteX211" fmla="*/ 2312920 w 11269336"/>
              <a:gd name="connsiteY211" fmla="*/ 2036311 h 2323145"/>
              <a:gd name="connsiteX212" fmla="*/ 2307986 w 11269336"/>
              <a:gd name="connsiteY212" fmla="*/ 2035583 h 2323145"/>
              <a:gd name="connsiteX213" fmla="*/ 2285481 w 11269336"/>
              <a:gd name="connsiteY213" fmla="*/ 2045197 h 2323145"/>
              <a:gd name="connsiteX214" fmla="*/ 2273666 w 11269336"/>
              <a:gd name="connsiteY214" fmla="*/ 2048710 h 2323145"/>
              <a:gd name="connsiteX215" fmla="*/ 2270719 w 11269336"/>
              <a:gd name="connsiteY215" fmla="*/ 2052702 h 2323145"/>
              <a:gd name="connsiteX216" fmla="*/ 2253080 w 11269336"/>
              <a:gd name="connsiteY216" fmla="*/ 2056363 h 2323145"/>
              <a:gd name="connsiteX217" fmla="*/ 2250906 w 11269336"/>
              <a:gd name="connsiteY217" fmla="*/ 2055654 h 2323145"/>
              <a:gd name="connsiteX218" fmla="*/ 2236905 w 11269336"/>
              <a:gd name="connsiteY218" fmla="*/ 2062882 h 2323145"/>
              <a:gd name="connsiteX219" fmla="*/ 2225830 w 11269336"/>
              <a:gd name="connsiteY219" fmla="*/ 2074027 h 2323145"/>
              <a:gd name="connsiteX220" fmla="*/ 2073776 w 11269336"/>
              <a:gd name="connsiteY220" fmla="*/ 2089244 h 2323145"/>
              <a:gd name="connsiteX221" fmla="*/ 1948256 w 11269336"/>
              <a:gd name="connsiteY221" fmla="*/ 2146616 h 2323145"/>
              <a:gd name="connsiteX222" fmla="*/ 1865582 w 11269336"/>
              <a:gd name="connsiteY222" fmla="*/ 2153738 h 2323145"/>
              <a:gd name="connsiteX223" fmla="*/ 1835210 w 11269336"/>
              <a:gd name="connsiteY223" fmla="*/ 2134244 h 2323145"/>
              <a:gd name="connsiteX224" fmla="*/ 1632661 w 11269336"/>
              <a:gd name="connsiteY224" fmla="*/ 2173882 h 2323145"/>
              <a:gd name="connsiteX225" fmla="*/ 1579590 w 11269336"/>
              <a:gd name="connsiteY225" fmla="*/ 2173680 h 2323145"/>
              <a:gd name="connsiteX226" fmla="*/ 1535601 w 11269336"/>
              <a:gd name="connsiteY226" fmla="*/ 2194590 h 2323145"/>
              <a:gd name="connsiteX227" fmla="*/ 1515594 w 11269336"/>
              <a:gd name="connsiteY227" fmla="*/ 2189622 h 2323145"/>
              <a:gd name="connsiteX228" fmla="*/ 1512113 w 11269336"/>
              <a:gd name="connsiteY228" fmla="*/ 2188534 h 2323145"/>
              <a:gd name="connsiteX229" fmla="*/ 1498838 w 11269336"/>
              <a:gd name="connsiteY229" fmla="*/ 2189213 h 2323145"/>
              <a:gd name="connsiteX230" fmla="*/ 1494279 w 11269336"/>
              <a:gd name="connsiteY230" fmla="*/ 2183112 h 2323145"/>
              <a:gd name="connsiteX231" fmla="*/ 1473714 w 11269336"/>
              <a:gd name="connsiteY231" fmla="*/ 2179625 h 2323145"/>
              <a:gd name="connsiteX232" fmla="*/ 1449503 w 11269336"/>
              <a:gd name="connsiteY232" fmla="*/ 2182633 h 2323145"/>
              <a:gd name="connsiteX233" fmla="*/ 1266687 w 11269336"/>
              <a:gd name="connsiteY233" fmla="*/ 2212688 h 2323145"/>
              <a:gd name="connsiteX234" fmla="*/ 1239614 w 11269336"/>
              <a:gd name="connsiteY234" fmla="*/ 2209727 h 2323145"/>
              <a:gd name="connsiteX235" fmla="*/ 1202436 w 11269336"/>
              <a:gd name="connsiteY235" fmla="*/ 2209817 h 2323145"/>
              <a:gd name="connsiteX236" fmla="*/ 1136097 w 11269336"/>
              <a:gd name="connsiteY236" fmla="*/ 2205112 h 2323145"/>
              <a:gd name="connsiteX237" fmla="*/ 988232 w 11269336"/>
              <a:gd name="connsiteY237" fmla="*/ 2235635 h 2323145"/>
              <a:gd name="connsiteX238" fmla="*/ 981959 w 11269336"/>
              <a:gd name="connsiteY238" fmla="*/ 2231607 h 2323145"/>
              <a:gd name="connsiteX239" fmla="*/ 938600 w 11269336"/>
              <a:gd name="connsiteY239" fmla="*/ 2238113 h 2323145"/>
              <a:gd name="connsiteX240" fmla="*/ 791788 w 11269336"/>
              <a:gd name="connsiteY240" fmla="*/ 2293224 h 2323145"/>
              <a:gd name="connsiteX241" fmla="*/ 706914 w 11269336"/>
              <a:gd name="connsiteY241" fmla="*/ 2305046 h 2323145"/>
              <a:gd name="connsiteX242" fmla="*/ 675971 w 11269336"/>
              <a:gd name="connsiteY242" fmla="*/ 2304030 h 2323145"/>
              <a:gd name="connsiteX243" fmla="*/ 624180 w 11269336"/>
              <a:gd name="connsiteY243" fmla="*/ 2302650 h 2323145"/>
              <a:gd name="connsiteX244" fmla="*/ 583453 w 11269336"/>
              <a:gd name="connsiteY244" fmla="*/ 2288788 h 2323145"/>
              <a:gd name="connsiteX245" fmla="*/ 540946 w 11269336"/>
              <a:gd name="connsiteY245" fmla="*/ 2292721 h 2323145"/>
              <a:gd name="connsiteX246" fmla="*/ 533680 w 11269336"/>
              <a:gd name="connsiteY246" fmla="*/ 2310233 h 2323145"/>
              <a:gd name="connsiteX247" fmla="*/ 487366 w 11269336"/>
              <a:gd name="connsiteY247" fmla="*/ 2309053 h 2323145"/>
              <a:gd name="connsiteX248" fmla="*/ 416820 w 11269336"/>
              <a:gd name="connsiteY248" fmla="*/ 2305443 h 2323145"/>
              <a:gd name="connsiteX249" fmla="*/ 376805 w 11269336"/>
              <a:gd name="connsiteY249" fmla="*/ 2307647 h 2323145"/>
              <a:gd name="connsiteX250" fmla="*/ 266777 w 11269336"/>
              <a:gd name="connsiteY250" fmla="*/ 2309012 h 2323145"/>
              <a:gd name="connsiteX251" fmla="*/ 156013 w 11269336"/>
              <a:gd name="connsiteY251" fmla="*/ 2306832 h 2323145"/>
              <a:gd name="connsiteX252" fmla="*/ 87258 w 11269336"/>
              <a:gd name="connsiteY252" fmla="*/ 2285511 h 2323145"/>
              <a:gd name="connsiteX253" fmla="*/ 23798 w 11269336"/>
              <a:gd name="connsiteY253" fmla="*/ 2281822 h 2323145"/>
              <a:gd name="connsiteX254" fmla="*/ 0 w 11269336"/>
              <a:gd name="connsiteY254" fmla="*/ 2285369 h 2323145"/>
              <a:gd name="connsiteX255" fmla="*/ 0 w 11269336"/>
              <a:gd name="connsiteY25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05765 w 11269336"/>
              <a:gd name="connsiteY144" fmla="*/ 2199902 h 2323145"/>
              <a:gd name="connsiteX145" fmla="*/ 4401354 w 11269336"/>
              <a:gd name="connsiteY145" fmla="*/ 2194745 h 2323145"/>
              <a:gd name="connsiteX146" fmla="*/ 4366646 w 11269336"/>
              <a:gd name="connsiteY146" fmla="*/ 2198564 h 2323145"/>
              <a:gd name="connsiteX147" fmla="*/ 4354009 w 11269336"/>
              <a:gd name="connsiteY147" fmla="*/ 2204984 h 2323145"/>
              <a:gd name="connsiteX148" fmla="*/ 4348284 w 11269336"/>
              <a:gd name="connsiteY148" fmla="*/ 2205270 h 2323145"/>
              <a:gd name="connsiteX149" fmla="*/ 4333906 w 11269336"/>
              <a:gd name="connsiteY149" fmla="*/ 2205251 h 2323145"/>
              <a:gd name="connsiteX150" fmla="*/ 4308819 w 11269336"/>
              <a:gd name="connsiteY150" fmla="*/ 2203822 h 2323145"/>
              <a:gd name="connsiteX151" fmla="*/ 4301210 w 11269336"/>
              <a:gd name="connsiteY151" fmla="*/ 2204456 h 2323145"/>
              <a:gd name="connsiteX152" fmla="*/ 4283095 w 11269336"/>
              <a:gd name="connsiteY152" fmla="*/ 2198177 h 2323145"/>
              <a:gd name="connsiteX153" fmla="*/ 4250119 w 11269336"/>
              <a:gd name="connsiteY153" fmla="*/ 2196342 h 2323145"/>
              <a:gd name="connsiteX154" fmla="*/ 4189203 w 11269336"/>
              <a:gd name="connsiteY154" fmla="*/ 2178994 h 2323145"/>
              <a:gd name="connsiteX155" fmla="*/ 4154035 w 11269336"/>
              <a:gd name="connsiteY155" fmla="*/ 2171950 h 2323145"/>
              <a:gd name="connsiteX156" fmla="*/ 4129569 w 11269336"/>
              <a:gd name="connsiteY156" fmla="*/ 2163850 h 2323145"/>
              <a:gd name="connsiteX157" fmla="*/ 4061250 w 11269336"/>
              <a:gd name="connsiteY157" fmla="*/ 2159236 h 2323145"/>
              <a:gd name="connsiteX158" fmla="*/ 3945480 w 11269336"/>
              <a:gd name="connsiteY158" fmla="*/ 2158279 h 2323145"/>
              <a:gd name="connsiteX159" fmla="*/ 3921468 w 11269336"/>
              <a:gd name="connsiteY159" fmla="*/ 2156588 h 2323145"/>
              <a:gd name="connsiteX160" fmla="*/ 3903348 w 11269336"/>
              <a:gd name="connsiteY160" fmla="*/ 2149220 h 2323145"/>
              <a:gd name="connsiteX161" fmla="*/ 3901342 w 11269336"/>
              <a:gd name="connsiteY161" fmla="*/ 2142355 h 2323145"/>
              <a:gd name="connsiteX162" fmla="*/ 3888539 w 11269336"/>
              <a:gd name="connsiteY162" fmla="*/ 2140476 h 2323145"/>
              <a:gd name="connsiteX163" fmla="*/ 3885662 w 11269336"/>
              <a:gd name="connsiteY163" fmla="*/ 2138740 h 2323145"/>
              <a:gd name="connsiteX164" fmla="*/ 3868627 w 11269336"/>
              <a:gd name="connsiteY164" fmla="*/ 2130023 h 2323145"/>
              <a:gd name="connsiteX165" fmla="*/ 3819177 w 11269336"/>
              <a:gd name="connsiteY165" fmla="*/ 2142111 h 2323145"/>
              <a:gd name="connsiteX166" fmla="*/ 3769100 w 11269336"/>
              <a:gd name="connsiteY166" fmla="*/ 2131731 h 2323145"/>
              <a:gd name="connsiteX167" fmla="*/ 3562752 w 11269336"/>
              <a:gd name="connsiteY167" fmla="*/ 2131785 h 2323145"/>
              <a:gd name="connsiteX168" fmla="*/ 3541402 w 11269336"/>
              <a:gd name="connsiteY168" fmla="*/ 2106821 h 2323145"/>
              <a:gd name="connsiteX169" fmla="*/ 3365341 w 11269336"/>
              <a:gd name="connsiteY169" fmla="*/ 2077638 h 2323145"/>
              <a:gd name="connsiteX170" fmla="*/ 3170922 w 11269336"/>
              <a:gd name="connsiteY170" fmla="*/ 2115957 h 2323145"/>
              <a:gd name="connsiteX171" fmla="*/ 3156256 w 11269336"/>
              <a:gd name="connsiteY171" fmla="*/ 2124773 h 2323145"/>
              <a:gd name="connsiteX172" fmla="*/ 3140298 w 11269336"/>
              <a:gd name="connsiteY172" fmla="*/ 2129182 h 2323145"/>
              <a:gd name="connsiteX173" fmla="*/ 3138514 w 11269336"/>
              <a:gd name="connsiteY173" fmla="*/ 2128069 h 2323145"/>
              <a:gd name="connsiteX174" fmla="*/ 3120467 w 11269336"/>
              <a:gd name="connsiteY174" fmla="*/ 2128281 h 2323145"/>
              <a:gd name="connsiteX175" fmla="*/ 3116175 w 11269336"/>
              <a:gd name="connsiteY175" fmla="*/ 2131633 h 2323145"/>
              <a:gd name="connsiteX176" fmla="*/ 3103685 w 11269336"/>
              <a:gd name="connsiteY176" fmla="*/ 2132814 h 2323145"/>
              <a:gd name="connsiteX177" fmla="*/ 3078794 w 11269336"/>
              <a:gd name="connsiteY177" fmla="*/ 2137935 h 2323145"/>
              <a:gd name="connsiteX178" fmla="*/ 3074407 w 11269336"/>
              <a:gd name="connsiteY178" fmla="*/ 2136274 h 2323145"/>
              <a:gd name="connsiteX179" fmla="*/ 3037285 w 11269336"/>
              <a:gd name="connsiteY179" fmla="*/ 2139919 h 2323145"/>
              <a:gd name="connsiteX180" fmla="*/ 3036901 w 11269336"/>
              <a:gd name="connsiteY180" fmla="*/ 2138726 h 2323145"/>
              <a:gd name="connsiteX181" fmla="*/ 3026996 w 11269336"/>
              <a:gd name="connsiteY181" fmla="*/ 2134322 h 2323145"/>
              <a:gd name="connsiteX182" fmla="*/ 3007772 w 11269336"/>
              <a:gd name="connsiteY182" fmla="*/ 2128742 h 2323145"/>
              <a:gd name="connsiteX183" fmla="*/ 2965030 w 11269336"/>
              <a:gd name="connsiteY183" fmla="*/ 2100494 h 2323145"/>
              <a:gd name="connsiteX184" fmla="*/ 2926342 w 11269336"/>
              <a:gd name="connsiteY184" fmla="*/ 2104155 h 2323145"/>
              <a:gd name="connsiteX185" fmla="*/ 2918608 w 11269336"/>
              <a:gd name="connsiteY185" fmla="*/ 2104215 h 2323145"/>
              <a:gd name="connsiteX186" fmla="*/ 2918475 w 11269336"/>
              <a:gd name="connsiteY186" fmla="*/ 2103937 h 2323145"/>
              <a:gd name="connsiteX187" fmla="*/ 2910360 w 11269336"/>
              <a:gd name="connsiteY187" fmla="*/ 2103444 h 2323145"/>
              <a:gd name="connsiteX188" fmla="*/ 2904507 w 11269336"/>
              <a:gd name="connsiteY188" fmla="*/ 2104326 h 2323145"/>
              <a:gd name="connsiteX189" fmla="*/ 2889503 w 11269336"/>
              <a:gd name="connsiteY189" fmla="*/ 2104443 h 2323145"/>
              <a:gd name="connsiteX190" fmla="*/ 2884480 w 11269336"/>
              <a:gd name="connsiteY190" fmla="*/ 2102626 h 2323145"/>
              <a:gd name="connsiteX191" fmla="*/ 2882689 w 11269336"/>
              <a:gd name="connsiteY191" fmla="*/ 2099228 h 2323145"/>
              <a:gd name="connsiteX192" fmla="*/ 2881291 w 11269336"/>
              <a:gd name="connsiteY192" fmla="*/ 2099618 h 2323145"/>
              <a:gd name="connsiteX193" fmla="*/ 2853979 w 11269336"/>
              <a:gd name="connsiteY193" fmla="*/ 2090388 h 2323145"/>
              <a:gd name="connsiteX194" fmla="*/ 2791790 w 11269336"/>
              <a:gd name="connsiteY194" fmla="*/ 2080332 h 2323145"/>
              <a:gd name="connsiteX195" fmla="*/ 2755844 w 11269336"/>
              <a:gd name="connsiteY195" fmla="*/ 2078874 h 2323145"/>
              <a:gd name="connsiteX196" fmla="*/ 2657742 w 11269336"/>
              <a:gd name="connsiteY196" fmla="*/ 2070179 h 2323145"/>
              <a:gd name="connsiteX197" fmla="*/ 2559549 w 11269336"/>
              <a:gd name="connsiteY197" fmla="*/ 2057873 h 2323145"/>
              <a:gd name="connsiteX198" fmla="*/ 2512054 w 11269336"/>
              <a:gd name="connsiteY198" fmla="*/ 2031671 h 2323145"/>
              <a:gd name="connsiteX199" fmla="*/ 2506437 w 11269336"/>
              <a:gd name="connsiteY199" fmla="*/ 2030918 h 2323145"/>
              <a:gd name="connsiteX200" fmla="*/ 2491752 w 11269336"/>
              <a:gd name="connsiteY200" fmla="*/ 2033906 h 2323145"/>
              <a:gd name="connsiteX201" fmla="*/ 2486338 w 11269336"/>
              <a:gd name="connsiteY201" fmla="*/ 2035862 h 2323145"/>
              <a:gd name="connsiteX202" fmla="*/ 2478186 w 11269336"/>
              <a:gd name="connsiteY202" fmla="*/ 2036953 h 2323145"/>
              <a:gd name="connsiteX203" fmla="*/ 2477950 w 11269336"/>
              <a:gd name="connsiteY203" fmla="*/ 2036715 h 2323145"/>
              <a:gd name="connsiteX204" fmla="*/ 2470381 w 11269336"/>
              <a:gd name="connsiteY204" fmla="*/ 2038256 h 2323145"/>
              <a:gd name="connsiteX205" fmla="*/ 2433781 w 11269336"/>
              <a:gd name="connsiteY205" fmla="*/ 2049140 h 2323145"/>
              <a:gd name="connsiteX206" fmla="*/ 2381172 w 11269336"/>
              <a:gd name="connsiteY206" fmla="*/ 2030645 h 2323145"/>
              <a:gd name="connsiteX207" fmla="*/ 2360198 w 11269336"/>
              <a:gd name="connsiteY207" fmla="*/ 2029059 h 2323145"/>
              <a:gd name="connsiteX208" fmla="*/ 2348815 w 11269336"/>
              <a:gd name="connsiteY208" fmla="*/ 2026798 h 2323145"/>
              <a:gd name="connsiteX209" fmla="*/ 2347988 w 11269336"/>
              <a:gd name="connsiteY209" fmla="*/ 2025745 h 2323145"/>
              <a:gd name="connsiteX210" fmla="*/ 2312920 w 11269336"/>
              <a:gd name="connsiteY210" fmla="*/ 2036311 h 2323145"/>
              <a:gd name="connsiteX211" fmla="*/ 2307986 w 11269336"/>
              <a:gd name="connsiteY211" fmla="*/ 2035583 h 2323145"/>
              <a:gd name="connsiteX212" fmla="*/ 2285481 w 11269336"/>
              <a:gd name="connsiteY212" fmla="*/ 2045197 h 2323145"/>
              <a:gd name="connsiteX213" fmla="*/ 2273666 w 11269336"/>
              <a:gd name="connsiteY213" fmla="*/ 2048710 h 2323145"/>
              <a:gd name="connsiteX214" fmla="*/ 2270719 w 11269336"/>
              <a:gd name="connsiteY214" fmla="*/ 2052702 h 2323145"/>
              <a:gd name="connsiteX215" fmla="*/ 2253080 w 11269336"/>
              <a:gd name="connsiteY215" fmla="*/ 2056363 h 2323145"/>
              <a:gd name="connsiteX216" fmla="*/ 2250906 w 11269336"/>
              <a:gd name="connsiteY216" fmla="*/ 2055654 h 2323145"/>
              <a:gd name="connsiteX217" fmla="*/ 2236905 w 11269336"/>
              <a:gd name="connsiteY217" fmla="*/ 2062882 h 2323145"/>
              <a:gd name="connsiteX218" fmla="*/ 2225830 w 11269336"/>
              <a:gd name="connsiteY218" fmla="*/ 2074027 h 2323145"/>
              <a:gd name="connsiteX219" fmla="*/ 2073776 w 11269336"/>
              <a:gd name="connsiteY219" fmla="*/ 2089244 h 2323145"/>
              <a:gd name="connsiteX220" fmla="*/ 1948256 w 11269336"/>
              <a:gd name="connsiteY220" fmla="*/ 2146616 h 2323145"/>
              <a:gd name="connsiteX221" fmla="*/ 1865582 w 11269336"/>
              <a:gd name="connsiteY221" fmla="*/ 2153738 h 2323145"/>
              <a:gd name="connsiteX222" fmla="*/ 1835210 w 11269336"/>
              <a:gd name="connsiteY222" fmla="*/ 2134244 h 2323145"/>
              <a:gd name="connsiteX223" fmla="*/ 1632661 w 11269336"/>
              <a:gd name="connsiteY223" fmla="*/ 2173882 h 2323145"/>
              <a:gd name="connsiteX224" fmla="*/ 1579590 w 11269336"/>
              <a:gd name="connsiteY224" fmla="*/ 2173680 h 2323145"/>
              <a:gd name="connsiteX225" fmla="*/ 1535601 w 11269336"/>
              <a:gd name="connsiteY225" fmla="*/ 2194590 h 2323145"/>
              <a:gd name="connsiteX226" fmla="*/ 1515594 w 11269336"/>
              <a:gd name="connsiteY226" fmla="*/ 2189622 h 2323145"/>
              <a:gd name="connsiteX227" fmla="*/ 1512113 w 11269336"/>
              <a:gd name="connsiteY227" fmla="*/ 2188534 h 2323145"/>
              <a:gd name="connsiteX228" fmla="*/ 1498838 w 11269336"/>
              <a:gd name="connsiteY228" fmla="*/ 2189213 h 2323145"/>
              <a:gd name="connsiteX229" fmla="*/ 1494279 w 11269336"/>
              <a:gd name="connsiteY229" fmla="*/ 2183112 h 2323145"/>
              <a:gd name="connsiteX230" fmla="*/ 1473714 w 11269336"/>
              <a:gd name="connsiteY230" fmla="*/ 2179625 h 2323145"/>
              <a:gd name="connsiteX231" fmla="*/ 1449503 w 11269336"/>
              <a:gd name="connsiteY231" fmla="*/ 2182633 h 2323145"/>
              <a:gd name="connsiteX232" fmla="*/ 1266687 w 11269336"/>
              <a:gd name="connsiteY232" fmla="*/ 2212688 h 2323145"/>
              <a:gd name="connsiteX233" fmla="*/ 1239614 w 11269336"/>
              <a:gd name="connsiteY233" fmla="*/ 2209727 h 2323145"/>
              <a:gd name="connsiteX234" fmla="*/ 1202436 w 11269336"/>
              <a:gd name="connsiteY234" fmla="*/ 2209817 h 2323145"/>
              <a:gd name="connsiteX235" fmla="*/ 1136097 w 11269336"/>
              <a:gd name="connsiteY235" fmla="*/ 2205112 h 2323145"/>
              <a:gd name="connsiteX236" fmla="*/ 988232 w 11269336"/>
              <a:gd name="connsiteY236" fmla="*/ 2235635 h 2323145"/>
              <a:gd name="connsiteX237" fmla="*/ 981959 w 11269336"/>
              <a:gd name="connsiteY237" fmla="*/ 2231607 h 2323145"/>
              <a:gd name="connsiteX238" fmla="*/ 938600 w 11269336"/>
              <a:gd name="connsiteY238" fmla="*/ 2238113 h 2323145"/>
              <a:gd name="connsiteX239" fmla="*/ 791788 w 11269336"/>
              <a:gd name="connsiteY239" fmla="*/ 2293224 h 2323145"/>
              <a:gd name="connsiteX240" fmla="*/ 706914 w 11269336"/>
              <a:gd name="connsiteY240" fmla="*/ 2305046 h 2323145"/>
              <a:gd name="connsiteX241" fmla="*/ 675971 w 11269336"/>
              <a:gd name="connsiteY241" fmla="*/ 2304030 h 2323145"/>
              <a:gd name="connsiteX242" fmla="*/ 624180 w 11269336"/>
              <a:gd name="connsiteY242" fmla="*/ 2302650 h 2323145"/>
              <a:gd name="connsiteX243" fmla="*/ 583453 w 11269336"/>
              <a:gd name="connsiteY243" fmla="*/ 2288788 h 2323145"/>
              <a:gd name="connsiteX244" fmla="*/ 540946 w 11269336"/>
              <a:gd name="connsiteY244" fmla="*/ 2292721 h 2323145"/>
              <a:gd name="connsiteX245" fmla="*/ 533680 w 11269336"/>
              <a:gd name="connsiteY245" fmla="*/ 2310233 h 2323145"/>
              <a:gd name="connsiteX246" fmla="*/ 487366 w 11269336"/>
              <a:gd name="connsiteY246" fmla="*/ 2309053 h 2323145"/>
              <a:gd name="connsiteX247" fmla="*/ 416820 w 11269336"/>
              <a:gd name="connsiteY247" fmla="*/ 2305443 h 2323145"/>
              <a:gd name="connsiteX248" fmla="*/ 376805 w 11269336"/>
              <a:gd name="connsiteY248" fmla="*/ 2307647 h 2323145"/>
              <a:gd name="connsiteX249" fmla="*/ 266777 w 11269336"/>
              <a:gd name="connsiteY249" fmla="*/ 2309012 h 2323145"/>
              <a:gd name="connsiteX250" fmla="*/ 156013 w 11269336"/>
              <a:gd name="connsiteY250" fmla="*/ 2306832 h 2323145"/>
              <a:gd name="connsiteX251" fmla="*/ 87258 w 11269336"/>
              <a:gd name="connsiteY251" fmla="*/ 2285511 h 2323145"/>
              <a:gd name="connsiteX252" fmla="*/ 23798 w 11269336"/>
              <a:gd name="connsiteY252" fmla="*/ 2281822 h 2323145"/>
              <a:gd name="connsiteX253" fmla="*/ 0 w 11269336"/>
              <a:gd name="connsiteY253" fmla="*/ 2285369 h 2323145"/>
              <a:gd name="connsiteX254" fmla="*/ 0 w 11269336"/>
              <a:gd name="connsiteY254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67257 w 11269336"/>
              <a:gd name="connsiteY142" fmla="*/ 2196121 h 2323145"/>
              <a:gd name="connsiteX143" fmla="*/ 4405765 w 11269336"/>
              <a:gd name="connsiteY143" fmla="*/ 2199902 h 2323145"/>
              <a:gd name="connsiteX144" fmla="*/ 4401354 w 11269336"/>
              <a:gd name="connsiteY144" fmla="*/ 2194745 h 2323145"/>
              <a:gd name="connsiteX145" fmla="*/ 4366646 w 11269336"/>
              <a:gd name="connsiteY145" fmla="*/ 2198564 h 2323145"/>
              <a:gd name="connsiteX146" fmla="*/ 4354009 w 11269336"/>
              <a:gd name="connsiteY146" fmla="*/ 2204984 h 2323145"/>
              <a:gd name="connsiteX147" fmla="*/ 4348284 w 11269336"/>
              <a:gd name="connsiteY147" fmla="*/ 2205270 h 2323145"/>
              <a:gd name="connsiteX148" fmla="*/ 4333906 w 11269336"/>
              <a:gd name="connsiteY148" fmla="*/ 2205251 h 2323145"/>
              <a:gd name="connsiteX149" fmla="*/ 4308819 w 11269336"/>
              <a:gd name="connsiteY149" fmla="*/ 2203822 h 2323145"/>
              <a:gd name="connsiteX150" fmla="*/ 4301210 w 11269336"/>
              <a:gd name="connsiteY150" fmla="*/ 2204456 h 2323145"/>
              <a:gd name="connsiteX151" fmla="*/ 4283095 w 11269336"/>
              <a:gd name="connsiteY151" fmla="*/ 2198177 h 2323145"/>
              <a:gd name="connsiteX152" fmla="*/ 4250119 w 11269336"/>
              <a:gd name="connsiteY152" fmla="*/ 2196342 h 2323145"/>
              <a:gd name="connsiteX153" fmla="*/ 4189203 w 11269336"/>
              <a:gd name="connsiteY153" fmla="*/ 2178994 h 2323145"/>
              <a:gd name="connsiteX154" fmla="*/ 4154035 w 11269336"/>
              <a:gd name="connsiteY154" fmla="*/ 2171950 h 2323145"/>
              <a:gd name="connsiteX155" fmla="*/ 4129569 w 11269336"/>
              <a:gd name="connsiteY155" fmla="*/ 2163850 h 2323145"/>
              <a:gd name="connsiteX156" fmla="*/ 4061250 w 11269336"/>
              <a:gd name="connsiteY156" fmla="*/ 2159236 h 2323145"/>
              <a:gd name="connsiteX157" fmla="*/ 3945480 w 11269336"/>
              <a:gd name="connsiteY157" fmla="*/ 2158279 h 2323145"/>
              <a:gd name="connsiteX158" fmla="*/ 3921468 w 11269336"/>
              <a:gd name="connsiteY158" fmla="*/ 2156588 h 2323145"/>
              <a:gd name="connsiteX159" fmla="*/ 3903348 w 11269336"/>
              <a:gd name="connsiteY159" fmla="*/ 2149220 h 2323145"/>
              <a:gd name="connsiteX160" fmla="*/ 3901342 w 11269336"/>
              <a:gd name="connsiteY160" fmla="*/ 2142355 h 2323145"/>
              <a:gd name="connsiteX161" fmla="*/ 3888539 w 11269336"/>
              <a:gd name="connsiteY161" fmla="*/ 2140476 h 2323145"/>
              <a:gd name="connsiteX162" fmla="*/ 3885662 w 11269336"/>
              <a:gd name="connsiteY162" fmla="*/ 2138740 h 2323145"/>
              <a:gd name="connsiteX163" fmla="*/ 3868627 w 11269336"/>
              <a:gd name="connsiteY163" fmla="*/ 2130023 h 2323145"/>
              <a:gd name="connsiteX164" fmla="*/ 3819177 w 11269336"/>
              <a:gd name="connsiteY164" fmla="*/ 2142111 h 2323145"/>
              <a:gd name="connsiteX165" fmla="*/ 3769100 w 11269336"/>
              <a:gd name="connsiteY165" fmla="*/ 2131731 h 2323145"/>
              <a:gd name="connsiteX166" fmla="*/ 3562752 w 11269336"/>
              <a:gd name="connsiteY166" fmla="*/ 2131785 h 2323145"/>
              <a:gd name="connsiteX167" fmla="*/ 3541402 w 11269336"/>
              <a:gd name="connsiteY167" fmla="*/ 2106821 h 2323145"/>
              <a:gd name="connsiteX168" fmla="*/ 3365341 w 11269336"/>
              <a:gd name="connsiteY168" fmla="*/ 2077638 h 2323145"/>
              <a:gd name="connsiteX169" fmla="*/ 3170922 w 11269336"/>
              <a:gd name="connsiteY169" fmla="*/ 2115957 h 2323145"/>
              <a:gd name="connsiteX170" fmla="*/ 3156256 w 11269336"/>
              <a:gd name="connsiteY170" fmla="*/ 2124773 h 2323145"/>
              <a:gd name="connsiteX171" fmla="*/ 3140298 w 11269336"/>
              <a:gd name="connsiteY171" fmla="*/ 2129182 h 2323145"/>
              <a:gd name="connsiteX172" fmla="*/ 3138514 w 11269336"/>
              <a:gd name="connsiteY172" fmla="*/ 2128069 h 2323145"/>
              <a:gd name="connsiteX173" fmla="*/ 3120467 w 11269336"/>
              <a:gd name="connsiteY173" fmla="*/ 2128281 h 2323145"/>
              <a:gd name="connsiteX174" fmla="*/ 3116175 w 11269336"/>
              <a:gd name="connsiteY174" fmla="*/ 2131633 h 2323145"/>
              <a:gd name="connsiteX175" fmla="*/ 3103685 w 11269336"/>
              <a:gd name="connsiteY175" fmla="*/ 2132814 h 2323145"/>
              <a:gd name="connsiteX176" fmla="*/ 3078794 w 11269336"/>
              <a:gd name="connsiteY176" fmla="*/ 2137935 h 2323145"/>
              <a:gd name="connsiteX177" fmla="*/ 3074407 w 11269336"/>
              <a:gd name="connsiteY177" fmla="*/ 2136274 h 2323145"/>
              <a:gd name="connsiteX178" fmla="*/ 3037285 w 11269336"/>
              <a:gd name="connsiteY178" fmla="*/ 2139919 h 2323145"/>
              <a:gd name="connsiteX179" fmla="*/ 3036901 w 11269336"/>
              <a:gd name="connsiteY179" fmla="*/ 2138726 h 2323145"/>
              <a:gd name="connsiteX180" fmla="*/ 3026996 w 11269336"/>
              <a:gd name="connsiteY180" fmla="*/ 2134322 h 2323145"/>
              <a:gd name="connsiteX181" fmla="*/ 3007772 w 11269336"/>
              <a:gd name="connsiteY181" fmla="*/ 2128742 h 2323145"/>
              <a:gd name="connsiteX182" fmla="*/ 2965030 w 11269336"/>
              <a:gd name="connsiteY182" fmla="*/ 2100494 h 2323145"/>
              <a:gd name="connsiteX183" fmla="*/ 2926342 w 11269336"/>
              <a:gd name="connsiteY183" fmla="*/ 2104155 h 2323145"/>
              <a:gd name="connsiteX184" fmla="*/ 2918608 w 11269336"/>
              <a:gd name="connsiteY184" fmla="*/ 2104215 h 2323145"/>
              <a:gd name="connsiteX185" fmla="*/ 2918475 w 11269336"/>
              <a:gd name="connsiteY185" fmla="*/ 2103937 h 2323145"/>
              <a:gd name="connsiteX186" fmla="*/ 2910360 w 11269336"/>
              <a:gd name="connsiteY186" fmla="*/ 2103444 h 2323145"/>
              <a:gd name="connsiteX187" fmla="*/ 2904507 w 11269336"/>
              <a:gd name="connsiteY187" fmla="*/ 2104326 h 2323145"/>
              <a:gd name="connsiteX188" fmla="*/ 2889503 w 11269336"/>
              <a:gd name="connsiteY188" fmla="*/ 2104443 h 2323145"/>
              <a:gd name="connsiteX189" fmla="*/ 2884480 w 11269336"/>
              <a:gd name="connsiteY189" fmla="*/ 2102626 h 2323145"/>
              <a:gd name="connsiteX190" fmla="*/ 2882689 w 11269336"/>
              <a:gd name="connsiteY190" fmla="*/ 2099228 h 2323145"/>
              <a:gd name="connsiteX191" fmla="*/ 2881291 w 11269336"/>
              <a:gd name="connsiteY191" fmla="*/ 2099618 h 2323145"/>
              <a:gd name="connsiteX192" fmla="*/ 2853979 w 11269336"/>
              <a:gd name="connsiteY192" fmla="*/ 2090388 h 2323145"/>
              <a:gd name="connsiteX193" fmla="*/ 2791790 w 11269336"/>
              <a:gd name="connsiteY193" fmla="*/ 2080332 h 2323145"/>
              <a:gd name="connsiteX194" fmla="*/ 2755844 w 11269336"/>
              <a:gd name="connsiteY194" fmla="*/ 2078874 h 2323145"/>
              <a:gd name="connsiteX195" fmla="*/ 2657742 w 11269336"/>
              <a:gd name="connsiteY195" fmla="*/ 2070179 h 2323145"/>
              <a:gd name="connsiteX196" fmla="*/ 2559549 w 11269336"/>
              <a:gd name="connsiteY196" fmla="*/ 2057873 h 2323145"/>
              <a:gd name="connsiteX197" fmla="*/ 2512054 w 11269336"/>
              <a:gd name="connsiteY197" fmla="*/ 2031671 h 2323145"/>
              <a:gd name="connsiteX198" fmla="*/ 2506437 w 11269336"/>
              <a:gd name="connsiteY198" fmla="*/ 2030918 h 2323145"/>
              <a:gd name="connsiteX199" fmla="*/ 2491752 w 11269336"/>
              <a:gd name="connsiteY199" fmla="*/ 2033906 h 2323145"/>
              <a:gd name="connsiteX200" fmla="*/ 2486338 w 11269336"/>
              <a:gd name="connsiteY200" fmla="*/ 2035862 h 2323145"/>
              <a:gd name="connsiteX201" fmla="*/ 2478186 w 11269336"/>
              <a:gd name="connsiteY201" fmla="*/ 2036953 h 2323145"/>
              <a:gd name="connsiteX202" fmla="*/ 2477950 w 11269336"/>
              <a:gd name="connsiteY202" fmla="*/ 2036715 h 2323145"/>
              <a:gd name="connsiteX203" fmla="*/ 2470381 w 11269336"/>
              <a:gd name="connsiteY203" fmla="*/ 2038256 h 2323145"/>
              <a:gd name="connsiteX204" fmla="*/ 2433781 w 11269336"/>
              <a:gd name="connsiteY204" fmla="*/ 2049140 h 2323145"/>
              <a:gd name="connsiteX205" fmla="*/ 2381172 w 11269336"/>
              <a:gd name="connsiteY205" fmla="*/ 2030645 h 2323145"/>
              <a:gd name="connsiteX206" fmla="*/ 2360198 w 11269336"/>
              <a:gd name="connsiteY206" fmla="*/ 2029059 h 2323145"/>
              <a:gd name="connsiteX207" fmla="*/ 2348815 w 11269336"/>
              <a:gd name="connsiteY207" fmla="*/ 2026798 h 2323145"/>
              <a:gd name="connsiteX208" fmla="*/ 2347988 w 11269336"/>
              <a:gd name="connsiteY208" fmla="*/ 2025745 h 2323145"/>
              <a:gd name="connsiteX209" fmla="*/ 2312920 w 11269336"/>
              <a:gd name="connsiteY209" fmla="*/ 2036311 h 2323145"/>
              <a:gd name="connsiteX210" fmla="*/ 2307986 w 11269336"/>
              <a:gd name="connsiteY210" fmla="*/ 2035583 h 2323145"/>
              <a:gd name="connsiteX211" fmla="*/ 2285481 w 11269336"/>
              <a:gd name="connsiteY211" fmla="*/ 2045197 h 2323145"/>
              <a:gd name="connsiteX212" fmla="*/ 2273666 w 11269336"/>
              <a:gd name="connsiteY212" fmla="*/ 2048710 h 2323145"/>
              <a:gd name="connsiteX213" fmla="*/ 2270719 w 11269336"/>
              <a:gd name="connsiteY213" fmla="*/ 2052702 h 2323145"/>
              <a:gd name="connsiteX214" fmla="*/ 2253080 w 11269336"/>
              <a:gd name="connsiteY214" fmla="*/ 2056363 h 2323145"/>
              <a:gd name="connsiteX215" fmla="*/ 2250906 w 11269336"/>
              <a:gd name="connsiteY215" fmla="*/ 2055654 h 2323145"/>
              <a:gd name="connsiteX216" fmla="*/ 2236905 w 11269336"/>
              <a:gd name="connsiteY216" fmla="*/ 2062882 h 2323145"/>
              <a:gd name="connsiteX217" fmla="*/ 2225830 w 11269336"/>
              <a:gd name="connsiteY217" fmla="*/ 2074027 h 2323145"/>
              <a:gd name="connsiteX218" fmla="*/ 2073776 w 11269336"/>
              <a:gd name="connsiteY218" fmla="*/ 2089244 h 2323145"/>
              <a:gd name="connsiteX219" fmla="*/ 1948256 w 11269336"/>
              <a:gd name="connsiteY219" fmla="*/ 2146616 h 2323145"/>
              <a:gd name="connsiteX220" fmla="*/ 1865582 w 11269336"/>
              <a:gd name="connsiteY220" fmla="*/ 2153738 h 2323145"/>
              <a:gd name="connsiteX221" fmla="*/ 1835210 w 11269336"/>
              <a:gd name="connsiteY221" fmla="*/ 2134244 h 2323145"/>
              <a:gd name="connsiteX222" fmla="*/ 1632661 w 11269336"/>
              <a:gd name="connsiteY222" fmla="*/ 2173882 h 2323145"/>
              <a:gd name="connsiteX223" fmla="*/ 1579590 w 11269336"/>
              <a:gd name="connsiteY223" fmla="*/ 2173680 h 2323145"/>
              <a:gd name="connsiteX224" fmla="*/ 1535601 w 11269336"/>
              <a:gd name="connsiteY224" fmla="*/ 2194590 h 2323145"/>
              <a:gd name="connsiteX225" fmla="*/ 1515594 w 11269336"/>
              <a:gd name="connsiteY225" fmla="*/ 2189622 h 2323145"/>
              <a:gd name="connsiteX226" fmla="*/ 1512113 w 11269336"/>
              <a:gd name="connsiteY226" fmla="*/ 2188534 h 2323145"/>
              <a:gd name="connsiteX227" fmla="*/ 1498838 w 11269336"/>
              <a:gd name="connsiteY227" fmla="*/ 2189213 h 2323145"/>
              <a:gd name="connsiteX228" fmla="*/ 1494279 w 11269336"/>
              <a:gd name="connsiteY228" fmla="*/ 2183112 h 2323145"/>
              <a:gd name="connsiteX229" fmla="*/ 1473714 w 11269336"/>
              <a:gd name="connsiteY229" fmla="*/ 2179625 h 2323145"/>
              <a:gd name="connsiteX230" fmla="*/ 1449503 w 11269336"/>
              <a:gd name="connsiteY230" fmla="*/ 2182633 h 2323145"/>
              <a:gd name="connsiteX231" fmla="*/ 1266687 w 11269336"/>
              <a:gd name="connsiteY231" fmla="*/ 2212688 h 2323145"/>
              <a:gd name="connsiteX232" fmla="*/ 1239614 w 11269336"/>
              <a:gd name="connsiteY232" fmla="*/ 2209727 h 2323145"/>
              <a:gd name="connsiteX233" fmla="*/ 1202436 w 11269336"/>
              <a:gd name="connsiteY233" fmla="*/ 2209817 h 2323145"/>
              <a:gd name="connsiteX234" fmla="*/ 1136097 w 11269336"/>
              <a:gd name="connsiteY234" fmla="*/ 2205112 h 2323145"/>
              <a:gd name="connsiteX235" fmla="*/ 988232 w 11269336"/>
              <a:gd name="connsiteY235" fmla="*/ 2235635 h 2323145"/>
              <a:gd name="connsiteX236" fmla="*/ 981959 w 11269336"/>
              <a:gd name="connsiteY236" fmla="*/ 2231607 h 2323145"/>
              <a:gd name="connsiteX237" fmla="*/ 938600 w 11269336"/>
              <a:gd name="connsiteY237" fmla="*/ 2238113 h 2323145"/>
              <a:gd name="connsiteX238" fmla="*/ 791788 w 11269336"/>
              <a:gd name="connsiteY238" fmla="*/ 2293224 h 2323145"/>
              <a:gd name="connsiteX239" fmla="*/ 706914 w 11269336"/>
              <a:gd name="connsiteY239" fmla="*/ 2305046 h 2323145"/>
              <a:gd name="connsiteX240" fmla="*/ 675971 w 11269336"/>
              <a:gd name="connsiteY240" fmla="*/ 2304030 h 2323145"/>
              <a:gd name="connsiteX241" fmla="*/ 624180 w 11269336"/>
              <a:gd name="connsiteY241" fmla="*/ 2302650 h 2323145"/>
              <a:gd name="connsiteX242" fmla="*/ 583453 w 11269336"/>
              <a:gd name="connsiteY242" fmla="*/ 2288788 h 2323145"/>
              <a:gd name="connsiteX243" fmla="*/ 540946 w 11269336"/>
              <a:gd name="connsiteY243" fmla="*/ 2292721 h 2323145"/>
              <a:gd name="connsiteX244" fmla="*/ 533680 w 11269336"/>
              <a:gd name="connsiteY244" fmla="*/ 2310233 h 2323145"/>
              <a:gd name="connsiteX245" fmla="*/ 487366 w 11269336"/>
              <a:gd name="connsiteY245" fmla="*/ 2309053 h 2323145"/>
              <a:gd name="connsiteX246" fmla="*/ 416820 w 11269336"/>
              <a:gd name="connsiteY246" fmla="*/ 2305443 h 2323145"/>
              <a:gd name="connsiteX247" fmla="*/ 376805 w 11269336"/>
              <a:gd name="connsiteY247" fmla="*/ 2307647 h 2323145"/>
              <a:gd name="connsiteX248" fmla="*/ 266777 w 11269336"/>
              <a:gd name="connsiteY248" fmla="*/ 2309012 h 2323145"/>
              <a:gd name="connsiteX249" fmla="*/ 156013 w 11269336"/>
              <a:gd name="connsiteY249" fmla="*/ 2306832 h 2323145"/>
              <a:gd name="connsiteX250" fmla="*/ 87258 w 11269336"/>
              <a:gd name="connsiteY250" fmla="*/ 2285511 h 2323145"/>
              <a:gd name="connsiteX251" fmla="*/ 23798 w 11269336"/>
              <a:gd name="connsiteY251" fmla="*/ 2281822 h 2323145"/>
              <a:gd name="connsiteX252" fmla="*/ 0 w 11269336"/>
              <a:gd name="connsiteY252" fmla="*/ 2285369 h 2323145"/>
              <a:gd name="connsiteX253" fmla="*/ 0 w 11269336"/>
              <a:gd name="connsiteY25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467257 w 11269336"/>
              <a:gd name="connsiteY141" fmla="*/ 2196121 h 2323145"/>
              <a:gd name="connsiteX142" fmla="*/ 4405765 w 11269336"/>
              <a:gd name="connsiteY142" fmla="*/ 2199902 h 2323145"/>
              <a:gd name="connsiteX143" fmla="*/ 4401354 w 11269336"/>
              <a:gd name="connsiteY143" fmla="*/ 2194745 h 2323145"/>
              <a:gd name="connsiteX144" fmla="*/ 4366646 w 11269336"/>
              <a:gd name="connsiteY144" fmla="*/ 2198564 h 2323145"/>
              <a:gd name="connsiteX145" fmla="*/ 4354009 w 11269336"/>
              <a:gd name="connsiteY145" fmla="*/ 2204984 h 2323145"/>
              <a:gd name="connsiteX146" fmla="*/ 4348284 w 11269336"/>
              <a:gd name="connsiteY146" fmla="*/ 2205270 h 2323145"/>
              <a:gd name="connsiteX147" fmla="*/ 4333906 w 11269336"/>
              <a:gd name="connsiteY147" fmla="*/ 2205251 h 2323145"/>
              <a:gd name="connsiteX148" fmla="*/ 4308819 w 11269336"/>
              <a:gd name="connsiteY148" fmla="*/ 2203822 h 2323145"/>
              <a:gd name="connsiteX149" fmla="*/ 4301210 w 11269336"/>
              <a:gd name="connsiteY149" fmla="*/ 2204456 h 2323145"/>
              <a:gd name="connsiteX150" fmla="*/ 4283095 w 11269336"/>
              <a:gd name="connsiteY150" fmla="*/ 2198177 h 2323145"/>
              <a:gd name="connsiteX151" fmla="*/ 4250119 w 11269336"/>
              <a:gd name="connsiteY151" fmla="*/ 2196342 h 2323145"/>
              <a:gd name="connsiteX152" fmla="*/ 4189203 w 11269336"/>
              <a:gd name="connsiteY152" fmla="*/ 2178994 h 2323145"/>
              <a:gd name="connsiteX153" fmla="*/ 4154035 w 11269336"/>
              <a:gd name="connsiteY153" fmla="*/ 2171950 h 2323145"/>
              <a:gd name="connsiteX154" fmla="*/ 4129569 w 11269336"/>
              <a:gd name="connsiteY154" fmla="*/ 2163850 h 2323145"/>
              <a:gd name="connsiteX155" fmla="*/ 4061250 w 11269336"/>
              <a:gd name="connsiteY155" fmla="*/ 2159236 h 2323145"/>
              <a:gd name="connsiteX156" fmla="*/ 3945480 w 11269336"/>
              <a:gd name="connsiteY156" fmla="*/ 2158279 h 2323145"/>
              <a:gd name="connsiteX157" fmla="*/ 3921468 w 11269336"/>
              <a:gd name="connsiteY157" fmla="*/ 2156588 h 2323145"/>
              <a:gd name="connsiteX158" fmla="*/ 3903348 w 11269336"/>
              <a:gd name="connsiteY158" fmla="*/ 2149220 h 2323145"/>
              <a:gd name="connsiteX159" fmla="*/ 3901342 w 11269336"/>
              <a:gd name="connsiteY159" fmla="*/ 2142355 h 2323145"/>
              <a:gd name="connsiteX160" fmla="*/ 3888539 w 11269336"/>
              <a:gd name="connsiteY160" fmla="*/ 2140476 h 2323145"/>
              <a:gd name="connsiteX161" fmla="*/ 3885662 w 11269336"/>
              <a:gd name="connsiteY161" fmla="*/ 2138740 h 2323145"/>
              <a:gd name="connsiteX162" fmla="*/ 3868627 w 11269336"/>
              <a:gd name="connsiteY162" fmla="*/ 2130023 h 2323145"/>
              <a:gd name="connsiteX163" fmla="*/ 3819177 w 11269336"/>
              <a:gd name="connsiteY163" fmla="*/ 2142111 h 2323145"/>
              <a:gd name="connsiteX164" fmla="*/ 3769100 w 11269336"/>
              <a:gd name="connsiteY164" fmla="*/ 2131731 h 2323145"/>
              <a:gd name="connsiteX165" fmla="*/ 3562752 w 11269336"/>
              <a:gd name="connsiteY165" fmla="*/ 2131785 h 2323145"/>
              <a:gd name="connsiteX166" fmla="*/ 3541402 w 11269336"/>
              <a:gd name="connsiteY166" fmla="*/ 2106821 h 2323145"/>
              <a:gd name="connsiteX167" fmla="*/ 3365341 w 11269336"/>
              <a:gd name="connsiteY167" fmla="*/ 2077638 h 2323145"/>
              <a:gd name="connsiteX168" fmla="*/ 3170922 w 11269336"/>
              <a:gd name="connsiteY168" fmla="*/ 2115957 h 2323145"/>
              <a:gd name="connsiteX169" fmla="*/ 3156256 w 11269336"/>
              <a:gd name="connsiteY169" fmla="*/ 2124773 h 2323145"/>
              <a:gd name="connsiteX170" fmla="*/ 3140298 w 11269336"/>
              <a:gd name="connsiteY170" fmla="*/ 2129182 h 2323145"/>
              <a:gd name="connsiteX171" fmla="*/ 3138514 w 11269336"/>
              <a:gd name="connsiteY171" fmla="*/ 2128069 h 2323145"/>
              <a:gd name="connsiteX172" fmla="*/ 3120467 w 11269336"/>
              <a:gd name="connsiteY172" fmla="*/ 2128281 h 2323145"/>
              <a:gd name="connsiteX173" fmla="*/ 3116175 w 11269336"/>
              <a:gd name="connsiteY173" fmla="*/ 2131633 h 2323145"/>
              <a:gd name="connsiteX174" fmla="*/ 3103685 w 11269336"/>
              <a:gd name="connsiteY174" fmla="*/ 2132814 h 2323145"/>
              <a:gd name="connsiteX175" fmla="*/ 3078794 w 11269336"/>
              <a:gd name="connsiteY175" fmla="*/ 2137935 h 2323145"/>
              <a:gd name="connsiteX176" fmla="*/ 3074407 w 11269336"/>
              <a:gd name="connsiteY176" fmla="*/ 2136274 h 2323145"/>
              <a:gd name="connsiteX177" fmla="*/ 3037285 w 11269336"/>
              <a:gd name="connsiteY177" fmla="*/ 2139919 h 2323145"/>
              <a:gd name="connsiteX178" fmla="*/ 3036901 w 11269336"/>
              <a:gd name="connsiteY178" fmla="*/ 2138726 h 2323145"/>
              <a:gd name="connsiteX179" fmla="*/ 3026996 w 11269336"/>
              <a:gd name="connsiteY179" fmla="*/ 2134322 h 2323145"/>
              <a:gd name="connsiteX180" fmla="*/ 3007772 w 11269336"/>
              <a:gd name="connsiteY180" fmla="*/ 2128742 h 2323145"/>
              <a:gd name="connsiteX181" fmla="*/ 2965030 w 11269336"/>
              <a:gd name="connsiteY181" fmla="*/ 2100494 h 2323145"/>
              <a:gd name="connsiteX182" fmla="*/ 2926342 w 11269336"/>
              <a:gd name="connsiteY182" fmla="*/ 2104155 h 2323145"/>
              <a:gd name="connsiteX183" fmla="*/ 2918608 w 11269336"/>
              <a:gd name="connsiteY183" fmla="*/ 2104215 h 2323145"/>
              <a:gd name="connsiteX184" fmla="*/ 2918475 w 11269336"/>
              <a:gd name="connsiteY184" fmla="*/ 2103937 h 2323145"/>
              <a:gd name="connsiteX185" fmla="*/ 2910360 w 11269336"/>
              <a:gd name="connsiteY185" fmla="*/ 2103444 h 2323145"/>
              <a:gd name="connsiteX186" fmla="*/ 2904507 w 11269336"/>
              <a:gd name="connsiteY186" fmla="*/ 2104326 h 2323145"/>
              <a:gd name="connsiteX187" fmla="*/ 2889503 w 11269336"/>
              <a:gd name="connsiteY187" fmla="*/ 2104443 h 2323145"/>
              <a:gd name="connsiteX188" fmla="*/ 2884480 w 11269336"/>
              <a:gd name="connsiteY188" fmla="*/ 2102626 h 2323145"/>
              <a:gd name="connsiteX189" fmla="*/ 2882689 w 11269336"/>
              <a:gd name="connsiteY189" fmla="*/ 2099228 h 2323145"/>
              <a:gd name="connsiteX190" fmla="*/ 2881291 w 11269336"/>
              <a:gd name="connsiteY190" fmla="*/ 2099618 h 2323145"/>
              <a:gd name="connsiteX191" fmla="*/ 2853979 w 11269336"/>
              <a:gd name="connsiteY191" fmla="*/ 2090388 h 2323145"/>
              <a:gd name="connsiteX192" fmla="*/ 2791790 w 11269336"/>
              <a:gd name="connsiteY192" fmla="*/ 2080332 h 2323145"/>
              <a:gd name="connsiteX193" fmla="*/ 2755844 w 11269336"/>
              <a:gd name="connsiteY193" fmla="*/ 2078874 h 2323145"/>
              <a:gd name="connsiteX194" fmla="*/ 2657742 w 11269336"/>
              <a:gd name="connsiteY194" fmla="*/ 2070179 h 2323145"/>
              <a:gd name="connsiteX195" fmla="*/ 2559549 w 11269336"/>
              <a:gd name="connsiteY195" fmla="*/ 2057873 h 2323145"/>
              <a:gd name="connsiteX196" fmla="*/ 2512054 w 11269336"/>
              <a:gd name="connsiteY196" fmla="*/ 2031671 h 2323145"/>
              <a:gd name="connsiteX197" fmla="*/ 2506437 w 11269336"/>
              <a:gd name="connsiteY197" fmla="*/ 2030918 h 2323145"/>
              <a:gd name="connsiteX198" fmla="*/ 2491752 w 11269336"/>
              <a:gd name="connsiteY198" fmla="*/ 2033906 h 2323145"/>
              <a:gd name="connsiteX199" fmla="*/ 2486338 w 11269336"/>
              <a:gd name="connsiteY199" fmla="*/ 2035862 h 2323145"/>
              <a:gd name="connsiteX200" fmla="*/ 2478186 w 11269336"/>
              <a:gd name="connsiteY200" fmla="*/ 2036953 h 2323145"/>
              <a:gd name="connsiteX201" fmla="*/ 2477950 w 11269336"/>
              <a:gd name="connsiteY201" fmla="*/ 2036715 h 2323145"/>
              <a:gd name="connsiteX202" fmla="*/ 2470381 w 11269336"/>
              <a:gd name="connsiteY202" fmla="*/ 2038256 h 2323145"/>
              <a:gd name="connsiteX203" fmla="*/ 2433781 w 11269336"/>
              <a:gd name="connsiteY203" fmla="*/ 2049140 h 2323145"/>
              <a:gd name="connsiteX204" fmla="*/ 2381172 w 11269336"/>
              <a:gd name="connsiteY204" fmla="*/ 2030645 h 2323145"/>
              <a:gd name="connsiteX205" fmla="*/ 2360198 w 11269336"/>
              <a:gd name="connsiteY205" fmla="*/ 2029059 h 2323145"/>
              <a:gd name="connsiteX206" fmla="*/ 2348815 w 11269336"/>
              <a:gd name="connsiteY206" fmla="*/ 2026798 h 2323145"/>
              <a:gd name="connsiteX207" fmla="*/ 2347988 w 11269336"/>
              <a:gd name="connsiteY207" fmla="*/ 2025745 h 2323145"/>
              <a:gd name="connsiteX208" fmla="*/ 2312920 w 11269336"/>
              <a:gd name="connsiteY208" fmla="*/ 2036311 h 2323145"/>
              <a:gd name="connsiteX209" fmla="*/ 2307986 w 11269336"/>
              <a:gd name="connsiteY209" fmla="*/ 2035583 h 2323145"/>
              <a:gd name="connsiteX210" fmla="*/ 2285481 w 11269336"/>
              <a:gd name="connsiteY210" fmla="*/ 2045197 h 2323145"/>
              <a:gd name="connsiteX211" fmla="*/ 2273666 w 11269336"/>
              <a:gd name="connsiteY211" fmla="*/ 2048710 h 2323145"/>
              <a:gd name="connsiteX212" fmla="*/ 2270719 w 11269336"/>
              <a:gd name="connsiteY212" fmla="*/ 2052702 h 2323145"/>
              <a:gd name="connsiteX213" fmla="*/ 2253080 w 11269336"/>
              <a:gd name="connsiteY213" fmla="*/ 2056363 h 2323145"/>
              <a:gd name="connsiteX214" fmla="*/ 2250906 w 11269336"/>
              <a:gd name="connsiteY214" fmla="*/ 2055654 h 2323145"/>
              <a:gd name="connsiteX215" fmla="*/ 2236905 w 11269336"/>
              <a:gd name="connsiteY215" fmla="*/ 2062882 h 2323145"/>
              <a:gd name="connsiteX216" fmla="*/ 2225830 w 11269336"/>
              <a:gd name="connsiteY216" fmla="*/ 2074027 h 2323145"/>
              <a:gd name="connsiteX217" fmla="*/ 2073776 w 11269336"/>
              <a:gd name="connsiteY217" fmla="*/ 2089244 h 2323145"/>
              <a:gd name="connsiteX218" fmla="*/ 1948256 w 11269336"/>
              <a:gd name="connsiteY218" fmla="*/ 2146616 h 2323145"/>
              <a:gd name="connsiteX219" fmla="*/ 1865582 w 11269336"/>
              <a:gd name="connsiteY219" fmla="*/ 2153738 h 2323145"/>
              <a:gd name="connsiteX220" fmla="*/ 1835210 w 11269336"/>
              <a:gd name="connsiteY220" fmla="*/ 2134244 h 2323145"/>
              <a:gd name="connsiteX221" fmla="*/ 1632661 w 11269336"/>
              <a:gd name="connsiteY221" fmla="*/ 2173882 h 2323145"/>
              <a:gd name="connsiteX222" fmla="*/ 1579590 w 11269336"/>
              <a:gd name="connsiteY222" fmla="*/ 2173680 h 2323145"/>
              <a:gd name="connsiteX223" fmla="*/ 1535601 w 11269336"/>
              <a:gd name="connsiteY223" fmla="*/ 2194590 h 2323145"/>
              <a:gd name="connsiteX224" fmla="*/ 1515594 w 11269336"/>
              <a:gd name="connsiteY224" fmla="*/ 2189622 h 2323145"/>
              <a:gd name="connsiteX225" fmla="*/ 1512113 w 11269336"/>
              <a:gd name="connsiteY225" fmla="*/ 2188534 h 2323145"/>
              <a:gd name="connsiteX226" fmla="*/ 1498838 w 11269336"/>
              <a:gd name="connsiteY226" fmla="*/ 2189213 h 2323145"/>
              <a:gd name="connsiteX227" fmla="*/ 1494279 w 11269336"/>
              <a:gd name="connsiteY227" fmla="*/ 2183112 h 2323145"/>
              <a:gd name="connsiteX228" fmla="*/ 1473714 w 11269336"/>
              <a:gd name="connsiteY228" fmla="*/ 2179625 h 2323145"/>
              <a:gd name="connsiteX229" fmla="*/ 1449503 w 11269336"/>
              <a:gd name="connsiteY229" fmla="*/ 2182633 h 2323145"/>
              <a:gd name="connsiteX230" fmla="*/ 1266687 w 11269336"/>
              <a:gd name="connsiteY230" fmla="*/ 2212688 h 2323145"/>
              <a:gd name="connsiteX231" fmla="*/ 1239614 w 11269336"/>
              <a:gd name="connsiteY231" fmla="*/ 2209727 h 2323145"/>
              <a:gd name="connsiteX232" fmla="*/ 1202436 w 11269336"/>
              <a:gd name="connsiteY232" fmla="*/ 2209817 h 2323145"/>
              <a:gd name="connsiteX233" fmla="*/ 1136097 w 11269336"/>
              <a:gd name="connsiteY233" fmla="*/ 2205112 h 2323145"/>
              <a:gd name="connsiteX234" fmla="*/ 988232 w 11269336"/>
              <a:gd name="connsiteY234" fmla="*/ 2235635 h 2323145"/>
              <a:gd name="connsiteX235" fmla="*/ 981959 w 11269336"/>
              <a:gd name="connsiteY235" fmla="*/ 2231607 h 2323145"/>
              <a:gd name="connsiteX236" fmla="*/ 938600 w 11269336"/>
              <a:gd name="connsiteY236" fmla="*/ 2238113 h 2323145"/>
              <a:gd name="connsiteX237" fmla="*/ 791788 w 11269336"/>
              <a:gd name="connsiteY237" fmla="*/ 2293224 h 2323145"/>
              <a:gd name="connsiteX238" fmla="*/ 706914 w 11269336"/>
              <a:gd name="connsiteY238" fmla="*/ 2305046 h 2323145"/>
              <a:gd name="connsiteX239" fmla="*/ 675971 w 11269336"/>
              <a:gd name="connsiteY239" fmla="*/ 2304030 h 2323145"/>
              <a:gd name="connsiteX240" fmla="*/ 624180 w 11269336"/>
              <a:gd name="connsiteY240" fmla="*/ 2302650 h 2323145"/>
              <a:gd name="connsiteX241" fmla="*/ 583453 w 11269336"/>
              <a:gd name="connsiteY241" fmla="*/ 2288788 h 2323145"/>
              <a:gd name="connsiteX242" fmla="*/ 540946 w 11269336"/>
              <a:gd name="connsiteY242" fmla="*/ 2292721 h 2323145"/>
              <a:gd name="connsiteX243" fmla="*/ 533680 w 11269336"/>
              <a:gd name="connsiteY243" fmla="*/ 2310233 h 2323145"/>
              <a:gd name="connsiteX244" fmla="*/ 487366 w 11269336"/>
              <a:gd name="connsiteY244" fmla="*/ 2309053 h 2323145"/>
              <a:gd name="connsiteX245" fmla="*/ 416820 w 11269336"/>
              <a:gd name="connsiteY245" fmla="*/ 2305443 h 2323145"/>
              <a:gd name="connsiteX246" fmla="*/ 376805 w 11269336"/>
              <a:gd name="connsiteY246" fmla="*/ 2307647 h 2323145"/>
              <a:gd name="connsiteX247" fmla="*/ 266777 w 11269336"/>
              <a:gd name="connsiteY247" fmla="*/ 2309012 h 2323145"/>
              <a:gd name="connsiteX248" fmla="*/ 156013 w 11269336"/>
              <a:gd name="connsiteY248" fmla="*/ 2306832 h 2323145"/>
              <a:gd name="connsiteX249" fmla="*/ 87258 w 11269336"/>
              <a:gd name="connsiteY249" fmla="*/ 2285511 h 2323145"/>
              <a:gd name="connsiteX250" fmla="*/ 23798 w 11269336"/>
              <a:gd name="connsiteY250" fmla="*/ 2281822 h 2323145"/>
              <a:gd name="connsiteX251" fmla="*/ 0 w 11269336"/>
              <a:gd name="connsiteY251" fmla="*/ 2285369 h 2323145"/>
              <a:gd name="connsiteX252" fmla="*/ 0 w 11269336"/>
              <a:gd name="connsiteY25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405765 w 11269336"/>
              <a:gd name="connsiteY141" fmla="*/ 2199902 h 2323145"/>
              <a:gd name="connsiteX142" fmla="*/ 4401354 w 11269336"/>
              <a:gd name="connsiteY142" fmla="*/ 2194745 h 2323145"/>
              <a:gd name="connsiteX143" fmla="*/ 4366646 w 11269336"/>
              <a:gd name="connsiteY143" fmla="*/ 2198564 h 2323145"/>
              <a:gd name="connsiteX144" fmla="*/ 4354009 w 11269336"/>
              <a:gd name="connsiteY144" fmla="*/ 2204984 h 2323145"/>
              <a:gd name="connsiteX145" fmla="*/ 4348284 w 11269336"/>
              <a:gd name="connsiteY145" fmla="*/ 2205270 h 2323145"/>
              <a:gd name="connsiteX146" fmla="*/ 4333906 w 11269336"/>
              <a:gd name="connsiteY146" fmla="*/ 2205251 h 2323145"/>
              <a:gd name="connsiteX147" fmla="*/ 4308819 w 11269336"/>
              <a:gd name="connsiteY147" fmla="*/ 2203822 h 2323145"/>
              <a:gd name="connsiteX148" fmla="*/ 4301210 w 11269336"/>
              <a:gd name="connsiteY148" fmla="*/ 2204456 h 2323145"/>
              <a:gd name="connsiteX149" fmla="*/ 4283095 w 11269336"/>
              <a:gd name="connsiteY149" fmla="*/ 2198177 h 2323145"/>
              <a:gd name="connsiteX150" fmla="*/ 4250119 w 11269336"/>
              <a:gd name="connsiteY150" fmla="*/ 2196342 h 2323145"/>
              <a:gd name="connsiteX151" fmla="*/ 4189203 w 11269336"/>
              <a:gd name="connsiteY151" fmla="*/ 2178994 h 2323145"/>
              <a:gd name="connsiteX152" fmla="*/ 4154035 w 11269336"/>
              <a:gd name="connsiteY152" fmla="*/ 2171950 h 2323145"/>
              <a:gd name="connsiteX153" fmla="*/ 4129569 w 11269336"/>
              <a:gd name="connsiteY153" fmla="*/ 2163850 h 2323145"/>
              <a:gd name="connsiteX154" fmla="*/ 4061250 w 11269336"/>
              <a:gd name="connsiteY154" fmla="*/ 2159236 h 2323145"/>
              <a:gd name="connsiteX155" fmla="*/ 3945480 w 11269336"/>
              <a:gd name="connsiteY155" fmla="*/ 2158279 h 2323145"/>
              <a:gd name="connsiteX156" fmla="*/ 3921468 w 11269336"/>
              <a:gd name="connsiteY156" fmla="*/ 2156588 h 2323145"/>
              <a:gd name="connsiteX157" fmla="*/ 3903348 w 11269336"/>
              <a:gd name="connsiteY157" fmla="*/ 2149220 h 2323145"/>
              <a:gd name="connsiteX158" fmla="*/ 3901342 w 11269336"/>
              <a:gd name="connsiteY158" fmla="*/ 2142355 h 2323145"/>
              <a:gd name="connsiteX159" fmla="*/ 3888539 w 11269336"/>
              <a:gd name="connsiteY159" fmla="*/ 2140476 h 2323145"/>
              <a:gd name="connsiteX160" fmla="*/ 3885662 w 11269336"/>
              <a:gd name="connsiteY160" fmla="*/ 2138740 h 2323145"/>
              <a:gd name="connsiteX161" fmla="*/ 3868627 w 11269336"/>
              <a:gd name="connsiteY161" fmla="*/ 2130023 h 2323145"/>
              <a:gd name="connsiteX162" fmla="*/ 3819177 w 11269336"/>
              <a:gd name="connsiteY162" fmla="*/ 2142111 h 2323145"/>
              <a:gd name="connsiteX163" fmla="*/ 3769100 w 11269336"/>
              <a:gd name="connsiteY163" fmla="*/ 2131731 h 2323145"/>
              <a:gd name="connsiteX164" fmla="*/ 3562752 w 11269336"/>
              <a:gd name="connsiteY164" fmla="*/ 2131785 h 2323145"/>
              <a:gd name="connsiteX165" fmla="*/ 3541402 w 11269336"/>
              <a:gd name="connsiteY165" fmla="*/ 2106821 h 2323145"/>
              <a:gd name="connsiteX166" fmla="*/ 3365341 w 11269336"/>
              <a:gd name="connsiteY166" fmla="*/ 2077638 h 2323145"/>
              <a:gd name="connsiteX167" fmla="*/ 3170922 w 11269336"/>
              <a:gd name="connsiteY167" fmla="*/ 2115957 h 2323145"/>
              <a:gd name="connsiteX168" fmla="*/ 3156256 w 11269336"/>
              <a:gd name="connsiteY168" fmla="*/ 2124773 h 2323145"/>
              <a:gd name="connsiteX169" fmla="*/ 3140298 w 11269336"/>
              <a:gd name="connsiteY169" fmla="*/ 2129182 h 2323145"/>
              <a:gd name="connsiteX170" fmla="*/ 3138514 w 11269336"/>
              <a:gd name="connsiteY170" fmla="*/ 2128069 h 2323145"/>
              <a:gd name="connsiteX171" fmla="*/ 3120467 w 11269336"/>
              <a:gd name="connsiteY171" fmla="*/ 2128281 h 2323145"/>
              <a:gd name="connsiteX172" fmla="*/ 3116175 w 11269336"/>
              <a:gd name="connsiteY172" fmla="*/ 2131633 h 2323145"/>
              <a:gd name="connsiteX173" fmla="*/ 3103685 w 11269336"/>
              <a:gd name="connsiteY173" fmla="*/ 2132814 h 2323145"/>
              <a:gd name="connsiteX174" fmla="*/ 3078794 w 11269336"/>
              <a:gd name="connsiteY174" fmla="*/ 2137935 h 2323145"/>
              <a:gd name="connsiteX175" fmla="*/ 3074407 w 11269336"/>
              <a:gd name="connsiteY175" fmla="*/ 2136274 h 2323145"/>
              <a:gd name="connsiteX176" fmla="*/ 3037285 w 11269336"/>
              <a:gd name="connsiteY176" fmla="*/ 2139919 h 2323145"/>
              <a:gd name="connsiteX177" fmla="*/ 3036901 w 11269336"/>
              <a:gd name="connsiteY177" fmla="*/ 2138726 h 2323145"/>
              <a:gd name="connsiteX178" fmla="*/ 3026996 w 11269336"/>
              <a:gd name="connsiteY178" fmla="*/ 2134322 h 2323145"/>
              <a:gd name="connsiteX179" fmla="*/ 3007772 w 11269336"/>
              <a:gd name="connsiteY179" fmla="*/ 2128742 h 2323145"/>
              <a:gd name="connsiteX180" fmla="*/ 2965030 w 11269336"/>
              <a:gd name="connsiteY180" fmla="*/ 2100494 h 2323145"/>
              <a:gd name="connsiteX181" fmla="*/ 2926342 w 11269336"/>
              <a:gd name="connsiteY181" fmla="*/ 2104155 h 2323145"/>
              <a:gd name="connsiteX182" fmla="*/ 2918608 w 11269336"/>
              <a:gd name="connsiteY182" fmla="*/ 2104215 h 2323145"/>
              <a:gd name="connsiteX183" fmla="*/ 2918475 w 11269336"/>
              <a:gd name="connsiteY183" fmla="*/ 2103937 h 2323145"/>
              <a:gd name="connsiteX184" fmla="*/ 2910360 w 11269336"/>
              <a:gd name="connsiteY184" fmla="*/ 2103444 h 2323145"/>
              <a:gd name="connsiteX185" fmla="*/ 2904507 w 11269336"/>
              <a:gd name="connsiteY185" fmla="*/ 2104326 h 2323145"/>
              <a:gd name="connsiteX186" fmla="*/ 2889503 w 11269336"/>
              <a:gd name="connsiteY186" fmla="*/ 2104443 h 2323145"/>
              <a:gd name="connsiteX187" fmla="*/ 2884480 w 11269336"/>
              <a:gd name="connsiteY187" fmla="*/ 2102626 h 2323145"/>
              <a:gd name="connsiteX188" fmla="*/ 2882689 w 11269336"/>
              <a:gd name="connsiteY188" fmla="*/ 2099228 h 2323145"/>
              <a:gd name="connsiteX189" fmla="*/ 2881291 w 11269336"/>
              <a:gd name="connsiteY189" fmla="*/ 2099618 h 2323145"/>
              <a:gd name="connsiteX190" fmla="*/ 2853979 w 11269336"/>
              <a:gd name="connsiteY190" fmla="*/ 2090388 h 2323145"/>
              <a:gd name="connsiteX191" fmla="*/ 2791790 w 11269336"/>
              <a:gd name="connsiteY191" fmla="*/ 2080332 h 2323145"/>
              <a:gd name="connsiteX192" fmla="*/ 2755844 w 11269336"/>
              <a:gd name="connsiteY192" fmla="*/ 2078874 h 2323145"/>
              <a:gd name="connsiteX193" fmla="*/ 2657742 w 11269336"/>
              <a:gd name="connsiteY193" fmla="*/ 2070179 h 2323145"/>
              <a:gd name="connsiteX194" fmla="*/ 2559549 w 11269336"/>
              <a:gd name="connsiteY194" fmla="*/ 2057873 h 2323145"/>
              <a:gd name="connsiteX195" fmla="*/ 2512054 w 11269336"/>
              <a:gd name="connsiteY195" fmla="*/ 2031671 h 2323145"/>
              <a:gd name="connsiteX196" fmla="*/ 2506437 w 11269336"/>
              <a:gd name="connsiteY196" fmla="*/ 2030918 h 2323145"/>
              <a:gd name="connsiteX197" fmla="*/ 2491752 w 11269336"/>
              <a:gd name="connsiteY197" fmla="*/ 2033906 h 2323145"/>
              <a:gd name="connsiteX198" fmla="*/ 2486338 w 11269336"/>
              <a:gd name="connsiteY198" fmla="*/ 2035862 h 2323145"/>
              <a:gd name="connsiteX199" fmla="*/ 2478186 w 11269336"/>
              <a:gd name="connsiteY199" fmla="*/ 2036953 h 2323145"/>
              <a:gd name="connsiteX200" fmla="*/ 2477950 w 11269336"/>
              <a:gd name="connsiteY200" fmla="*/ 2036715 h 2323145"/>
              <a:gd name="connsiteX201" fmla="*/ 2470381 w 11269336"/>
              <a:gd name="connsiteY201" fmla="*/ 2038256 h 2323145"/>
              <a:gd name="connsiteX202" fmla="*/ 2433781 w 11269336"/>
              <a:gd name="connsiteY202" fmla="*/ 2049140 h 2323145"/>
              <a:gd name="connsiteX203" fmla="*/ 2381172 w 11269336"/>
              <a:gd name="connsiteY203" fmla="*/ 2030645 h 2323145"/>
              <a:gd name="connsiteX204" fmla="*/ 2360198 w 11269336"/>
              <a:gd name="connsiteY204" fmla="*/ 2029059 h 2323145"/>
              <a:gd name="connsiteX205" fmla="*/ 2348815 w 11269336"/>
              <a:gd name="connsiteY205" fmla="*/ 2026798 h 2323145"/>
              <a:gd name="connsiteX206" fmla="*/ 2347988 w 11269336"/>
              <a:gd name="connsiteY206" fmla="*/ 2025745 h 2323145"/>
              <a:gd name="connsiteX207" fmla="*/ 2312920 w 11269336"/>
              <a:gd name="connsiteY207" fmla="*/ 2036311 h 2323145"/>
              <a:gd name="connsiteX208" fmla="*/ 2307986 w 11269336"/>
              <a:gd name="connsiteY208" fmla="*/ 2035583 h 2323145"/>
              <a:gd name="connsiteX209" fmla="*/ 2285481 w 11269336"/>
              <a:gd name="connsiteY209" fmla="*/ 2045197 h 2323145"/>
              <a:gd name="connsiteX210" fmla="*/ 2273666 w 11269336"/>
              <a:gd name="connsiteY210" fmla="*/ 2048710 h 2323145"/>
              <a:gd name="connsiteX211" fmla="*/ 2270719 w 11269336"/>
              <a:gd name="connsiteY211" fmla="*/ 2052702 h 2323145"/>
              <a:gd name="connsiteX212" fmla="*/ 2253080 w 11269336"/>
              <a:gd name="connsiteY212" fmla="*/ 2056363 h 2323145"/>
              <a:gd name="connsiteX213" fmla="*/ 2250906 w 11269336"/>
              <a:gd name="connsiteY213" fmla="*/ 2055654 h 2323145"/>
              <a:gd name="connsiteX214" fmla="*/ 2236905 w 11269336"/>
              <a:gd name="connsiteY214" fmla="*/ 2062882 h 2323145"/>
              <a:gd name="connsiteX215" fmla="*/ 2225830 w 11269336"/>
              <a:gd name="connsiteY215" fmla="*/ 2074027 h 2323145"/>
              <a:gd name="connsiteX216" fmla="*/ 2073776 w 11269336"/>
              <a:gd name="connsiteY216" fmla="*/ 2089244 h 2323145"/>
              <a:gd name="connsiteX217" fmla="*/ 1948256 w 11269336"/>
              <a:gd name="connsiteY217" fmla="*/ 2146616 h 2323145"/>
              <a:gd name="connsiteX218" fmla="*/ 1865582 w 11269336"/>
              <a:gd name="connsiteY218" fmla="*/ 2153738 h 2323145"/>
              <a:gd name="connsiteX219" fmla="*/ 1835210 w 11269336"/>
              <a:gd name="connsiteY219" fmla="*/ 2134244 h 2323145"/>
              <a:gd name="connsiteX220" fmla="*/ 1632661 w 11269336"/>
              <a:gd name="connsiteY220" fmla="*/ 2173882 h 2323145"/>
              <a:gd name="connsiteX221" fmla="*/ 1579590 w 11269336"/>
              <a:gd name="connsiteY221" fmla="*/ 2173680 h 2323145"/>
              <a:gd name="connsiteX222" fmla="*/ 1535601 w 11269336"/>
              <a:gd name="connsiteY222" fmla="*/ 2194590 h 2323145"/>
              <a:gd name="connsiteX223" fmla="*/ 1515594 w 11269336"/>
              <a:gd name="connsiteY223" fmla="*/ 2189622 h 2323145"/>
              <a:gd name="connsiteX224" fmla="*/ 1512113 w 11269336"/>
              <a:gd name="connsiteY224" fmla="*/ 2188534 h 2323145"/>
              <a:gd name="connsiteX225" fmla="*/ 1498838 w 11269336"/>
              <a:gd name="connsiteY225" fmla="*/ 2189213 h 2323145"/>
              <a:gd name="connsiteX226" fmla="*/ 1494279 w 11269336"/>
              <a:gd name="connsiteY226" fmla="*/ 2183112 h 2323145"/>
              <a:gd name="connsiteX227" fmla="*/ 1473714 w 11269336"/>
              <a:gd name="connsiteY227" fmla="*/ 2179625 h 2323145"/>
              <a:gd name="connsiteX228" fmla="*/ 1449503 w 11269336"/>
              <a:gd name="connsiteY228" fmla="*/ 2182633 h 2323145"/>
              <a:gd name="connsiteX229" fmla="*/ 1266687 w 11269336"/>
              <a:gd name="connsiteY229" fmla="*/ 2212688 h 2323145"/>
              <a:gd name="connsiteX230" fmla="*/ 1239614 w 11269336"/>
              <a:gd name="connsiteY230" fmla="*/ 2209727 h 2323145"/>
              <a:gd name="connsiteX231" fmla="*/ 1202436 w 11269336"/>
              <a:gd name="connsiteY231" fmla="*/ 2209817 h 2323145"/>
              <a:gd name="connsiteX232" fmla="*/ 1136097 w 11269336"/>
              <a:gd name="connsiteY232" fmla="*/ 2205112 h 2323145"/>
              <a:gd name="connsiteX233" fmla="*/ 988232 w 11269336"/>
              <a:gd name="connsiteY233" fmla="*/ 2235635 h 2323145"/>
              <a:gd name="connsiteX234" fmla="*/ 981959 w 11269336"/>
              <a:gd name="connsiteY234" fmla="*/ 2231607 h 2323145"/>
              <a:gd name="connsiteX235" fmla="*/ 938600 w 11269336"/>
              <a:gd name="connsiteY235" fmla="*/ 2238113 h 2323145"/>
              <a:gd name="connsiteX236" fmla="*/ 791788 w 11269336"/>
              <a:gd name="connsiteY236" fmla="*/ 2293224 h 2323145"/>
              <a:gd name="connsiteX237" fmla="*/ 706914 w 11269336"/>
              <a:gd name="connsiteY237" fmla="*/ 2305046 h 2323145"/>
              <a:gd name="connsiteX238" fmla="*/ 675971 w 11269336"/>
              <a:gd name="connsiteY238" fmla="*/ 2304030 h 2323145"/>
              <a:gd name="connsiteX239" fmla="*/ 624180 w 11269336"/>
              <a:gd name="connsiteY239" fmla="*/ 2302650 h 2323145"/>
              <a:gd name="connsiteX240" fmla="*/ 583453 w 11269336"/>
              <a:gd name="connsiteY240" fmla="*/ 2288788 h 2323145"/>
              <a:gd name="connsiteX241" fmla="*/ 540946 w 11269336"/>
              <a:gd name="connsiteY241" fmla="*/ 2292721 h 2323145"/>
              <a:gd name="connsiteX242" fmla="*/ 533680 w 11269336"/>
              <a:gd name="connsiteY242" fmla="*/ 2310233 h 2323145"/>
              <a:gd name="connsiteX243" fmla="*/ 487366 w 11269336"/>
              <a:gd name="connsiteY243" fmla="*/ 2309053 h 2323145"/>
              <a:gd name="connsiteX244" fmla="*/ 416820 w 11269336"/>
              <a:gd name="connsiteY244" fmla="*/ 2305443 h 2323145"/>
              <a:gd name="connsiteX245" fmla="*/ 376805 w 11269336"/>
              <a:gd name="connsiteY245" fmla="*/ 2307647 h 2323145"/>
              <a:gd name="connsiteX246" fmla="*/ 266777 w 11269336"/>
              <a:gd name="connsiteY246" fmla="*/ 2309012 h 2323145"/>
              <a:gd name="connsiteX247" fmla="*/ 156013 w 11269336"/>
              <a:gd name="connsiteY247" fmla="*/ 2306832 h 2323145"/>
              <a:gd name="connsiteX248" fmla="*/ 87258 w 11269336"/>
              <a:gd name="connsiteY248" fmla="*/ 2285511 h 2323145"/>
              <a:gd name="connsiteX249" fmla="*/ 23798 w 11269336"/>
              <a:gd name="connsiteY249" fmla="*/ 2281822 h 2323145"/>
              <a:gd name="connsiteX250" fmla="*/ 0 w 11269336"/>
              <a:gd name="connsiteY250" fmla="*/ 2285369 h 2323145"/>
              <a:gd name="connsiteX251" fmla="*/ 0 w 11269336"/>
              <a:gd name="connsiteY251" fmla="*/ 0 h 2323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</a:cxnLst>
            <a:rect l="l" t="t" r="r" b="b"/>
            <a:pathLst>
              <a:path w="11269336" h="2323145">
                <a:moveTo>
                  <a:pt x="0" y="0"/>
                </a:moveTo>
                <a:lnTo>
                  <a:pt x="11269336" y="0"/>
                </a:lnTo>
                <a:lnTo>
                  <a:pt x="11268645" y="511"/>
                </a:lnTo>
                <a:cubicBezTo>
                  <a:pt x="11257520" y="14091"/>
                  <a:pt x="11248967" y="32073"/>
                  <a:pt x="11230739" y="37096"/>
                </a:cubicBezTo>
                <a:cubicBezTo>
                  <a:pt x="11194283" y="47141"/>
                  <a:pt x="11124351" y="55013"/>
                  <a:pt x="11082485" y="78590"/>
                </a:cubicBezTo>
                <a:cubicBezTo>
                  <a:pt x="11064655" y="69818"/>
                  <a:pt x="11049588" y="97621"/>
                  <a:pt x="11031776" y="79197"/>
                </a:cubicBezTo>
                <a:cubicBezTo>
                  <a:pt x="11016683" y="85023"/>
                  <a:pt x="11009945" y="92832"/>
                  <a:pt x="10995894" y="83459"/>
                </a:cubicBezTo>
                <a:cubicBezTo>
                  <a:pt x="10971843" y="134740"/>
                  <a:pt x="10888992" y="106042"/>
                  <a:pt x="10861177" y="147419"/>
                </a:cubicBezTo>
                <a:cubicBezTo>
                  <a:pt x="10850370" y="129415"/>
                  <a:pt x="10807086" y="138624"/>
                  <a:pt x="10782732" y="135645"/>
                </a:cubicBezTo>
                <a:cubicBezTo>
                  <a:pt x="10869014" y="196205"/>
                  <a:pt x="10693356" y="147304"/>
                  <a:pt x="10660773" y="179312"/>
                </a:cubicBezTo>
                <a:cubicBezTo>
                  <a:pt x="10667385" y="121467"/>
                  <a:pt x="10595265" y="182241"/>
                  <a:pt x="10564442" y="160738"/>
                </a:cubicBezTo>
                <a:cubicBezTo>
                  <a:pt x="10544419" y="190949"/>
                  <a:pt x="10518436" y="167191"/>
                  <a:pt x="10490200" y="183533"/>
                </a:cubicBezTo>
                <a:cubicBezTo>
                  <a:pt x="10423905" y="202688"/>
                  <a:pt x="10362764" y="244779"/>
                  <a:pt x="10271351" y="243104"/>
                </a:cubicBezTo>
                <a:cubicBezTo>
                  <a:pt x="10247818" y="329775"/>
                  <a:pt x="10135674" y="303068"/>
                  <a:pt x="10061033" y="364937"/>
                </a:cubicBezTo>
                <a:cubicBezTo>
                  <a:pt x="10014289" y="383940"/>
                  <a:pt x="9930032" y="360289"/>
                  <a:pt x="9921770" y="406154"/>
                </a:cubicBezTo>
                <a:cubicBezTo>
                  <a:pt x="9894276" y="384665"/>
                  <a:pt x="9881945" y="430851"/>
                  <a:pt x="9858388" y="439489"/>
                </a:cubicBezTo>
                <a:cubicBezTo>
                  <a:pt x="9835642" y="426888"/>
                  <a:pt x="9828901" y="443125"/>
                  <a:pt x="9811914" y="449865"/>
                </a:cubicBezTo>
                <a:cubicBezTo>
                  <a:pt x="9801869" y="441287"/>
                  <a:pt x="9787055" y="444835"/>
                  <a:pt x="9784394" y="457816"/>
                </a:cubicBezTo>
                <a:cubicBezTo>
                  <a:pt x="9797169" y="483924"/>
                  <a:pt x="9656844" y="450179"/>
                  <a:pt x="9656836" y="469967"/>
                </a:cubicBezTo>
                <a:cubicBezTo>
                  <a:pt x="9589537" y="485301"/>
                  <a:pt x="9662097" y="527310"/>
                  <a:pt x="9561575" y="559978"/>
                </a:cubicBezTo>
                <a:cubicBezTo>
                  <a:pt x="9479149" y="599104"/>
                  <a:pt x="9215234" y="670585"/>
                  <a:pt x="9162278" y="704724"/>
                </a:cubicBezTo>
                <a:cubicBezTo>
                  <a:pt x="9173017" y="730567"/>
                  <a:pt x="9063215" y="727685"/>
                  <a:pt x="9062863" y="754656"/>
                </a:cubicBezTo>
                <a:cubicBezTo>
                  <a:pt x="9021608" y="774940"/>
                  <a:pt x="8924639" y="816390"/>
                  <a:pt x="8914746" y="826428"/>
                </a:cubicBezTo>
                <a:lnTo>
                  <a:pt x="8917778" y="835198"/>
                </a:lnTo>
                <a:lnTo>
                  <a:pt x="8905560" y="838358"/>
                </a:lnTo>
                <a:lnTo>
                  <a:pt x="8897564" y="834287"/>
                </a:lnTo>
                <a:lnTo>
                  <a:pt x="8878040" y="844150"/>
                </a:lnTo>
                <a:cubicBezTo>
                  <a:pt x="8861112" y="848992"/>
                  <a:pt x="8812843" y="856499"/>
                  <a:pt x="8795998" y="863337"/>
                </a:cubicBezTo>
                <a:cubicBezTo>
                  <a:pt x="8792888" y="873975"/>
                  <a:pt x="8786153" y="880792"/>
                  <a:pt x="8776970" y="885177"/>
                </a:cubicBezTo>
                <a:lnTo>
                  <a:pt x="8755719" y="889754"/>
                </a:lnTo>
                <a:lnTo>
                  <a:pt x="8743257" y="904723"/>
                </a:lnTo>
                <a:cubicBezTo>
                  <a:pt x="8737642" y="908108"/>
                  <a:pt x="8730651" y="908759"/>
                  <a:pt x="8721366" y="904711"/>
                </a:cubicBezTo>
                <a:cubicBezTo>
                  <a:pt x="8711895" y="915873"/>
                  <a:pt x="8676250" y="900745"/>
                  <a:pt x="8678353" y="926318"/>
                </a:cubicBezTo>
                <a:cubicBezTo>
                  <a:pt x="8658506" y="928813"/>
                  <a:pt x="8647569" y="933735"/>
                  <a:pt x="8636849" y="937900"/>
                </a:cubicBezTo>
                <a:lnTo>
                  <a:pt x="8620213" y="943068"/>
                </a:lnTo>
                <a:lnTo>
                  <a:pt x="8612581" y="952695"/>
                </a:lnTo>
                <a:cubicBezTo>
                  <a:pt x="8605836" y="959769"/>
                  <a:pt x="8598255" y="964412"/>
                  <a:pt x="8589038" y="963892"/>
                </a:cubicBezTo>
                <a:lnTo>
                  <a:pt x="8579950" y="960899"/>
                </a:lnTo>
                <a:cubicBezTo>
                  <a:pt x="8579740" y="962476"/>
                  <a:pt x="8579529" y="964053"/>
                  <a:pt x="8579319" y="965630"/>
                </a:cubicBezTo>
                <a:cubicBezTo>
                  <a:pt x="8579138" y="972972"/>
                  <a:pt x="8576531" y="980010"/>
                  <a:pt x="8547429" y="984506"/>
                </a:cubicBezTo>
                <a:cubicBezTo>
                  <a:pt x="8529238" y="1001725"/>
                  <a:pt x="8505565" y="1015840"/>
                  <a:pt x="8478704" y="1025490"/>
                </a:cubicBezTo>
                <a:cubicBezTo>
                  <a:pt x="8473109" y="1019545"/>
                  <a:pt x="8465819" y="1032194"/>
                  <a:pt x="8461421" y="1035512"/>
                </a:cubicBezTo>
                <a:cubicBezTo>
                  <a:pt x="8459739" y="1031087"/>
                  <a:pt x="8447663" y="1032074"/>
                  <a:pt x="8445003" y="1036851"/>
                </a:cubicBezTo>
                <a:cubicBezTo>
                  <a:pt x="8366593" y="1075951"/>
                  <a:pt x="8398773" y="1021402"/>
                  <a:pt x="8357350" y="1060213"/>
                </a:cubicBezTo>
                <a:cubicBezTo>
                  <a:pt x="8349366" y="1063843"/>
                  <a:pt x="8342208" y="1063367"/>
                  <a:pt x="8335565" y="1061151"/>
                </a:cubicBezTo>
                <a:lnTo>
                  <a:pt x="8325267" y="1055919"/>
                </a:lnTo>
                <a:lnTo>
                  <a:pt x="8293586" y="1076144"/>
                </a:lnTo>
                <a:cubicBezTo>
                  <a:pt x="8277595" y="1084193"/>
                  <a:pt x="8260401" y="1090863"/>
                  <a:pt x="8242405" y="1095960"/>
                </a:cubicBezTo>
                <a:cubicBezTo>
                  <a:pt x="8226373" y="1101227"/>
                  <a:pt x="8224213" y="1102052"/>
                  <a:pt x="8197391" y="1107746"/>
                </a:cubicBezTo>
                <a:cubicBezTo>
                  <a:pt x="8090266" y="1152133"/>
                  <a:pt x="8141491" y="1082372"/>
                  <a:pt x="8081474" y="1130125"/>
                </a:cubicBezTo>
                <a:cubicBezTo>
                  <a:pt x="8070634" y="1134173"/>
                  <a:pt x="8061619" y="1132810"/>
                  <a:pt x="8053585" y="1129169"/>
                </a:cubicBezTo>
                <a:lnTo>
                  <a:pt x="8038422" y="1119092"/>
                </a:lnTo>
                <a:lnTo>
                  <a:pt x="8029450" y="1125592"/>
                </a:lnTo>
                <a:cubicBezTo>
                  <a:pt x="7992226" y="1133484"/>
                  <a:pt x="7978616" y="1122765"/>
                  <a:pt x="7959552" y="1140188"/>
                </a:cubicBezTo>
                <a:cubicBezTo>
                  <a:pt x="7922008" y="1119572"/>
                  <a:pt x="7937737" y="1141786"/>
                  <a:pt x="7914188" y="1150862"/>
                </a:cubicBezTo>
                <a:cubicBezTo>
                  <a:pt x="7896037" y="1160155"/>
                  <a:pt x="7933463" y="1163411"/>
                  <a:pt x="7914918" y="1168758"/>
                </a:cubicBezTo>
                <a:cubicBezTo>
                  <a:pt x="7893102" y="1165887"/>
                  <a:pt x="7898453" y="1187420"/>
                  <a:pt x="7875510" y="1183153"/>
                </a:cubicBezTo>
                <a:cubicBezTo>
                  <a:pt x="7877354" y="1165743"/>
                  <a:pt x="7834286" y="1194789"/>
                  <a:pt x="7829932" y="1180782"/>
                </a:cubicBezTo>
                <a:cubicBezTo>
                  <a:pt x="7816047" y="1204874"/>
                  <a:pt x="7801901" y="1181513"/>
                  <a:pt x="7779182" y="1192665"/>
                </a:cubicBezTo>
                <a:cubicBezTo>
                  <a:pt x="7769446" y="1202686"/>
                  <a:pt x="7761564" y="1205661"/>
                  <a:pt x="7748774" y="1199586"/>
                </a:cubicBezTo>
                <a:cubicBezTo>
                  <a:pt x="7704339" y="1247771"/>
                  <a:pt x="7717626" y="1207638"/>
                  <a:pt x="7671846" y="1231966"/>
                </a:cubicBezTo>
                <a:cubicBezTo>
                  <a:pt x="7632956" y="1255682"/>
                  <a:pt x="7587383" y="1275180"/>
                  <a:pt x="7554146" y="1319748"/>
                </a:cubicBezTo>
                <a:cubicBezTo>
                  <a:pt x="7548775" y="1331557"/>
                  <a:pt x="7531272" y="1339155"/>
                  <a:pt x="7515052" y="1336718"/>
                </a:cubicBezTo>
                <a:cubicBezTo>
                  <a:pt x="7512260" y="1336298"/>
                  <a:pt x="7509613" y="1335590"/>
                  <a:pt x="7507193" y="1334617"/>
                </a:cubicBezTo>
                <a:cubicBezTo>
                  <a:pt x="7488273" y="1365207"/>
                  <a:pt x="7468925" y="1356298"/>
                  <a:pt x="7461694" y="1375866"/>
                </a:cubicBezTo>
                <a:cubicBezTo>
                  <a:pt x="7422434" y="1391917"/>
                  <a:pt x="7384603" y="1382819"/>
                  <a:pt x="7377571" y="1400128"/>
                </a:cubicBezTo>
                <a:cubicBezTo>
                  <a:pt x="7356236" y="1403926"/>
                  <a:pt x="7322509" y="1393138"/>
                  <a:pt x="7311261" y="1412652"/>
                </a:cubicBezTo>
                <a:cubicBezTo>
                  <a:pt x="7305349" y="1400071"/>
                  <a:pt x="7289966" y="1428039"/>
                  <a:pt x="7275307" y="1422171"/>
                </a:cubicBezTo>
                <a:cubicBezTo>
                  <a:pt x="7264529" y="1416601"/>
                  <a:pt x="7257348" y="1423786"/>
                  <a:pt x="7247783" y="1426330"/>
                </a:cubicBezTo>
                <a:cubicBezTo>
                  <a:pt x="7233839" y="1423056"/>
                  <a:pt x="7194363" y="1442037"/>
                  <a:pt x="7185047" y="1451812"/>
                </a:cubicBezTo>
                <a:cubicBezTo>
                  <a:pt x="7164447" y="1483396"/>
                  <a:pt x="7101577" y="1475742"/>
                  <a:pt x="7084117" y="1500281"/>
                </a:cubicBezTo>
                <a:cubicBezTo>
                  <a:pt x="7076899" y="1504821"/>
                  <a:pt x="7069494" y="1507565"/>
                  <a:pt x="7062011" y="1509183"/>
                </a:cubicBezTo>
                <a:lnTo>
                  <a:pt x="7040555" y="1511207"/>
                </a:lnTo>
                <a:lnTo>
                  <a:pt x="7033438" y="1506772"/>
                </a:lnTo>
                <a:lnTo>
                  <a:pt x="7020886" y="1510764"/>
                </a:lnTo>
                <a:lnTo>
                  <a:pt x="7017033" y="1510650"/>
                </a:lnTo>
                <a:lnTo>
                  <a:pt x="6995460" y="1511173"/>
                </a:lnTo>
                <a:cubicBezTo>
                  <a:pt x="7010208" y="1537643"/>
                  <a:pt x="6938512" y="1522467"/>
                  <a:pt x="6962144" y="1541508"/>
                </a:cubicBezTo>
                <a:cubicBezTo>
                  <a:pt x="6926351" y="1550586"/>
                  <a:pt x="6958236" y="1566326"/>
                  <a:pt x="6910674" y="1554793"/>
                </a:cubicBezTo>
                <a:cubicBezTo>
                  <a:pt x="6859225" y="1589274"/>
                  <a:pt x="6769015" y="1598548"/>
                  <a:pt x="6732152" y="1642538"/>
                </a:cubicBezTo>
                <a:cubicBezTo>
                  <a:pt x="6734901" y="1628031"/>
                  <a:pt x="6709146" y="1622413"/>
                  <a:pt x="6694106" y="1632377"/>
                </a:cubicBezTo>
                <a:cubicBezTo>
                  <a:pt x="6702628" y="1575914"/>
                  <a:pt x="6638899" y="1692862"/>
                  <a:pt x="6617223" y="1659889"/>
                </a:cubicBezTo>
                <a:cubicBezTo>
                  <a:pt x="6623246" y="1693349"/>
                  <a:pt x="6561228" y="1764690"/>
                  <a:pt x="6521138" y="1744340"/>
                </a:cubicBezTo>
                <a:cubicBezTo>
                  <a:pt x="6469831" y="1761656"/>
                  <a:pt x="6438109" y="1796731"/>
                  <a:pt x="6380677" y="1796883"/>
                </a:cubicBezTo>
                <a:cubicBezTo>
                  <a:pt x="6379865" y="1801686"/>
                  <a:pt x="6377810" y="1805986"/>
                  <a:pt x="6374897" y="1809910"/>
                </a:cubicBezTo>
                <a:lnTo>
                  <a:pt x="6364545" y="1820090"/>
                </a:lnTo>
                <a:lnTo>
                  <a:pt x="6362126" y="1819991"/>
                </a:lnTo>
                <a:cubicBezTo>
                  <a:pt x="6353055" y="1821720"/>
                  <a:pt x="6348796" y="1824537"/>
                  <a:pt x="6346673" y="1827824"/>
                </a:cubicBezTo>
                <a:lnTo>
                  <a:pt x="6345588" y="1832232"/>
                </a:lnTo>
                <a:lnTo>
                  <a:pt x="6335708" y="1838451"/>
                </a:lnTo>
                <a:lnTo>
                  <a:pt x="6318182" y="1852975"/>
                </a:lnTo>
                <a:lnTo>
                  <a:pt x="6313084" y="1853561"/>
                </a:lnTo>
                <a:lnTo>
                  <a:pt x="6283816" y="1872148"/>
                </a:lnTo>
                <a:lnTo>
                  <a:pt x="6282550" y="1871392"/>
                </a:lnTo>
                <a:cubicBezTo>
                  <a:pt x="6279041" y="1870121"/>
                  <a:pt x="6275192" y="1869982"/>
                  <a:pt x="6270527" y="1872208"/>
                </a:cubicBezTo>
                <a:cubicBezTo>
                  <a:pt x="6265029" y="1853962"/>
                  <a:pt x="6262790" y="1867903"/>
                  <a:pt x="6249518" y="1876079"/>
                </a:cubicBezTo>
                <a:cubicBezTo>
                  <a:pt x="6238019" y="1849564"/>
                  <a:pt x="6207959" y="1881750"/>
                  <a:pt x="6190386" y="1872478"/>
                </a:cubicBezTo>
                <a:cubicBezTo>
                  <a:pt x="6180893" y="1879083"/>
                  <a:pt x="6170646" y="1885584"/>
                  <a:pt x="6159777" y="1891745"/>
                </a:cubicBezTo>
                <a:lnTo>
                  <a:pt x="6153131" y="1895079"/>
                </a:lnTo>
                <a:lnTo>
                  <a:pt x="6152798" y="1894920"/>
                </a:lnTo>
                <a:cubicBezTo>
                  <a:pt x="6150925" y="1895166"/>
                  <a:pt x="6148578" y="1896082"/>
                  <a:pt x="6145388" y="1897990"/>
                </a:cubicBezTo>
                <a:lnTo>
                  <a:pt x="6141014" y="1901155"/>
                </a:lnTo>
                <a:lnTo>
                  <a:pt x="6128122" y="1907623"/>
                </a:lnTo>
                <a:lnTo>
                  <a:pt x="6122351" y="1908359"/>
                </a:lnTo>
                <a:cubicBezTo>
                  <a:pt x="6099508" y="1905910"/>
                  <a:pt x="6088334" y="1869006"/>
                  <a:pt x="6064750" y="1896394"/>
                </a:cubicBezTo>
                <a:cubicBezTo>
                  <a:pt x="6025977" y="1903785"/>
                  <a:pt x="5997095" y="1889190"/>
                  <a:pt x="5964230" y="1910038"/>
                </a:cubicBezTo>
                <a:cubicBezTo>
                  <a:pt x="5927910" y="1916874"/>
                  <a:pt x="5894873" y="1914928"/>
                  <a:pt x="5865399" y="1926966"/>
                </a:cubicBezTo>
                <a:cubicBezTo>
                  <a:pt x="5851644" y="1923038"/>
                  <a:pt x="5839380" y="1922808"/>
                  <a:pt x="5829951" y="1934755"/>
                </a:cubicBezTo>
                <a:cubicBezTo>
                  <a:pt x="5795498" y="1938369"/>
                  <a:pt x="5784532" y="1926246"/>
                  <a:pt x="5765285" y="1941322"/>
                </a:cubicBezTo>
                <a:cubicBezTo>
                  <a:pt x="5741789" y="1922874"/>
                  <a:pt x="5742385" y="1931607"/>
                  <a:pt x="5734750" y="1939793"/>
                </a:cubicBezTo>
                <a:lnTo>
                  <a:pt x="5733569" y="1940505"/>
                </a:lnTo>
                <a:lnTo>
                  <a:pt x="5730329" y="1937845"/>
                </a:lnTo>
                <a:lnTo>
                  <a:pt x="5724661" y="1937455"/>
                </a:lnTo>
                <a:lnTo>
                  <a:pt x="5710186" y="1941370"/>
                </a:lnTo>
                <a:lnTo>
                  <a:pt x="5704910" y="1943663"/>
                </a:lnTo>
                <a:cubicBezTo>
                  <a:pt x="5701213" y="1944937"/>
                  <a:pt x="5698678" y="1945391"/>
                  <a:pt x="5696836" y="1945271"/>
                </a:cubicBezTo>
                <a:lnTo>
                  <a:pt x="5696583" y="1945050"/>
                </a:lnTo>
                <a:lnTo>
                  <a:pt x="5689123" y="1947067"/>
                </a:lnTo>
                <a:cubicBezTo>
                  <a:pt x="5676655" y="1951072"/>
                  <a:pt x="5664639" y="1955533"/>
                  <a:pt x="5653291" y="1960245"/>
                </a:cubicBezTo>
                <a:cubicBezTo>
                  <a:pt x="5640346" y="1947636"/>
                  <a:pt x="5600180" y="1973739"/>
                  <a:pt x="5599385" y="1945198"/>
                </a:cubicBezTo>
                <a:cubicBezTo>
                  <a:pt x="5583913" y="1950736"/>
                  <a:pt x="5576590" y="1964134"/>
                  <a:pt x="5578300" y="1944963"/>
                </a:cubicBezTo>
                <a:cubicBezTo>
                  <a:pt x="5573104" y="1946266"/>
                  <a:pt x="5569560" y="1945382"/>
                  <a:pt x="5566758" y="1943441"/>
                </a:cubicBezTo>
                <a:lnTo>
                  <a:pt x="5565857" y="1942445"/>
                </a:lnTo>
                <a:lnTo>
                  <a:pt x="5531534" y="1955208"/>
                </a:lnTo>
                <a:lnTo>
                  <a:pt x="5526552" y="1954799"/>
                </a:lnTo>
                <a:lnTo>
                  <a:pt x="5504723" y="1965811"/>
                </a:lnTo>
                <a:lnTo>
                  <a:pt x="5493156" y="1970063"/>
                </a:lnTo>
                <a:lnTo>
                  <a:pt x="5490486" y="1974227"/>
                </a:lnTo>
                <a:cubicBezTo>
                  <a:pt x="5487271" y="1977077"/>
                  <a:pt x="5482233" y="1979045"/>
                  <a:pt x="5473107" y="1979001"/>
                </a:cubicBezTo>
                <a:lnTo>
                  <a:pt x="5470885" y="1978432"/>
                </a:lnTo>
                <a:lnTo>
                  <a:pt x="5457393" y="1986525"/>
                </a:lnTo>
                <a:cubicBezTo>
                  <a:pt x="5453194" y="1989853"/>
                  <a:pt x="5449663" y="1993721"/>
                  <a:pt x="5447102" y="1998329"/>
                </a:cubicBezTo>
                <a:cubicBezTo>
                  <a:pt x="5386283" y="2017364"/>
                  <a:pt x="5223545" y="2015483"/>
                  <a:pt x="5159151" y="2029640"/>
                </a:cubicBezTo>
                <a:cubicBezTo>
                  <a:pt x="5141359" y="2036610"/>
                  <a:pt x="5090827" y="2076822"/>
                  <a:pt x="5098838" y="2062961"/>
                </a:cubicBezTo>
                <a:cubicBezTo>
                  <a:pt x="5047883" y="2099457"/>
                  <a:pt x="4922007" y="2111466"/>
                  <a:pt x="4860988" y="2135698"/>
                </a:cubicBezTo>
                <a:cubicBezTo>
                  <a:pt x="4805413" y="2152292"/>
                  <a:pt x="4784714" y="2158665"/>
                  <a:pt x="4765388" y="2162525"/>
                </a:cubicBezTo>
                <a:cubicBezTo>
                  <a:pt x="4758560" y="2161978"/>
                  <a:pt x="4751823" y="2160531"/>
                  <a:pt x="4745033" y="2158859"/>
                </a:cubicBezTo>
                <a:lnTo>
                  <a:pt x="4741475" y="2157998"/>
                </a:lnTo>
                <a:lnTo>
                  <a:pt x="4728247" y="2159526"/>
                </a:lnTo>
                <a:lnTo>
                  <a:pt x="4723263" y="2153742"/>
                </a:lnTo>
                <a:lnTo>
                  <a:pt x="4593061" y="2171597"/>
                </a:lnTo>
                <a:lnTo>
                  <a:pt x="4405765" y="2199902"/>
                </a:lnTo>
                <a:cubicBezTo>
                  <a:pt x="4403942" y="2198353"/>
                  <a:pt x="4402457" y="2196614"/>
                  <a:pt x="4401354" y="2194745"/>
                </a:cubicBezTo>
                <a:lnTo>
                  <a:pt x="4366646" y="2198564"/>
                </a:lnTo>
                <a:lnTo>
                  <a:pt x="4354009" y="2204984"/>
                </a:lnTo>
                <a:lnTo>
                  <a:pt x="4348284" y="2205270"/>
                </a:lnTo>
                <a:lnTo>
                  <a:pt x="4333906" y="2205251"/>
                </a:lnTo>
                <a:cubicBezTo>
                  <a:pt x="4326429" y="2204713"/>
                  <a:pt x="4318024" y="2203940"/>
                  <a:pt x="4308819" y="2203822"/>
                </a:cubicBezTo>
                <a:lnTo>
                  <a:pt x="4301210" y="2204456"/>
                </a:lnTo>
                <a:lnTo>
                  <a:pt x="4283095" y="2198177"/>
                </a:lnTo>
                <a:cubicBezTo>
                  <a:pt x="4269863" y="2193337"/>
                  <a:pt x="4259612" y="2190345"/>
                  <a:pt x="4250119" y="2196342"/>
                </a:cubicBezTo>
                <a:cubicBezTo>
                  <a:pt x="4230702" y="2190559"/>
                  <a:pt x="4213171" y="2166890"/>
                  <a:pt x="4189203" y="2178994"/>
                </a:cubicBezTo>
                <a:cubicBezTo>
                  <a:pt x="4194512" y="2165594"/>
                  <a:pt x="4160734" y="2183257"/>
                  <a:pt x="4154035" y="2171950"/>
                </a:cubicBezTo>
                <a:cubicBezTo>
                  <a:pt x="4150098" y="2162547"/>
                  <a:pt x="4138934" y="2165714"/>
                  <a:pt x="4129569" y="2163850"/>
                </a:cubicBezTo>
                <a:cubicBezTo>
                  <a:pt x="4121391" y="2155090"/>
                  <a:pt x="4076089" y="2154737"/>
                  <a:pt x="4061250" y="2159236"/>
                </a:cubicBezTo>
                <a:cubicBezTo>
                  <a:pt x="4020618" y="2177811"/>
                  <a:pt x="3978175" y="2144465"/>
                  <a:pt x="3945480" y="2158279"/>
                </a:cubicBezTo>
                <a:cubicBezTo>
                  <a:pt x="3936362" y="2159139"/>
                  <a:pt x="3928502" y="2158369"/>
                  <a:pt x="3921468" y="2156588"/>
                </a:cubicBezTo>
                <a:lnTo>
                  <a:pt x="3903348" y="2149220"/>
                </a:lnTo>
                <a:lnTo>
                  <a:pt x="3901342" y="2142355"/>
                </a:lnTo>
                <a:lnTo>
                  <a:pt x="3888539" y="2140476"/>
                </a:lnTo>
                <a:lnTo>
                  <a:pt x="3885662" y="2138740"/>
                </a:lnTo>
                <a:cubicBezTo>
                  <a:pt x="3880178" y="2135398"/>
                  <a:pt x="3874645" y="2132286"/>
                  <a:pt x="3868627" y="2130023"/>
                </a:cubicBezTo>
                <a:cubicBezTo>
                  <a:pt x="3859240" y="2159198"/>
                  <a:pt x="3815892" y="2115590"/>
                  <a:pt x="3819177" y="2142111"/>
                </a:cubicBezTo>
                <a:cubicBezTo>
                  <a:pt x="3784478" y="2134756"/>
                  <a:pt x="3796708" y="2161930"/>
                  <a:pt x="3769100" y="2131731"/>
                </a:cubicBezTo>
                <a:cubicBezTo>
                  <a:pt x="3702423" y="2139704"/>
                  <a:pt x="3625642" y="2109386"/>
                  <a:pt x="3562752" y="2131785"/>
                </a:cubicBezTo>
                <a:cubicBezTo>
                  <a:pt x="3576244" y="2120400"/>
                  <a:pt x="3560801" y="2104591"/>
                  <a:pt x="3541402" y="2106821"/>
                </a:cubicBezTo>
                <a:cubicBezTo>
                  <a:pt x="3592232" y="2061584"/>
                  <a:pt x="3356194" y="2115384"/>
                  <a:pt x="3365341" y="2077638"/>
                </a:cubicBezTo>
                <a:cubicBezTo>
                  <a:pt x="3303594" y="2079161"/>
                  <a:pt x="3221644" y="2111487"/>
                  <a:pt x="3170922" y="2115957"/>
                </a:cubicBezTo>
                <a:cubicBezTo>
                  <a:pt x="3166532" y="2119769"/>
                  <a:pt x="3161579" y="2122617"/>
                  <a:pt x="3156256" y="2124773"/>
                </a:cubicBezTo>
                <a:lnTo>
                  <a:pt x="3140298" y="2129182"/>
                </a:lnTo>
                <a:lnTo>
                  <a:pt x="3138514" y="2128069"/>
                </a:lnTo>
                <a:cubicBezTo>
                  <a:pt x="3130169" y="2125710"/>
                  <a:pt x="3124679" y="2126336"/>
                  <a:pt x="3120467" y="2128281"/>
                </a:cubicBezTo>
                <a:lnTo>
                  <a:pt x="3116175" y="2131633"/>
                </a:lnTo>
                <a:lnTo>
                  <a:pt x="3103685" y="2132814"/>
                </a:lnTo>
                <a:lnTo>
                  <a:pt x="3078794" y="2137935"/>
                </a:lnTo>
                <a:lnTo>
                  <a:pt x="3074407" y="2136274"/>
                </a:lnTo>
                <a:lnTo>
                  <a:pt x="3037285" y="2139919"/>
                </a:lnTo>
                <a:lnTo>
                  <a:pt x="3036901" y="2138726"/>
                </a:lnTo>
                <a:cubicBezTo>
                  <a:pt x="3035193" y="2136135"/>
                  <a:pt x="3032337" y="2134379"/>
                  <a:pt x="3026996" y="2134322"/>
                </a:cubicBezTo>
                <a:cubicBezTo>
                  <a:pt x="3037063" y="2116196"/>
                  <a:pt x="3024412" y="2127308"/>
                  <a:pt x="3007772" y="2128742"/>
                </a:cubicBezTo>
                <a:cubicBezTo>
                  <a:pt x="3019697" y="2100910"/>
                  <a:pt x="2971305" y="2115987"/>
                  <a:pt x="2965030" y="2100494"/>
                </a:cubicBezTo>
                <a:cubicBezTo>
                  <a:pt x="2952539" y="2102174"/>
                  <a:pt x="2939545" y="2103445"/>
                  <a:pt x="2926342" y="2104155"/>
                </a:cubicBezTo>
                <a:lnTo>
                  <a:pt x="2918608" y="2104215"/>
                </a:lnTo>
                <a:cubicBezTo>
                  <a:pt x="2918564" y="2104122"/>
                  <a:pt x="2918519" y="2104030"/>
                  <a:pt x="2918475" y="2103937"/>
                </a:cubicBezTo>
                <a:cubicBezTo>
                  <a:pt x="2916840" y="2103354"/>
                  <a:pt x="2914314" y="2103149"/>
                  <a:pt x="2910360" y="2103444"/>
                </a:cubicBezTo>
                <a:lnTo>
                  <a:pt x="2904507" y="2104326"/>
                </a:lnTo>
                <a:lnTo>
                  <a:pt x="2889503" y="2104443"/>
                </a:lnTo>
                <a:lnTo>
                  <a:pt x="2884480" y="2102626"/>
                </a:lnTo>
                <a:lnTo>
                  <a:pt x="2882689" y="2099228"/>
                </a:lnTo>
                <a:lnTo>
                  <a:pt x="2881291" y="2099618"/>
                </a:lnTo>
                <a:cubicBezTo>
                  <a:pt x="2870663" y="2105606"/>
                  <a:pt x="2867338" y="2114210"/>
                  <a:pt x="2853979" y="2090388"/>
                </a:cubicBezTo>
                <a:cubicBezTo>
                  <a:pt x="2829652" y="2100099"/>
                  <a:pt x="2824975" y="2085577"/>
                  <a:pt x="2791790" y="2080332"/>
                </a:cubicBezTo>
                <a:cubicBezTo>
                  <a:pt x="2777850" y="2089504"/>
                  <a:pt x="2766709" y="2086170"/>
                  <a:pt x="2755844" y="2078874"/>
                </a:cubicBezTo>
                <a:cubicBezTo>
                  <a:pt x="2723488" y="2083049"/>
                  <a:pt x="2694065" y="2072780"/>
                  <a:pt x="2657742" y="2070179"/>
                </a:cubicBezTo>
                <a:cubicBezTo>
                  <a:pt x="2618372" y="2082020"/>
                  <a:pt x="2598368" y="2060559"/>
                  <a:pt x="2559549" y="2057873"/>
                </a:cubicBezTo>
                <a:cubicBezTo>
                  <a:pt x="2525789" y="2078403"/>
                  <a:pt x="2531908" y="2039838"/>
                  <a:pt x="2512054" y="2031671"/>
                </a:cubicBezTo>
                <a:lnTo>
                  <a:pt x="2506437" y="2030918"/>
                </a:lnTo>
                <a:lnTo>
                  <a:pt x="2491752" y="2033906"/>
                </a:lnTo>
                <a:lnTo>
                  <a:pt x="2486338" y="2035862"/>
                </a:lnTo>
                <a:cubicBezTo>
                  <a:pt x="2482568" y="2036899"/>
                  <a:pt x="2480011" y="2037191"/>
                  <a:pt x="2478186" y="2036953"/>
                </a:cubicBezTo>
                <a:lnTo>
                  <a:pt x="2477950" y="2036715"/>
                </a:lnTo>
                <a:lnTo>
                  <a:pt x="2470381" y="2038256"/>
                </a:lnTo>
                <a:cubicBezTo>
                  <a:pt x="2457686" y="2041461"/>
                  <a:pt x="2445410" y="2045155"/>
                  <a:pt x="2433781" y="2049140"/>
                </a:cubicBezTo>
                <a:cubicBezTo>
                  <a:pt x="2421781" y="2035703"/>
                  <a:pt x="2379959" y="2059234"/>
                  <a:pt x="2381172" y="2030645"/>
                </a:cubicBezTo>
                <a:cubicBezTo>
                  <a:pt x="2365380" y="2035192"/>
                  <a:pt x="2357148" y="2048120"/>
                  <a:pt x="2360198" y="2029059"/>
                </a:cubicBezTo>
                <a:cubicBezTo>
                  <a:pt x="2354933" y="2030031"/>
                  <a:pt x="2351467" y="2028919"/>
                  <a:pt x="2348815" y="2026798"/>
                </a:cubicBezTo>
                <a:lnTo>
                  <a:pt x="2347988" y="2025745"/>
                </a:lnTo>
                <a:lnTo>
                  <a:pt x="2312920" y="2036311"/>
                </a:lnTo>
                <a:lnTo>
                  <a:pt x="2307986" y="2035583"/>
                </a:lnTo>
                <a:lnTo>
                  <a:pt x="2285481" y="2045197"/>
                </a:lnTo>
                <a:lnTo>
                  <a:pt x="2273666" y="2048710"/>
                </a:lnTo>
                <a:lnTo>
                  <a:pt x="2270719" y="2052702"/>
                </a:lnTo>
                <a:cubicBezTo>
                  <a:pt x="2267315" y="2055347"/>
                  <a:pt x="2262161" y="2056992"/>
                  <a:pt x="2253080" y="2056363"/>
                </a:cubicBezTo>
                <a:lnTo>
                  <a:pt x="2250906" y="2055654"/>
                </a:lnTo>
                <a:lnTo>
                  <a:pt x="2236905" y="2062882"/>
                </a:lnTo>
                <a:cubicBezTo>
                  <a:pt x="2232493" y="2065942"/>
                  <a:pt x="2228705" y="2069583"/>
                  <a:pt x="2225830" y="2074027"/>
                </a:cubicBezTo>
                <a:cubicBezTo>
                  <a:pt x="2173117" y="2059597"/>
                  <a:pt x="2128486" y="2085502"/>
                  <a:pt x="2073776" y="2089244"/>
                </a:cubicBezTo>
                <a:cubicBezTo>
                  <a:pt x="2046050" y="2059365"/>
                  <a:pt x="1957570" y="2112693"/>
                  <a:pt x="1948256" y="2146616"/>
                </a:cubicBezTo>
                <a:cubicBezTo>
                  <a:pt x="1943005" y="2109192"/>
                  <a:pt x="1832736" y="2206239"/>
                  <a:pt x="1865582" y="2153738"/>
                </a:cubicBezTo>
                <a:cubicBezTo>
                  <a:pt x="1847376" y="2159567"/>
                  <a:pt x="1826258" y="2147592"/>
                  <a:pt x="1835210" y="2134244"/>
                </a:cubicBezTo>
                <a:cubicBezTo>
                  <a:pt x="1781916" y="2167476"/>
                  <a:pt x="1695112" y="2153556"/>
                  <a:pt x="1632661" y="2173882"/>
                </a:cubicBezTo>
                <a:cubicBezTo>
                  <a:pt x="1594177" y="2150642"/>
                  <a:pt x="1616426" y="2173975"/>
                  <a:pt x="1579590" y="2173680"/>
                </a:cubicBezTo>
                <a:cubicBezTo>
                  <a:pt x="1592812" y="2198112"/>
                  <a:pt x="1533818" y="2165220"/>
                  <a:pt x="1535601" y="2194590"/>
                </a:cubicBezTo>
                <a:cubicBezTo>
                  <a:pt x="1528840" y="2193608"/>
                  <a:pt x="1522236" y="2191728"/>
                  <a:pt x="1515594" y="2189622"/>
                </a:cubicBezTo>
                <a:lnTo>
                  <a:pt x="1512113" y="2188534"/>
                </a:lnTo>
                <a:lnTo>
                  <a:pt x="1498838" y="2189213"/>
                </a:lnTo>
                <a:lnTo>
                  <a:pt x="1494279" y="2183112"/>
                </a:lnTo>
                <a:lnTo>
                  <a:pt x="1473714" y="2179625"/>
                </a:lnTo>
                <a:cubicBezTo>
                  <a:pt x="1466138" y="2179292"/>
                  <a:pt x="1458132" y="2180071"/>
                  <a:pt x="1449503" y="2182633"/>
                </a:cubicBezTo>
                <a:lnTo>
                  <a:pt x="1266687" y="2212688"/>
                </a:lnTo>
                <a:cubicBezTo>
                  <a:pt x="1256792" y="2212722"/>
                  <a:pt x="1247024" y="2217857"/>
                  <a:pt x="1239614" y="2209727"/>
                </a:cubicBezTo>
                <a:cubicBezTo>
                  <a:pt x="1228778" y="2200326"/>
                  <a:pt x="1202276" y="2223497"/>
                  <a:pt x="1202436" y="2209817"/>
                </a:cubicBezTo>
                <a:cubicBezTo>
                  <a:pt x="1183471" y="2225854"/>
                  <a:pt x="1157340" y="2206849"/>
                  <a:pt x="1136097" y="2205112"/>
                </a:cubicBezTo>
                <a:cubicBezTo>
                  <a:pt x="1100396" y="2209415"/>
                  <a:pt x="1013922" y="2231219"/>
                  <a:pt x="988232" y="2235635"/>
                </a:cubicBezTo>
                <a:cubicBezTo>
                  <a:pt x="986445" y="2234079"/>
                  <a:pt x="984332" y="2232722"/>
                  <a:pt x="981959" y="2231607"/>
                </a:cubicBezTo>
                <a:cubicBezTo>
                  <a:pt x="968170" y="2225130"/>
                  <a:pt x="948759" y="2228043"/>
                  <a:pt x="938600" y="2238113"/>
                </a:cubicBezTo>
                <a:cubicBezTo>
                  <a:pt x="888371" y="2272824"/>
                  <a:pt x="837950" y="2280135"/>
                  <a:pt x="791788" y="2293224"/>
                </a:cubicBezTo>
                <a:cubicBezTo>
                  <a:pt x="739035" y="2305159"/>
                  <a:pt x="769009" y="2269676"/>
                  <a:pt x="706914" y="2305046"/>
                </a:cubicBezTo>
                <a:cubicBezTo>
                  <a:pt x="697882" y="2295919"/>
                  <a:pt x="689339" y="2296797"/>
                  <a:pt x="675971" y="2304030"/>
                </a:cubicBezTo>
                <a:cubicBezTo>
                  <a:pt x="650201" y="2309060"/>
                  <a:pt x="647591" y="2282853"/>
                  <a:pt x="624180" y="2302650"/>
                </a:cubicBezTo>
                <a:cubicBezTo>
                  <a:pt x="626400" y="2287987"/>
                  <a:pt x="574045" y="2305175"/>
                  <a:pt x="583453" y="2288788"/>
                </a:cubicBezTo>
                <a:cubicBezTo>
                  <a:pt x="564313" y="2278832"/>
                  <a:pt x="559671" y="2301039"/>
                  <a:pt x="540946" y="2292721"/>
                </a:cubicBezTo>
                <a:cubicBezTo>
                  <a:pt x="521576" y="2293191"/>
                  <a:pt x="554439" y="2305843"/>
                  <a:pt x="533680" y="2310233"/>
                </a:cubicBezTo>
                <a:cubicBezTo>
                  <a:pt x="508069" y="2313043"/>
                  <a:pt x="512638" y="2338541"/>
                  <a:pt x="487366" y="2309053"/>
                </a:cubicBezTo>
                <a:cubicBezTo>
                  <a:pt x="462164" y="2321083"/>
                  <a:pt x="454441" y="2307251"/>
                  <a:pt x="416820" y="2305443"/>
                </a:cubicBezTo>
                <a:cubicBezTo>
                  <a:pt x="403012" y="2315890"/>
                  <a:pt x="390105" y="2313733"/>
                  <a:pt x="376805" y="2307647"/>
                </a:cubicBezTo>
                <a:cubicBezTo>
                  <a:pt x="341751" y="2315035"/>
                  <a:pt x="307408" y="2307897"/>
                  <a:pt x="266777" y="2309012"/>
                </a:cubicBezTo>
                <a:cubicBezTo>
                  <a:pt x="225310" y="2324664"/>
                  <a:pt x="199419" y="2305548"/>
                  <a:pt x="156013" y="2306832"/>
                </a:cubicBezTo>
                <a:cubicBezTo>
                  <a:pt x="117457" y="2333851"/>
                  <a:pt x="122965" y="2279562"/>
                  <a:pt x="87258" y="2285511"/>
                </a:cubicBezTo>
                <a:cubicBezTo>
                  <a:pt x="38977" y="2309189"/>
                  <a:pt x="74043" y="2277969"/>
                  <a:pt x="23798" y="2281822"/>
                </a:cubicBezTo>
                <a:lnTo>
                  <a:pt x="0" y="2285369"/>
                </a:lnTo>
                <a:lnTo>
                  <a:pt x="0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B0613839-1FAB-F15F-A9E9-BFD75ACD26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106" y="463384"/>
            <a:ext cx="7655427" cy="739881"/>
          </a:xfrm>
        </p:spPr>
        <p:txBody>
          <a:bodyPr>
            <a:normAutofit fontScale="90000"/>
          </a:bodyPr>
          <a:lstStyle/>
          <a:p>
            <a:pPr algn="l"/>
            <a:r>
              <a:rPr lang="pl-PL" sz="3600" b="1" dirty="0"/>
              <a:t>Etapy procesu planowania </a:t>
            </a:r>
            <a:br>
              <a:rPr lang="pl-PL" sz="3600" b="1" dirty="0"/>
            </a:br>
            <a:r>
              <a:rPr lang="pl-PL" sz="3600" b="1" dirty="0"/>
              <a:t> strategicznego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DA2C5BEB-78CF-51F1-2D9F-CA8F67CED65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8996" y="1273270"/>
            <a:ext cx="5934979" cy="393377"/>
          </a:xfrm>
        </p:spPr>
        <p:txBody>
          <a:bodyPr>
            <a:normAutofit/>
          </a:bodyPr>
          <a:lstStyle/>
          <a:p>
            <a:pPr algn="l"/>
            <a:r>
              <a:rPr lang="pl-PL" sz="1600" dirty="0"/>
              <a:t>Kodeks dobrego zarządzania dla polskich związków sportowych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198F99D-DE86-BAC5-F9B8-38C36E353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307088" y="6277971"/>
            <a:ext cx="6884912" cy="580030"/>
          </a:xfrm>
          <a:custGeom>
            <a:avLst/>
            <a:gdLst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59043 h 1161397"/>
              <a:gd name="connsiteX5" fmla="*/ 119094 w 6884912"/>
              <a:gd name="connsiteY5" fmla="*/ 1148463 h 1161397"/>
              <a:gd name="connsiteX6" fmla="*/ 171824 w 6884912"/>
              <a:gd name="connsiteY6" fmla="*/ 1133224 h 1161397"/>
              <a:gd name="connsiteX7" fmla="*/ 376455 w 6884912"/>
              <a:gd name="connsiteY7" fmla="*/ 1137381 h 1161397"/>
              <a:gd name="connsiteX8" fmla="*/ 478946 w 6884912"/>
              <a:gd name="connsiteY8" fmla="*/ 1106011 h 1161397"/>
              <a:gd name="connsiteX9" fmla="*/ 512111 w 6884912"/>
              <a:gd name="connsiteY9" fmla="*/ 1085599 h 1161397"/>
              <a:gd name="connsiteX10" fmla="*/ 567875 w 6884912"/>
              <a:gd name="connsiteY10" fmla="*/ 1051976 h 1161397"/>
              <a:gd name="connsiteX11" fmla="*/ 601644 w 6884912"/>
              <a:gd name="connsiteY11" fmla="*/ 1003997 h 1161397"/>
              <a:gd name="connsiteX12" fmla="*/ 651408 w 6884912"/>
              <a:gd name="connsiteY12" fmla="*/ 984938 h 1161397"/>
              <a:gd name="connsiteX13" fmla="*/ 673197 w 6884912"/>
              <a:gd name="connsiteY13" fmla="*/ 1010060 h 1161397"/>
              <a:gd name="connsiteX14" fmla="*/ 723108 w 6884912"/>
              <a:gd name="connsiteY14" fmla="*/ 980081 h 1161397"/>
              <a:gd name="connsiteX15" fmla="*/ 797699 w 6884912"/>
              <a:gd name="connsiteY15" fmla="*/ 931362 h 1161397"/>
              <a:gd name="connsiteX16" fmla="*/ 843359 w 6884912"/>
              <a:gd name="connsiteY16" fmla="*/ 910894 h 1161397"/>
              <a:gd name="connsiteX17" fmla="*/ 965215 w 6884912"/>
              <a:gd name="connsiteY17" fmla="*/ 846701 h 1161397"/>
              <a:gd name="connsiteX18" fmla="*/ 1085080 w 6884912"/>
              <a:gd name="connsiteY18" fmla="*/ 776086 h 1161397"/>
              <a:gd name="connsiteX19" fmla="*/ 1131224 w 6884912"/>
              <a:gd name="connsiteY19" fmla="*/ 706160 h 1161397"/>
              <a:gd name="connsiteX20" fmla="*/ 1138051 w 6884912"/>
              <a:gd name="connsiteY20" fmla="*/ 702034 h 1161397"/>
              <a:gd name="connsiteX21" fmla="*/ 1158800 w 6884912"/>
              <a:gd name="connsiteY21" fmla="*/ 700004 h 1161397"/>
              <a:gd name="connsiteX22" fmla="*/ 1166947 w 6884912"/>
              <a:gd name="connsiteY22" fmla="*/ 700762 h 1161397"/>
              <a:gd name="connsiteX23" fmla="*/ 1178135 w 6884912"/>
              <a:gd name="connsiteY23" fmla="*/ 698631 h 1161397"/>
              <a:gd name="connsiteX24" fmla="*/ 1178301 w 6884912"/>
              <a:gd name="connsiteY24" fmla="*/ 698094 h 1161397"/>
              <a:gd name="connsiteX25" fmla="*/ 1188995 w 6884912"/>
              <a:gd name="connsiteY25" fmla="*/ 697048 h 1161397"/>
              <a:gd name="connsiteX26" fmla="*/ 1242716 w 6884912"/>
              <a:gd name="connsiteY26" fmla="*/ 698052 h 1161397"/>
              <a:gd name="connsiteX27" fmla="*/ 1299977 w 6884912"/>
              <a:gd name="connsiteY27" fmla="*/ 639196 h 1161397"/>
              <a:gd name="connsiteX28" fmla="*/ 1326190 w 6884912"/>
              <a:gd name="connsiteY28" fmla="*/ 625955 h 1161397"/>
              <a:gd name="connsiteX29" fmla="*/ 1339600 w 6884912"/>
              <a:gd name="connsiteY29" fmla="*/ 616295 h 1161397"/>
              <a:gd name="connsiteX30" fmla="*/ 1340054 w 6884912"/>
              <a:gd name="connsiteY30" fmla="*/ 614022 h 1161397"/>
              <a:gd name="connsiteX31" fmla="*/ 1391606 w 6884912"/>
              <a:gd name="connsiteY31" fmla="*/ 615229 h 1161397"/>
              <a:gd name="connsiteX32" fmla="*/ 1397565 w 6884912"/>
              <a:gd name="connsiteY32" fmla="*/ 611490 h 1161397"/>
              <a:gd name="connsiteX33" fmla="*/ 1432302 w 6884912"/>
              <a:gd name="connsiteY33" fmla="*/ 617267 h 1161397"/>
              <a:gd name="connsiteX34" fmla="*/ 1449644 w 6884912"/>
              <a:gd name="connsiteY34" fmla="*/ 617591 h 1161397"/>
              <a:gd name="connsiteX35" fmla="*/ 1455793 w 6884912"/>
              <a:gd name="connsiteY35" fmla="*/ 623174 h 1161397"/>
              <a:gd name="connsiteX36" fmla="*/ 1480758 w 6884912"/>
              <a:gd name="connsiteY36" fmla="*/ 620863 h 1161397"/>
              <a:gd name="connsiteX37" fmla="*/ 1483154 w 6884912"/>
              <a:gd name="connsiteY37" fmla="*/ 618527 h 1161397"/>
              <a:gd name="connsiteX38" fmla="*/ 1505495 w 6884912"/>
              <a:gd name="connsiteY38" fmla="*/ 624325 h 1161397"/>
              <a:gd name="connsiteX39" fmla="*/ 1526340 w 6884912"/>
              <a:gd name="connsiteY39" fmla="*/ 638496 h 1161397"/>
              <a:gd name="connsiteX40" fmla="*/ 1731986 w 6884912"/>
              <a:gd name="connsiteY40" fmla="*/ 589682 h 1161397"/>
              <a:gd name="connsiteX41" fmla="*/ 1927935 w 6884912"/>
              <a:gd name="connsiteY41" fmla="*/ 628540 h 1161397"/>
              <a:gd name="connsiteX42" fmla="*/ 2039075 w 6884912"/>
              <a:gd name="connsiteY42" fmla="*/ 599964 h 1161397"/>
              <a:gd name="connsiteX43" fmla="*/ 2066980 w 6884912"/>
              <a:gd name="connsiteY43" fmla="*/ 550413 h 1161397"/>
              <a:gd name="connsiteX44" fmla="*/ 2352236 w 6884912"/>
              <a:gd name="connsiteY44" fmla="*/ 519602 h 1161397"/>
              <a:gd name="connsiteX45" fmla="*/ 2420791 w 6884912"/>
              <a:gd name="connsiteY45" fmla="*/ 492826 h 1161397"/>
              <a:gd name="connsiteX46" fmla="*/ 2489932 w 6884912"/>
              <a:gd name="connsiteY46" fmla="*/ 507864 h 1161397"/>
              <a:gd name="connsiteX47" fmla="*/ 2512917 w 6884912"/>
              <a:gd name="connsiteY47" fmla="*/ 489127 h 1161397"/>
              <a:gd name="connsiteX48" fmla="*/ 2516783 w 6884912"/>
              <a:gd name="connsiteY48" fmla="*/ 485473 h 1161397"/>
              <a:gd name="connsiteX49" fmla="*/ 2534360 w 6884912"/>
              <a:gd name="connsiteY49" fmla="*/ 480064 h 1161397"/>
              <a:gd name="connsiteX50" fmla="*/ 2536691 w 6884912"/>
              <a:gd name="connsiteY50" fmla="*/ 467018 h 1161397"/>
              <a:gd name="connsiteX51" fmla="*/ 2561265 w 6884912"/>
              <a:gd name="connsiteY51" fmla="*/ 450623 h 1161397"/>
              <a:gd name="connsiteX52" fmla="*/ 2594349 w 6884912"/>
              <a:gd name="connsiteY52" fmla="*/ 443884 h 1161397"/>
              <a:gd name="connsiteX53" fmla="*/ 2754324 w 6884912"/>
              <a:gd name="connsiteY53" fmla="*/ 424766 h 1161397"/>
              <a:gd name="connsiteX54" fmla="*/ 2848470 w 6884912"/>
              <a:gd name="connsiteY54" fmla="*/ 405966 h 1161397"/>
              <a:gd name="connsiteX55" fmla="*/ 2881772 w 6884912"/>
              <a:gd name="connsiteY55" fmla="*/ 387260 h 1161397"/>
              <a:gd name="connsiteX56" fmla="*/ 2929932 w 6884912"/>
              <a:gd name="connsiteY56" fmla="*/ 368912 h 1161397"/>
              <a:gd name="connsiteX57" fmla="*/ 3013020 w 6884912"/>
              <a:gd name="connsiteY57" fmla="*/ 327578 h 1161397"/>
              <a:gd name="connsiteX58" fmla="*/ 3127968 w 6884912"/>
              <a:gd name="connsiteY58" fmla="*/ 287613 h 1161397"/>
              <a:gd name="connsiteX59" fmla="*/ 3222191 w 6884912"/>
              <a:gd name="connsiteY59" fmla="*/ 307887 h 1161397"/>
              <a:gd name="connsiteX60" fmla="*/ 3227953 w 6884912"/>
              <a:gd name="connsiteY60" fmla="*/ 297650 h 1161397"/>
              <a:gd name="connsiteX61" fmla="*/ 3287859 w 6884912"/>
              <a:gd name="connsiteY61" fmla="*/ 287558 h 1161397"/>
              <a:gd name="connsiteX62" fmla="*/ 3510042 w 6884912"/>
              <a:gd name="connsiteY62" fmla="*/ 311820 h 1161397"/>
              <a:gd name="connsiteX63" fmla="*/ 3626773 w 6884912"/>
              <a:gd name="connsiteY63" fmla="*/ 290452 h 1161397"/>
              <a:gd name="connsiteX64" fmla="*/ 3666217 w 6884912"/>
              <a:gd name="connsiteY64" fmla="*/ 273255 h 1161397"/>
              <a:gd name="connsiteX65" fmla="*/ 3732427 w 6884912"/>
              <a:gd name="connsiteY65" fmla="*/ 245039 h 1161397"/>
              <a:gd name="connsiteX66" fmla="*/ 3777022 w 6884912"/>
              <a:gd name="connsiteY66" fmla="*/ 200276 h 1161397"/>
              <a:gd name="connsiteX67" fmla="*/ 3791246 w 6884912"/>
              <a:gd name="connsiteY67" fmla="*/ 189996 h 1161397"/>
              <a:gd name="connsiteX68" fmla="*/ 3819864 w 6884912"/>
              <a:gd name="connsiteY68" fmla="*/ 194605 h 1161397"/>
              <a:gd name="connsiteX69" fmla="*/ 3830398 w 6884912"/>
              <a:gd name="connsiteY69" fmla="*/ 188383 h 1161397"/>
              <a:gd name="connsiteX70" fmla="*/ 3834360 w 6884912"/>
              <a:gd name="connsiteY70" fmla="*/ 188992 h 1161397"/>
              <a:gd name="connsiteX71" fmla="*/ 3843715 w 6884912"/>
              <a:gd name="connsiteY71" fmla="*/ 188752 h 1161397"/>
              <a:gd name="connsiteX72" fmla="*/ 3842609 w 6884912"/>
              <a:gd name="connsiteY72" fmla="*/ 197386 h 1161397"/>
              <a:gd name="connsiteX73" fmla="*/ 3853961 w 6884912"/>
              <a:gd name="connsiteY73" fmla="*/ 213380 h 1161397"/>
              <a:gd name="connsiteX74" fmla="*/ 3907640 w 6884912"/>
              <a:gd name="connsiteY74" fmla="*/ 207568 h 1161397"/>
              <a:gd name="connsiteX75" fmla="*/ 3910449 w 6884912"/>
              <a:gd name="connsiteY75" fmla="*/ 197808 h 1161397"/>
              <a:gd name="connsiteX76" fmla="*/ 3917197 w 6884912"/>
              <a:gd name="connsiteY76" fmla="*/ 196121 h 1161397"/>
              <a:gd name="connsiteX77" fmla="*/ 3922400 w 6884912"/>
              <a:gd name="connsiteY77" fmla="*/ 205056 h 1161397"/>
              <a:gd name="connsiteX78" fmla="*/ 4013061 w 6884912"/>
              <a:gd name="connsiteY78" fmla="*/ 224874 h 1161397"/>
              <a:gd name="connsiteX79" fmla="*/ 4134285 w 6884912"/>
              <a:gd name="connsiteY79" fmla="*/ 235592 h 1161397"/>
              <a:gd name="connsiteX80" fmla="*/ 4220717 w 6884912"/>
              <a:gd name="connsiteY80" fmla="*/ 192946 h 1161397"/>
              <a:gd name="connsiteX81" fmla="*/ 4228802 w 6884912"/>
              <a:gd name="connsiteY81" fmla="*/ 201468 h 1161397"/>
              <a:gd name="connsiteX82" fmla="*/ 4289361 w 6884912"/>
              <a:gd name="connsiteY82" fmla="*/ 196642 h 1161397"/>
              <a:gd name="connsiteX83" fmla="*/ 4498913 w 6884912"/>
              <a:gd name="connsiteY83" fmla="*/ 118915 h 1161397"/>
              <a:gd name="connsiteX84" fmla="*/ 4617330 w 6884912"/>
              <a:gd name="connsiteY84" fmla="*/ 111163 h 1161397"/>
              <a:gd name="connsiteX85" fmla="*/ 4659778 w 6884912"/>
              <a:gd name="connsiteY85" fmla="*/ 118219 h 1161397"/>
              <a:gd name="connsiteX86" fmla="*/ 4730870 w 6884912"/>
              <a:gd name="connsiteY86" fmla="*/ 129432 h 1161397"/>
              <a:gd name="connsiteX87" fmla="*/ 4785037 w 6884912"/>
              <a:gd name="connsiteY87" fmla="*/ 161964 h 1161397"/>
              <a:gd name="connsiteX88" fmla="*/ 4844073 w 6884912"/>
              <a:gd name="connsiteY88" fmla="*/ 161768 h 1161397"/>
              <a:gd name="connsiteX89" fmla="*/ 4856454 w 6884912"/>
              <a:gd name="connsiteY89" fmla="*/ 130488 h 1161397"/>
              <a:gd name="connsiteX90" fmla="*/ 4920038 w 6884912"/>
              <a:gd name="connsiteY90" fmla="*/ 140418 h 1161397"/>
              <a:gd name="connsiteX91" fmla="*/ 5016639 w 6884912"/>
              <a:gd name="connsiteY91" fmla="*/ 158905 h 1161397"/>
              <a:gd name="connsiteX92" fmla="*/ 5072009 w 6884912"/>
              <a:gd name="connsiteY92" fmla="*/ 161502 h 1161397"/>
              <a:gd name="connsiteX93" fmla="*/ 5223626 w 6884912"/>
              <a:gd name="connsiteY93" fmla="*/ 177356 h 1161397"/>
              <a:gd name="connsiteX94" fmla="*/ 5375773 w 6884912"/>
              <a:gd name="connsiteY94" fmla="*/ 199913 h 1161397"/>
              <a:gd name="connsiteX95" fmla="*/ 5467502 w 6884912"/>
              <a:gd name="connsiteY95" fmla="*/ 250963 h 1161397"/>
              <a:gd name="connsiteX96" fmla="*/ 5592395 w 6884912"/>
              <a:gd name="connsiteY96" fmla="*/ 265434 h 1161397"/>
              <a:gd name="connsiteX97" fmla="*/ 5613532 w 6884912"/>
              <a:gd name="connsiteY97" fmla="*/ 273379 h 1161397"/>
              <a:gd name="connsiteX98" fmla="*/ 5642173 w 6884912"/>
              <a:gd name="connsiteY98" fmla="*/ 266904 h 1161397"/>
              <a:gd name="connsiteX99" fmla="*/ 5756910 w 6884912"/>
              <a:gd name="connsiteY99" fmla="*/ 239211 h 1161397"/>
              <a:gd name="connsiteX100" fmla="*/ 5846667 w 6884912"/>
              <a:gd name="connsiteY100" fmla="*/ 201786 h 1161397"/>
              <a:gd name="connsiteX101" fmla="*/ 5960732 w 6884912"/>
              <a:gd name="connsiteY101" fmla="*/ 220708 h 1161397"/>
              <a:gd name="connsiteX102" fmla="*/ 6029542 w 6884912"/>
              <a:gd name="connsiteY102" fmla="*/ 210339 h 1161397"/>
              <a:gd name="connsiteX103" fmla="*/ 6141123 w 6884912"/>
              <a:gd name="connsiteY103" fmla="*/ 159923 h 1161397"/>
              <a:gd name="connsiteX104" fmla="*/ 6290640 w 6884912"/>
              <a:gd name="connsiteY104" fmla="*/ 167441 h 1161397"/>
              <a:gd name="connsiteX105" fmla="*/ 6322806 w 6884912"/>
              <a:gd name="connsiteY105" fmla="*/ 213293 h 1161397"/>
              <a:gd name="connsiteX106" fmla="*/ 6364914 w 6884912"/>
              <a:gd name="connsiteY106" fmla="*/ 240140 h 1161397"/>
              <a:gd name="connsiteX107" fmla="*/ 6380420 w 6884912"/>
              <a:gd name="connsiteY107" fmla="*/ 173195 h 1161397"/>
              <a:gd name="connsiteX108" fmla="*/ 6507891 w 6884912"/>
              <a:gd name="connsiteY108" fmla="*/ 118474 h 1161397"/>
              <a:gd name="connsiteX109" fmla="*/ 6571807 w 6884912"/>
              <a:gd name="connsiteY109" fmla="*/ 98636 h 1161397"/>
              <a:gd name="connsiteX110" fmla="*/ 6671880 w 6884912"/>
              <a:gd name="connsiteY110" fmla="*/ 82931 h 1161397"/>
              <a:gd name="connsiteX111" fmla="*/ 6702266 w 6884912"/>
              <a:gd name="connsiteY111" fmla="*/ 75470 h 1161397"/>
              <a:gd name="connsiteX112" fmla="*/ 6845802 w 6884912"/>
              <a:gd name="connsiteY112" fmla="*/ 24496 h 1161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6884912" h="1161397">
                <a:moveTo>
                  <a:pt x="6884912" y="0"/>
                </a:moveTo>
                <a:lnTo>
                  <a:pt x="6884912" y="1161397"/>
                </a:lnTo>
                <a:lnTo>
                  <a:pt x="0" y="1161397"/>
                </a:lnTo>
                <a:lnTo>
                  <a:pt x="27135" y="1147460"/>
                </a:lnTo>
                <a:cubicBezTo>
                  <a:pt x="57431" y="1167048"/>
                  <a:pt x="61886" y="1135904"/>
                  <a:pt x="115388" y="1159043"/>
                </a:cubicBezTo>
                <a:cubicBezTo>
                  <a:pt x="116121" y="1155340"/>
                  <a:pt x="117370" y="1151777"/>
                  <a:pt x="119094" y="1148463"/>
                </a:cubicBezTo>
                <a:cubicBezTo>
                  <a:pt x="129121" y="1129214"/>
                  <a:pt x="152727" y="1122391"/>
                  <a:pt x="171824" y="1133224"/>
                </a:cubicBezTo>
                <a:cubicBezTo>
                  <a:pt x="254344" y="1161369"/>
                  <a:pt x="315458" y="1143220"/>
                  <a:pt x="376455" y="1137381"/>
                </a:cubicBezTo>
                <a:cubicBezTo>
                  <a:pt x="443775" y="1125614"/>
                  <a:pt x="382885" y="1083927"/>
                  <a:pt x="478946" y="1106011"/>
                </a:cubicBezTo>
                <a:cubicBezTo>
                  <a:pt x="481662" y="1085172"/>
                  <a:pt x="491731" y="1081489"/>
                  <a:pt x="512111" y="1085599"/>
                </a:cubicBezTo>
                <a:cubicBezTo>
                  <a:pt x="544368" y="1078502"/>
                  <a:pt x="526559" y="1032754"/>
                  <a:pt x="567875" y="1051976"/>
                </a:cubicBezTo>
                <a:cubicBezTo>
                  <a:pt x="553871" y="1028602"/>
                  <a:pt x="624901" y="1025930"/>
                  <a:pt x="601644" y="1003997"/>
                </a:cubicBezTo>
                <a:cubicBezTo>
                  <a:pt x="614803" y="975652"/>
                  <a:pt x="637415" y="1010272"/>
                  <a:pt x="651408" y="984938"/>
                </a:cubicBezTo>
                <a:cubicBezTo>
                  <a:pt x="673042" y="974024"/>
                  <a:pt x="646948" y="1015207"/>
                  <a:pt x="673197" y="1010060"/>
                </a:cubicBezTo>
                <a:cubicBezTo>
                  <a:pt x="703527" y="999318"/>
                  <a:pt x="718626" y="1045053"/>
                  <a:pt x="723108" y="980081"/>
                </a:cubicBezTo>
                <a:cubicBezTo>
                  <a:pt x="760262" y="985126"/>
                  <a:pt x="757827" y="957145"/>
                  <a:pt x="797699" y="931362"/>
                </a:cubicBezTo>
                <a:cubicBezTo>
                  <a:pt x="821097" y="940623"/>
                  <a:pt x="833565" y="929189"/>
                  <a:pt x="843359" y="910894"/>
                </a:cubicBezTo>
                <a:cubicBezTo>
                  <a:pt x="887668" y="902160"/>
                  <a:pt x="919738" y="869376"/>
                  <a:pt x="965215" y="846701"/>
                </a:cubicBezTo>
                <a:cubicBezTo>
                  <a:pt x="1023081" y="848019"/>
                  <a:pt x="1036422" y="800154"/>
                  <a:pt x="1085080" y="776086"/>
                </a:cubicBezTo>
                <a:cubicBezTo>
                  <a:pt x="1140763" y="795544"/>
                  <a:pt x="1110309" y="730471"/>
                  <a:pt x="1131224" y="706160"/>
                </a:cubicBezTo>
                <a:lnTo>
                  <a:pt x="1138051" y="702034"/>
                </a:lnTo>
                <a:lnTo>
                  <a:pt x="1158800" y="700004"/>
                </a:lnTo>
                <a:lnTo>
                  <a:pt x="1166947" y="700762"/>
                </a:lnTo>
                <a:cubicBezTo>
                  <a:pt x="1172432" y="700717"/>
                  <a:pt x="1175913" y="699961"/>
                  <a:pt x="1178135" y="698631"/>
                </a:cubicBezTo>
                <a:lnTo>
                  <a:pt x="1178301" y="698094"/>
                </a:lnTo>
                <a:lnTo>
                  <a:pt x="1188995" y="697048"/>
                </a:lnTo>
                <a:cubicBezTo>
                  <a:pt x="1207294" y="696390"/>
                  <a:pt x="1225337" y="696802"/>
                  <a:pt x="1242716" y="698052"/>
                </a:cubicBezTo>
                <a:cubicBezTo>
                  <a:pt x="1250387" y="668345"/>
                  <a:pt x="1318259" y="689091"/>
                  <a:pt x="1299977" y="639196"/>
                </a:cubicBezTo>
                <a:cubicBezTo>
                  <a:pt x="1323072" y="639367"/>
                  <a:pt x="1341279" y="658105"/>
                  <a:pt x="1326190" y="625955"/>
                </a:cubicBezTo>
                <a:cubicBezTo>
                  <a:pt x="1333572" y="625050"/>
                  <a:pt x="1337406" y="621362"/>
                  <a:pt x="1339600" y="616295"/>
                </a:cubicBezTo>
                <a:lnTo>
                  <a:pt x="1340054" y="614022"/>
                </a:lnTo>
                <a:lnTo>
                  <a:pt x="1391606" y="615229"/>
                </a:lnTo>
                <a:lnTo>
                  <a:pt x="1397565" y="611490"/>
                </a:lnTo>
                <a:lnTo>
                  <a:pt x="1432302" y="617267"/>
                </a:lnTo>
                <a:lnTo>
                  <a:pt x="1449644" y="617591"/>
                </a:lnTo>
                <a:lnTo>
                  <a:pt x="1455793" y="623174"/>
                </a:lnTo>
                <a:cubicBezTo>
                  <a:pt x="1461744" y="626151"/>
                  <a:pt x="1469373" y="626493"/>
                  <a:pt x="1480758" y="620863"/>
                </a:cubicBezTo>
                <a:lnTo>
                  <a:pt x="1483154" y="618527"/>
                </a:lnTo>
                <a:lnTo>
                  <a:pt x="1505495" y="624325"/>
                </a:lnTo>
                <a:cubicBezTo>
                  <a:pt x="1512992" y="627532"/>
                  <a:pt x="1520025" y="632078"/>
                  <a:pt x="1526340" y="638496"/>
                </a:cubicBezTo>
                <a:cubicBezTo>
                  <a:pt x="1586113" y="586768"/>
                  <a:pt x="1659006" y="610309"/>
                  <a:pt x="1731986" y="589682"/>
                </a:cubicBezTo>
                <a:cubicBezTo>
                  <a:pt x="1750397" y="523106"/>
                  <a:pt x="1896056" y="573257"/>
                  <a:pt x="1927935" y="628540"/>
                </a:cubicBezTo>
                <a:cubicBezTo>
                  <a:pt x="1912854" y="559823"/>
                  <a:pt x="2112261" y="676347"/>
                  <a:pt x="2039075" y="599964"/>
                </a:cubicBezTo>
                <a:cubicBezTo>
                  <a:pt x="2066036" y="601198"/>
                  <a:pt x="2086366" y="569532"/>
                  <a:pt x="2066980" y="550413"/>
                </a:cubicBezTo>
                <a:cubicBezTo>
                  <a:pt x="2155364" y="582582"/>
                  <a:pt x="2259548" y="514786"/>
                  <a:pt x="2352236" y="519602"/>
                </a:cubicBezTo>
                <a:cubicBezTo>
                  <a:pt x="2388450" y="459394"/>
                  <a:pt x="2373298" y="511682"/>
                  <a:pt x="2420791" y="492826"/>
                </a:cubicBezTo>
                <a:cubicBezTo>
                  <a:pt x="2417962" y="542563"/>
                  <a:pt x="2475071" y="455098"/>
                  <a:pt x="2489932" y="507864"/>
                </a:cubicBezTo>
                <a:cubicBezTo>
                  <a:pt x="2498105" y="502761"/>
                  <a:pt x="2505553" y="496153"/>
                  <a:pt x="2512917" y="489127"/>
                </a:cubicBezTo>
                <a:lnTo>
                  <a:pt x="2516783" y="485473"/>
                </a:lnTo>
                <a:lnTo>
                  <a:pt x="2534360" y="480064"/>
                </a:lnTo>
                <a:lnTo>
                  <a:pt x="2536691" y="467018"/>
                </a:lnTo>
                <a:lnTo>
                  <a:pt x="2561265" y="450623"/>
                </a:lnTo>
                <a:cubicBezTo>
                  <a:pt x="2570872" y="446262"/>
                  <a:pt x="2581686" y="443655"/>
                  <a:pt x="2594349" y="443884"/>
                </a:cubicBezTo>
                <a:cubicBezTo>
                  <a:pt x="2640435" y="464638"/>
                  <a:pt x="2696955" y="396361"/>
                  <a:pt x="2754324" y="424766"/>
                </a:cubicBezTo>
                <a:cubicBezTo>
                  <a:pt x="2775130" y="430896"/>
                  <a:pt x="2837731" y="423458"/>
                  <a:pt x="2848470" y="405966"/>
                </a:cubicBezTo>
                <a:cubicBezTo>
                  <a:pt x="2861295" y="401100"/>
                  <a:pt x="2876936" y="405309"/>
                  <a:pt x="2881772" y="387260"/>
                </a:cubicBezTo>
                <a:cubicBezTo>
                  <a:pt x="2890299" y="365261"/>
                  <a:pt x="2938134" y="392997"/>
                  <a:pt x="2929932" y="368912"/>
                </a:cubicBezTo>
                <a:cubicBezTo>
                  <a:pt x="2963844" y="387799"/>
                  <a:pt x="2986550" y="341223"/>
                  <a:pt x="3013020" y="327578"/>
                </a:cubicBezTo>
                <a:cubicBezTo>
                  <a:pt x="3040041" y="346996"/>
                  <a:pt x="3068934" y="299222"/>
                  <a:pt x="3127968" y="287613"/>
                </a:cubicBezTo>
                <a:cubicBezTo>
                  <a:pt x="3157770" y="310215"/>
                  <a:pt x="3167695" y="279445"/>
                  <a:pt x="3222191" y="307887"/>
                </a:cubicBezTo>
                <a:cubicBezTo>
                  <a:pt x="3223593" y="304249"/>
                  <a:pt x="3225533" y="300801"/>
                  <a:pt x="3227953" y="297650"/>
                </a:cubicBezTo>
                <a:cubicBezTo>
                  <a:pt x="3242008" y="279345"/>
                  <a:pt x="3268831" y="274825"/>
                  <a:pt x="3287859" y="287558"/>
                </a:cubicBezTo>
                <a:cubicBezTo>
                  <a:pt x="3373144" y="323866"/>
                  <a:pt x="3442657" y="311681"/>
                  <a:pt x="3510042" y="311820"/>
                </a:cubicBezTo>
                <a:cubicBezTo>
                  <a:pt x="3585274" y="306641"/>
                  <a:pt x="3525753" y="258887"/>
                  <a:pt x="3626773" y="290452"/>
                </a:cubicBezTo>
                <a:cubicBezTo>
                  <a:pt x="3633124" y="269835"/>
                  <a:pt x="3644693" y="267134"/>
                  <a:pt x="3666217" y="273255"/>
                </a:cubicBezTo>
                <a:cubicBezTo>
                  <a:pt x="3702502" y="269310"/>
                  <a:pt x="3690563" y="221720"/>
                  <a:pt x="3732427" y="245039"/>
                </a:cubicBezTo>
                <a:cubicBezTo>
                  <a:pt x="3720985" y="220241"/>
                  <a:pt x="3798776" y="224539"/>
                  <a:pt x="3777022" y="200276"/>
                </a:cubicBezTo>
                <a:cubicBezTo>
                  <a:pt x="3781759" y="193499"/>
                  <a:pt x="3786499" y="190723"/>
                  <a:pt x="3791246" y="189996"/>
                </a:cubicBezTo>
                <a:cubicBezTo>
                  <a:pt x="3800740" y="188542"/>
                  <a:pt x="3810265" y="195284"/>
                  <a:pt x="3819864" y="194605"/>
                </a:cubicBezTo>
                <a:lnTo>
                  <a:pt x="3830398" y="188383"/>
                </a:lnTo>
                <a:lnTo>
                  <a:pt x="3834360" y="188992"/>
                </a:lnTo>
                <a:lnTo>
                  <a:pt x="3843715" y="188752"/>
                </a:lnTo>
                <a:lnTo>
                  <a:pt x="3842609" y="197386"/>
                </a:lnTo>
                <a:cubicBezTo>
                  <a:pt x="3840673" y="205638"/>
                  <a:pt x="3839248" y="214671"/>
                  <a:pt x="3853961" y="213380"/>
                </a:cubicBezTo>
                <a:cubicBezTo>
                  <a:pt x="3884396" y="206569"/>
                  <a:pt x="3895082" y="241941"/>
                  <a:pt x="3907640" y="207568"/>
                </a:cubicBezTo>
                <a:lnTo>
                  <a:pt x="3910449" y="197808"/>
                </a:lnTo>
                <a:lnTo>
                  <a:pt x="3917197" y="196121"/>
                </a:lnTo>
                <a:cubicBezTo>
                  <a:pt x="3920833" y="196372"/>
                  <a:pt x="3922919" y="198717"/>
                  <a:pt x="3922400" y="205056"/>
                </a:cubicBezTo>
                <a:cubicBezTo>
                  <a:pt x="3950680" y="178467"/>
                  <a:pt x="3984062" y="218098"/>
                  <a:pt x="4013061" y="224874"/>
                </a:cubicBezTo>
                <a:cubicBezTo>
                  <a:pt x="4034530" y="199451"/>
                  <a:pt x="4074202" y="238734"/>
                  <a:pt x="4134285" y="235592"/>
                </a:cubicBezTo>
                <a:cubicBezTo>
                  <a:pt x="4157674" y="206403"/>
                  <a:pt x="4174806" y="233822"/>
                  <a:pt x="4220717" y="192946"/>
                </a:cubicBezTo>
                <a:cubicBezTo>
                  <a:pt x="4222964" y="196132"/>
                  <a:pt x="4225687" y="199002"/>
                  <a:pt x="4228802" y="201468"/>
                </a:cubicBezTo>
                <a:cubicBezTo>
                  <a:pt x="4246898" y="215792"/>
                  <a:pt x="4274013" y="213632"/>
                  <a:pt x="4289361" y="196642"/>
                </a:cubicBezTo>
                <a:cubicBezTo>
                  <a:pt x="4363212" y="140627"/>
                  <a:pt x="4433598" y="135488"/>
                  <a:pt x="4498913" y="118915"/>
                </a:cubicBezTo>
                <a:cubicBezTo>
                  <a:pt x="4573135" y="105586"/>
                  <a:pt x="4527062" y="166416"/>
                  <a:pt x="4617330" y="111163"/>
                </a:cubicBezTo>
                <a:cubicBezTo>
                  <a:pt x="4628518" y="129608"/>
                  <a:pt x="4640397" y="129405"/>
                  <a:pt x="4659778" y="118219"/>
                </a:cubicBezTo>
                <a:cubicBezTo>
                  <a:pt x="4695929" y="113193"/>
                  <a:pt x="4695958" y="162259"/>
                  <a:pt x="4730870" y="129432"/>
                </a:cubicBezTo>
                <a:cubicBezTo>
                  <a:pt x="4725822" y="156271"/>
                  <a:pt x="4800214" y="133127"/>
                  <a:pt x="4785037" y="161964"/>
                </a:cubicBezTo>
                <a:cubicBezTo>
                  <a:pt x="4810025" y="183633"/>
                  <a:pt x="4819434" y="143205"/>
                  <a:pt x="4844073" y="161768"/>
                </a:cubicBezTo>
                <a:cubicBezTo>
                  <a:pt x="4870797" y="164132"/>
                  <a:pt x="4827288" y="135164"/>
                  <a:pt x="4856454" y="130488"/>
                </a:cubicBezTo>
                <a:cubicBezTo>
                  <a:pt x="4892086" y="129553"/>
                  <a:pt x="4889263" y="81477"/>
                  <a:pt x="4920038" y="140418"/>
                </a:cubicBezTo>
                <a:cubicBezTo>
                  <a:pt x="4956358" y="122308"/>
                  <a:pt x="4965108" y="149263"/>
                  <a:pt x="5016639" y="158905"/>
                </a:cubicBezTo>
                <a:cubicBezTo>
                  <a:pt x="5037063" y="141828"/>
                  <a:pt x="5054534" y="147986"/>
                  <a:pt x="5072009" y="161502"/>
                </a:cubicBezTo>
                <a:cubicBezTo>
                  <a:pt x="5121260" y="153653"/>
                  <a:pt x="5167555" y="172635"/>
                  <a:pt x="5223626" y="177356"/>
                </a:cubicBezTo>
                <a:cubicBezTo>
                  <a:pt x="5282824" y="155243"/>
                  <a:pt x="5315859" y="195041"/>
                  <a:pt x="5375773" y="199913"/>
                </a:cubicBezTo>
                <a:cubicBezTo>
                  <a:pt x="5432511" y="156218"/>
                  <a:pt x="5417550" y="256036"/>
                  <a:pt x="5467502" y="250963"/>
                </a:cubicBezTo>
                <a:cubicBezTo>
                  <a:pt x="5547124" y="209975"/>
                  <a:pt x="5467171" y="283839"/>
                  <a:pt x="5592395" y="265434"/>
                </a:cubicBezTo>
                <a:cubicBezTo>
                  <a:pt x="5599201" y="258867"/>
                  <a:pt x="5614752" y="264706"/>
                  <a:pt x="5613532" y="273379"/>
                </a:cubicBezTo>
                <a:cubicBezTo>
                  <a:pt x="5621390" y="270408"/>
                  <a:pt x="5639720" y="253173"/>
                  <a:pt x="5642173" y="266904"/>
                </a:cubicBezTo>
                <a:cubicBezTo>
                  <a:pt x="5682296" y="267049"/>
                  <a:pt x="5721812" y="257513"/>
                  <a:pt x="5756910" y="239211"/>
                </a:cubicBezTo>
                <a:cubicBezTo>
                  <a:pt x="5834998" y="260050"/>
                  <a:pt x="5790596" y="197229"/>
                  <a:pt x="5846667" y="201786"/>
                </a:cubicBezTo>
                <a:cubicBezTo>
                  <a:pt x="5892444" y="227312"/>
                  <a:pt x="5908324" y="204527"/>
                  <a:pt x="5960732" y="220708"/>
                </a:cubicBezTo>
                <a:cubicBezTo>
                  <a:pt x="5977124" y="175349"/>
                  <a:pt x="6009640" y="223654"/>
                  <a:pt x="6029542" y="210339"/>
                </a:cubicBezTo>
                <a:cubicBezTo>
                  <a:pt x="6063108" y="261420"/>
                  <a:pt x="6107411" y="160034"/>
                  <a:pt x="6141123" y="159923"/>
                </a:cubicBezTo>
                <a:cubicBezTo>
                  <a:pt x="6198068" y="167749"/>
                  <a:pt x="6260628" y="219715"/>
                  <a:pt x="6290640" y="167441"/>
                </a:cubicBezTo>
                <a:cubicBezTo>
                  <a:pt x="6295193" y="188689"/>
                  <a:pt x="6290494" y="217816"/>
                  <a:pt x="6322806" y="213293"/>
                </a:cubicBezTo>
                <a:cubicBezTo>
                  <a:pt x="6335911" y="223881"/>
                  <a:pt x="6338726" y="256581"/>
                  <a:pt x="6364914" y="240140"/>
                </a:cubicBezTo>
                <a:cubicBezTo>
                  <a:pt x="6331888" y="211628"/>
                  <a:pt x="6385856" y="207033"/>
                  <a:pt x="6380420" y="173195"/>
                </a:cubicBezTo>
                <a:cubicBezTo>
                  <a:pt x="6420580" y="151473"/>
                  <a:pt x="6513519" y="179296"/>
                  <a:pt x="6507891" y="118474"/>
                </a:cubicBezTo>
                <a:cubicBezTo>
                  <a:pt x="6519398" y="82452"/>
                  <a:pt x="6571830" y="137398"/>
                  <a:pt x="6571807" y="98636"/>
                </a:cubicBezTo>
                <a:cubicBezTo>
                  <a:pt x="6594702" y="123421"/>
                  <a:pt x="6634676" y="82071"/>
                  <a:pt x="6671880" y="82931"/>
                </a:cubicBezTo>
                <a:cubicBezTo>
                  <a:pt x="6678855" y="65407"/>
                  <a:pt x="6687415" y="66196"/>
                  <a:pt x="6702266" y="75470"/>
                </a:cubicBezTo>
                <a:cubicBezTo>
                  <a:pt x="6747004" y="78450"/>
                  <a:pt x="6798307" y="53072"/>
                  <a:pt x="6845802" y="24496"/>
                </a:cubicBez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" name="Obraz 6" descr="Obraz zawierający tekst, zrzut ekranu, Czcionka, numer&#10;&#10;Zawartość wygenerowana przez AI może być niepoprawna.">
            <a:extLst>
              <a:ext uri="{FF2B5EF4-FFF2-40B4-BE49-F238E27FC236}">
                <a16:creationId xmlns:a16="http://schemas.microsoft.com/office/drawing/2014/main" id="{3B3BC912-9088-BDE3-2858-58190E5289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3975" y="-93133"/>
            <a:ext cx="5938025" cy="6858000"/>
          </a:xfrm>
          <a:prstGeom prst="rect">
            <a:avLst/>
          </a:prstGeom>
        </p:spPr>
      </p:pic>
      <p:pic>
        <p:nvPicPr>
          <p:cNvPr id="5" name="Obraz 4" descr="Obraz zawierający tekst, Ludzka twarz, plakat, ubrania&#10;&#10;Zawartość wygenerowana przez AI może być niepoprawna.">
            <a:extLst>
              <a:ext uri="{FF2B5EF4-FFF2-40B4-BE49-F238E27FC236}">
                <a16:creationId xmlns:a16="http://schemas.microsoft.com/office/drawing/2014/main" id="{C6B5B343-E5BC-9A04-46B3-64D03B6DA1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3249" y="1736652"/>
            <a:ext cx="4586474" cy="5308600"/>
          </a:xfrm>
          <a:prstGeom prst="rect">
            <a:avLst/>
          </a:prstGeom>
        </p:spPr>
      </p:pic>
      <p:sp>
        <p:nvSpPr>
          <p:cNvPr id="6" name="pole tekstowe 5">
            <a:extLst>
              <a:ext uri="{FF2B5EF4-FFF2-40B4-BE49-F238E27FC236}">
                <a16:creationId xmlns:a16="http://schemas.microsoft.com/office/drawing/2014/main" id="{AE6AA672-5F45-0419-4E1C-04429675E482}"/>
              </a:ext>
            </a:extLst>
          </p:cNvPr>
          <p:cNvSpPr txBox="1"/>
          <p:nvPr/>
        </p:nvSpPr>
        <p:spPr>
          <a:xfrm>
            <a:off x="5818811" y="6719498"/>
            <a:ext cx="61341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 dirty="0"/>
              <a:t>Źródło: </a:t>
            </a:r>
            <a:r>
              <a:rPr lang="pl-PL" sz="1200" dirty="0">
                <a:hlinkClick r:id="rId5"/>
              </a:rPr>
              <a:t>https://www.gov.pl/web/sport/kodeks-dobrego-zarzadzania-dla-pzs45</a:t>
            </a:r>
            <a:r>
              <a:rPr lang="pl-PL" sz="1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1004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491CCA6-61FB-836F-5DEA-698BC34ED2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EE189B79-4FC1-9922-F814-3DF3108265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BA877764-CE39-5F3F-9B44-69F1F5F974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1269336" cy="2008639"/>
          </a:xfrm>
          <a:custGeom>
            <a:avLst/>
            <a:gdLst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296127 w 11269336"/>
              <a:gd name="connsiteY139" fmla="*/ 2023208 h 2323145"/>
              <a:gd name="connsiteX140" fmla="*/ 5174645 w 11269336"/>
              <a:gd name="connsiteY140" fmla="*/ 2088358 h 2323145"/>
              <a:gd name="connsiteX141" fmla="*/ 5092476 w 11269336"/>
              <a:gd name="connsiteY141" fmla="*/ 2100737 h 2323145"/>
              <a:gd name="connsiteX142" fmla="*/ 5060738 w 11269336"/>
              <a:gd name="connsiteY142" fmla="*/ 2083274 h 2323145"/>
              <a:gd name="connsiteX143" fmla="*/ 4860988 w 11269336"/>
              <a:gd name="connsiteY143" fmla="*/ 2135698 h 2323145"/>
              <a:gd name="connsiteX144" fmla="*/ 4807902 w 11269336"/>
              <a:gd name="connsiteY144" fmla="*/ 2138894 h 2323145"/>
              <a:gd name="connsiteX145" fmla="*/ 4765388 w 11269336"/>
              <a:gd name="connsiteY145" fmla="*/ 2162525 h 2323145"/>
              <a:gd name="connsiteX146" fmla="*/ 4745033 w 11269336"/>
              <a:gd name="connsiteY146" fmla="*/ 2158859 h 2323145"/>
              <a:gd name="connsiteX147" fmla="*/ 4741475 w 11269336"/>
              <a:gd name="connsiteY147" fmla="*/ 2157998 h 2323145"/>
              <a:gd name="connsiteX148" fmla="*/ 4728247 w 11269336"/>
              <a:gd name="connsiteY148" fmla="*/ 2159526 h 2323145"/>
              <a:gd name="connsiteX149" fmla="*/ 4723263 w 11269336"/>
              <a:gd name="connsiteY149" fmla="*/ 2153742 h 2323145"/>
              <a:gd name="connsiteX150" fmla="*/ 4702453 w 11269336"/>
              <a:gd name="connsiteY150" fmla="*/ 2151586 h 2323145"/>
              <a:gd name="connsiteX151" fmla="*/ 4678455 w 11269336"/>
              <a:gd name="connsiteY151" fmla="*/ 2156131 h 2323145"/>
              <a:gd name="connsiteX152" fmla="*/ 4593061 w 11269336"/>
              <a:gd name="connsiteY152" fmla="*/ 2171597 h 2323145"/>
              <a:gd name="connsiteX153" fmla="*/ 4579902 w 11269336"/>
              <a:gd name="connsiteY153" fmla="*/ 2177927 h 2323145"/>
              <a:gd name="connsiteX154" fmla="*/ 4533444 w 11269336"/>
              <a:gd name="connsiteY154" fmla="*/ 2181200 h 2323145"/>
              <a:gd name="connsiteX155" fmla="*/ 4492832 w 11269336"/>
              <a:gd name="connsiteY155" fmla="*/ 2188033 h 2323145"/>
              <a:gd name="connsiteX156" fmla="*/ 4467257 w 11269336"/>
              <a:gd name="connsiteY156" fmla="*/ 2196121 h 2323145"/>
              <a:gd name="connsiteX157" fmla="*/ 4459937 w 11269336"/>
              <a:gd name="connsiteY157" fmla="*/ 2195182 h 2323145"/>
              <a:gd name="connsiteX158" fmla="*/ 4433312 w 11269336"/>
              <a:gd name="connsiteY158" fmla="*/ 2199004 h 2323145"/>
              <a:gd name="connsiteX159" fmla="*/ 4420601 w 11269336"/>
              <a:gd name="connsiteY159" fmla="*/ 2205158 h 2323145"/>
              <a:gd name="connsiteX160" fmla="*/ 4405765 w 11269336"/>
              <a:gd name="connsiteY160" fmla="*/ 2199902 h 2323145"/>
              <a:gd name="connsiteX161" fmla="*/ 4401354 w 11269336"/>
              <a:gd name="connsiteY161" fmla="*/ 2194745 h 2323145"/>
              <a:gd name="connsiteX162" fmla="*/ 4383151 w 11269336"/>
              <a:gd name="connsiteY162" fmla="*/ 2201140 h 2323145"/>
              <a:gd name="connsiteX163" fmla="*/ 4366646 w 11269336"/>
              <a:gd name="connsiteY163" fmla="*/ 2198564 h 2323145"/>
              <a:gd name="connsiteX164" fmla="*/ 4354009 w 11269336"/>
              <a:gd name="connsiteY164" fmla="*/ 2204984 h 2323145"/>
              <a:gd name="connsiteX165" fmla="*/ 4348284 w 11269336"/>
              <a:gd name="connsiteY165" fmla="*/ 2205270 h 2323145"/>
              <a:gd name="connsiteX166" fmla="*/ 4333906 w 11269336"/>
              <a:gd name="connsiteY166" fmla="*/ 2205251 h 2323145"/>
              <a:gd name="connsiteX167" fmla="*/ 4308819 w 11269336"/>
              <a:gd name="connsiteY167" fmla="*/ 2203822 h 2323145"/>
              <a:gd name="connsiteX168" fmla="*/ 4301210 w 11269336"/>
              <a:gd name="connsiteY168" fmla="*/ 2204456 h 2323145"/>
              <a:gd name="connsiteX169" fmla="*/ 4283095 w 11269336"/>
              <a:gd name="connsiteY169" fmla="*/ 2198177 h 2323145"/>
              <a:gd name="connsiteX170" fmla="*/ 4250119 w 11269336"/>
              <a:gd name="connsiteY170" fmla="*/ 2196342 h 2323145"/>
              <a:gd name="connsiteX171" fmla="*/ 4189203 w 11269336"/>
              <a:gd name="connsiteY171" fmla="*/ 2178994 h 2323145"/>
              <a:gd name="connsiteX172" fmla="*/ 4154035 w 11269336"/>
              <a:gd name="connsiteY172" fmla="*/ 2171950 h 2323145"/>
              <a:gd name="connsiteX173" fmla="*/ 4129569 w 11269336"/>
              <a:gd name="connsiteY173" fmla="*/ 2163850 h 2323145"/>
              <a:gd name="connsiteX174" fmla="*/ 4061250 w 11269336"/>
              <a:gd name="connsiteY174" fmla="*/ 2159236 h 2323145"/>
              <a:gd name="connsiteX175" fmla="*/ 3945480 w 11269336"/>
              <a:gd name="connsiteY175" fmla="*/ 2158279 h 2323145"/>
              <a:gd name="connsiteX176" fmla="*/ 3921468 w 11269336"/>
              <a:gd name="connsiteY176" fmla="*/ 2156588 h 2323145"/>
              <a:gd name="connsiteX177" fmla="*/ 3903348 w 11269336"/>
              <a:gd name="connsiteY177" fmla="*/ 2149220 h 2323145"/>
              <a:gd name="connsiteX178" fmla="*/ 3901342 w 11269336"/>
              <a:gd name="connsiteY178" fmla="*/ 2142355 h 2323145"/>
              <a:gd name="connsiteX179" fmla="*/ 3888539 w 11269336"/>
              <a:gd name="connsiteY179" fmla="*/ 2140476 h 2323145"/>
              <a:gd name="connsiteX180" fmla="*/ 3885662 w 11269336"/>
              <a:gd name="connsiteY180" fmla="*/ 2138740 h 2323145"/>
              <a:gd name="connsiteX181" fmla="*/ 3868627 w 11269336"/>
              <a:gd name="connsiteY181" fmla="*/ 2130023 h 2323145"/>
              <a:gd name="connsiteX182" fmla="*/ 3819177 w 11269336"/>
              <a:gd name="connsiteY182" fmla="*/ 2142111 h 2323145"/>
              <a:gd name="connsiteX183" fmla="*/ 3769100 w 11269336"/>
              <a:gd name="connsiteY183" fmla="*/ 2131731 h 2323145"/>
              <a:gd name="connsiteX184" fmla="*/ 3562752 w 11269336"/>
              <a:gd name="connsiteY184" fmla="*/ 2131785 h 2323145"/>
              <a:gd name="connsiteX185" fmla="*/ 3541402 w 11269336"/>
              <a:gd name="connsiteY185" fmla="*/ 2106821 h 2323145"/>
              <a:gd name="connsiteX186" fmla="*/ 3460591 w 11269336"/>
              <a:gd name="connsiteY186" fmla="*/ 2097951 h 2323145"/>
              <a:gd name="connsiteX187" fmla="*/ 3320348 w 11269336"/>
              <a:gd name="connsiteY187" fmla="*/ 2130191 h 2323145"/>
              <a:gd name="connsiteX188" fmla="*/ 3170922 w 11269336"/>
              <a:gd name="connsiteY188" fmla="*/ 2115957 h 2323145"/>
              <a:gd name="connsiteX189" fmla="*/ 3156256 w 11269336"/>
              <a:gd name="connsiteY189" fmla="*/ 2124773 h 2323145"/>
              <a:gd name="connsiteX190" fmla="*/ 3140298 w 11269336"/>
              <a:gd name="connsiteY190" fmla="*/ 2129182 h 2323145"/>
              <a:gd name="connsiteX191" fmla="*/ 3138514 w 11269336"/>
              <a:gd name="connsiteY191" fmla="*/ 2128069 h 2323145"/>
              <a:gd name="connsiteX192" fmla="*/ 3120467 w 11269336"/>
              <a:gd name="connsiteY192" fmla="*/ 2128281 h 2323145"/>
              <a:gd name="connsiteX193" fmla="*/ 3116175 w 11269336"/>
              <a:gd name="connsiteY193" fmla="*/ 2131633 h 2323145"/>
              <a:gd name="connsiteX194" fmla="*/ 3103685 w 11269336"/>
              <a:gd name="connsiteY194" fmla="*/ 2132814 h 2323145"/>
              <a:gd name="connsiteX195" fmla="*/ 3078794 w 11269336"/>
              <a:gd name="connsiteY195" fmla="*/ 2137935 h 2323145"/>
              <a:gd name="connsiteX196" fmla="*/ 3074407 w 11269336"/>
              <a:gd name="connsiteY196" fmla="*/ 2136274 h 2323145"/>
              <a:gd name="connsiteX197" fmla="*/ 3037285 w 11269336"/>
              <a:gd name="connsiteY197" fmla="*/ 2139919 h 2323145"/>
              <a:gd name="connsiteX198" fmla="*/ 3036901 w 11269336"/>
              <a:gd name="connsiteY198" fmla="*/ 2138726 h 2323145"/>
              <a:gd name="connsiteX199" fmla="*/ 3026996 w 11269336"/>
              <a:gd name="connsiteY199" fmla="*/ 2134322 h 2323145"/>
              <a:gd name="connsiteX200" fmla="*/ 3007772 w 11269336"/>
              <a:gd name="connsiteY200" fmla="*/ 2128742 h 2323145"/>
              <a:gd name="connsiteX201" fmla="*/ 2965030 w 11269336"/>
              <a:gd name="connsiteY201" fmla="*/ 2100494 h 2323145"/>
              <a:gd name="connsiteX202" fmla="*/ 2926342 w 11269336"/>
              <a:gd name="connsiteY202" fmla="*/ 2104155 h 2323145"/>
              <a:gd name="connsiteX203" fmla="*/ 2918608 w 11269336"/>
              <a:gd name="connsiteY203" fmla="*/ 2104215 h 2323145"/>
              <a:gd name="connsiteX204" fmla="*/ 2918475 w 11269336"/>
              <a:gd name="connsiteY204" fmla="*/ 2103937 h 2323145"/>
              <a:gd name="connsiteX205" fmla="*/ 2910360 w 11269336"/>
              <a:gd name="connsiteY205" fmla="*/ 2103444 h 2323145"/>
              <a:gd name="connsiteX206" fmla="*/ 2904507 w 11269336"/>
              <a:gd name="connsiteY206" fmla="*/ 2104326 h 2323145"/>
              <a:gd name="connsiteX207" fmla="*/ 2889503 w 11269336"/>
              <a:gd name="connsiteY207" fmla="*/ 2104443 h 2323145"/>
              <a:gd name="connsiteX208" fmla="*/ 2884480 w 11269336"/>
              <a:gd name="connsiteY208" fmla="*/ 2102626 h 2323145"/>
              <a:gd name="connsiteX209" fmla="*/ 2882689 w 11269336"/>
              <a:gd name="connsiteY209" fmla="*/ 2099228 h 2323145"/>
              <a:gd name="connsiteX210" fmla="*/ 2881291 w 11269336"/>
              <a:gd name="connsiteY210" fmla="*/ 2099618 h 2323145"/>
              <a:gd name="connsiteX211" fmla="*/ 2853979 w 11269336"/>
              <a:gd name="connsiteY211" fmla="*/ 2090388 h 2323145"/>
              <a:gd name="connsiteX212" fmla="*/ 2791790 w 11269336"/>
              <a:gd name="connsiteY212" fmla="*/ 2080332 h 2323145"/>
              <a:gd name="connsiteX213" fmla="*/ 2755844 w 11269336"/>
              <a:gd name="connsiteY213" fmla="*/ 2078874 h 2323145"/>
              <a:gd name="connsiteX214" fmla="*/ 2657742 w 11269336"/>
              <a:gd name="connsiteY214" fmla="*/ 2070179 h 2323145"/>
              <a:gd name="connsiteX215" fmla="*/ 2559549 w 11269336"/>
              <a:gd name="connsiteY215" fmla="*/ 2057873 h 2323145"/>
              <a:gd name="connsiteX216" fmla="*/ 2512054 w 11269336"/>
              <a:gd name="connsiteY216" fmla="*/ 2031671 h 2323145"/>
              <a:gd name="connsiteX217" fmla="*/ 2506437 w 11269336"/>
              <a:gd name="connsiteY217" fmla="*/ 2030918 h 2323145"/>
              <a:gd name="connsiteX218" fmla="*/ 2491752 w 11269336"/>
              <a:gd name="connsiteY218" fmla="*/ 2033906 h 2323145"/>
              <a:gd name="connsiteX219" fmla="*/ 2486338 w 11269336"/>
              <a:gd name="connsiteY219" fmla="*/ 2035862 h 2323145"/>
              <a:gd name="connsiteX220" fmla="*/ 2478186 w 11269336"/>
              <a:gd name="connsiteY220" fmla="*/ 2036953 h 2323145"/>
              <a:gd name="connsiteX221" fmla="*/ 2477950 w 11269336"/>
              <a:gd name="connsiteY221" fmla="*/ 2036715 h 2323145"/>
              <a:gd name="connsiteX222" fmla="*/ 2470381 w 11269336"/>
              <a:gd name="connsiteY222" fmla="*/ 2038256 h 2323145"/>
              <a:gd name="connsiteX223" fmla="*/ 2433781 w 11269336"/>
              <a:gd name="connsiteY223" fmla="*/ 2049140 h 2323145"/>
              <a:gd name="connsiteX224" fmla="*/ 2381172 w 11269336"/>
              <a:gd name="connsiteY224" fmla="*/ 2030645 h 2323145"/>
              <a:gd name="connsiteX225" fmla="*/ 2360198 w 11269336"/>
              <a:gd name="connsiteY225" fmla="*/ 2029059 h 2323145"/>
              <a:gd name="connsiteX226" fmla="*/ 2348815 w 11269336"/>
              <a:gd name="connsiteY226" fmla="*/ 2026798 h 2323145"/>
              <a:gd name="connsiteX227" fmla="*/ 2347988 w 11269336"/>
              <a:gd name="connsiteY227" fmla="*/ 2025745 h 2323145"/>
              <a:gd name="connsiteX228" fmla="*/ 2312920 w 11269336"/>
              <a:gd name="connsiteY228" fmla="*/ 2036311 h 2323145"/>
              <a:gd name="connsiteX229" fmla="*/ 2307986 w 11269336"/>
              <a:gd name="connsiteY229" fmla="*/ 2035583 h 2323145"/>
              <a:gd name="connsiteX230" fmla="*/ 2285481 w 11269336"/>
              <a:gd name="connsiteY230" fmla="*/ 2045197 h 2323145"/>
              <a:gd name="connsiteX231" fmla="*/ 2273666 w 11269336"/>
              <a:gd name="connsiteY231" fmla="*/ 2048710 h 2323145"/>
              <a:gd name="connsiteX232" fmla="*/ 2270719 w 11269336"/>
              <a:gd name="connsiteY232" fmla="*/ 2052702 h 2323145"/>
              <a:gd name="connsiteX233" fmla="*/ 2253080 w 11269336"/>
              <a:gd name="connsiteY233" fmla="*/ 2056363 h 2323145"/>
              <a:gd name="connsiteX234" fmla="*/ 2250906 w 11269336"/>
              <a:gd name="connsiteY234" fmla="*/ 2055654 h 2323145"/>
              <a:gd name="connsiteX235" fmla="*/ 2236905 w 11269336"/>
              <a:gd name="connsiteY235" fmla="*/ 2062882 h 2323145"/>
              <a:gd name="connsiteX236" fmla="*/ 2225830 w 11269336"/>
              <a:gd name="connsiteY236" fmla="*/ 2074027 h 2323145"/>
              <a:gd name="connsiteX237" fmla="*/ 2073776 w 11269336"/>
              <a:gd name="connsiteY237" fmla="*/ 2089244 h 2323145"/>
              <a:gd name="connsiteX238" fmla="*/ 1948256 w 11269336"/>
              <a:gd name="connsiteY238" fmla="*/ 2146616 h 2323145"/>
              <a:gd name="connsiteX239" fmla="*/ 1865582 w 11269336"/>
              <a:gd name="connsiteY239" fmla="*/ 2153738 h 2323145"/>
              <a:gd name="connsiteX240" fmla="*/ 1835210 w 11269336"/>
              <a:gd name="connsiteY240" fmla="*/ 2134244 h 2323145"/>
              <a:gd name="connsiteX241" fmla="*/ 1632661 w 11269336"/>
              <a:gd name="connsiteY241" fmla="*/ 2173882 h 2323145"/>
              <a:gd name="connsiteX242" fmla="*/ 1579590 w 11269336"/>
              <a:gd name="connsiteY242" fmla="*/ 2173680 h 2323145"/>
              <a:gd name="connsiteX243" fmla="*/ 1535601 w 11269336"/>
              <a:gd name="connsiteY243" fmla="*/ 2194590 h 2323145"/>
              <a:gd name="connsiteX244" fmla="*/ 1515594 w 11269336"/>
              <a:gd name="connsiteY244" fmla="*/ 2189622 h 2323145"/>
              <a:gd name="connsiteX245" fmla="*/ 1512113 w 11269336"/>
              <a:gd name="connsiteY245" fmla="*/ 2188534 h 2323145"/>
              <a:gd name="connsiteX246" fmla="*/ 1498838 w 11269336"/>
              <a:gd name="connsiteY246" fmla="*/ 2189213 h 2323145"/>
              <a:gd name="connsiteX247" fmla="*/ 1494279 w 11269336"/>
              <a:gd name="connsiteY247" fmla="*/ 2183112 h 2323145"/>
              <a:gd name="connsiteX248" fmla="*/ 1473714 w 11269336"/>
              <a:gd name="connsiteY248" fmla="*/ 2179625 h 2323145"/>
              <a:gd name="connsiteX249" fmla="*/ 1449503 w 11269336"/>
              <a:gd name="connsiteY249" fmla="*/ 2182633 h 2323145"/>
              <a:gd name="connsiteX250" fmla="*/ 1335495 w 11269336"/>
              <a:gd name="connsiteY250" fmla="*/ 2203940 h 2323145"/>
              <a:gd name="connsiteX251" fmla="*/ 1266687 w 11269336"/>
              <a:gd name="connsiteY251" fmla="*/ 2212688 h 2323145"/>
              <a:gd name="connsiteX252" fmla="*/ 1239614 w 11269336"/>
              <a:gd name="connsiteY252" fmla="*/ 2209727 h 2323145"/>
              <a:gd name="connsiteX253" fmla="*/ 1202436 w 11269336"/>
              <a:gd name="connsiteY253" fmla="*/ 2209817 h 2323145"/>
              <a:gd name="connsiteX254" fmla="*/ 1136097 w 11269336"/>
              <a:gd name="connsiteY254" fmla="*/ 2205112 h 2323145"/>
              <a:gd name="connsiteX255" fmla="*/ 1048229 w 11269336"/>
              <a:gd name="connsiteY255" fmla="*/ 2207249 h 2323145"/>
              <a:gd name="connsiteX256" fmla="*/ 988232 w 11269336"/>
              <a:gd name="connsiteY256" fmla="*/ 2235635 h 2323145"/>
              <a:gd name="connsiteX257" fmla="*/ 981959 w 11269336"/>
              <a:gd name="connsiteY257" fmla="*/ 2231607 h 2323145"/>
              <a:gd name="connsiteX258" fmla="*/ 938600 w 11269336"/>
              <a:gd name="connsiteY258" fmla="*/ 2238113 h 2323145"/>
              <a:gd name="connsiteX259" fmla="*/ 791788 w 11269336"/>
              <a:gd name="connsiteY259" fmla="*/ 2293224 h 2323145"/>
              <a:gd name="connsiteX260" fmla="*/ 706914 w 11269336"/>
              <a:gd name="connsiteY260" fmla="*/ 2305046 h 2323145"/>
              <a:gd name="connsiteX261" fmla="*/ 675971 w 11269336"/>
              <a:gd name="connsiteY261" fmla="*/ 2304030 h 2323145"/>
              <a:gd name="connsiteX262" fmla="*/ 624180 w 11269336"/>
              <a:gd name="connsiteY262" fmla="*/ 2302650 h 2323145"/>
              <a:gd name="connsiteX263" fmla="*/ 583453 w 11269336"/>
              <a:gd name="connsiteY263" fmla="*/ 2288788 h 2323145"/>
              <a:gd name="connsiteX264" fmla="*/ 540946 w 11269336"/>
              <a:gd name="connsiteY264" fmla="*/ 2292721 h 2323145"/>
              <a:gd name="connsiteX265" fmla="*/ 533680 w 11269336"/>
              <a:gd name="connsiteY265" fmla="*/ 2310233 h 2323145"/>
              <a:gd name="connsiteX266" fmla="*/ 487366 w 11269336"/>
              <a:gd name="connsiteY266" fmla="*/ 2309053 h 2323145"/>
              <a:gd name="connsiteX267" fmla="*/ 416820 w 11269336"/>
              <a:gd name="connsiteY267" fmla="*/ 2305443 h 2323145"/>
              <a:gd name="connsiteX268" fmla="*/ 376805 w 11269336"/>
              <a:gd name="connsiteY268" fmla="*/ 2307647 h 2323145"/>
              <a:gd name="connsiteX269" fmla="*/ 266777 w 11269336"/>
              <a:gd name="connsiteY269" fmla="*/ 2309012 h 2323145"/>
              <a:gd name="connsiteX270" fmla="*/ 156013 w 11269336"/>
              <a:gd name="connsiteY270" fmla="*/ 2306832 h 2323145"/>
              <a:gd name="connsiteX271" fmla="*/ 87258 w 11269336"/>
              <a:gd name="connsiteY271" fmla="*/ 2285511 h 2323145"/>
              <a:gd name="connsiteX272" fmla="*/ 23798 w 11269336"/>
              <a:gd name="connsiteY272" fmla="*/ 2281822 h 2323145"/>
              <a:gd name="connsiteX273" fmla="*/ 0 w 11269336"/>
              <a:gd name="connsiteY273" fmla="*/ 2285369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296127 w 11269336"/>
              <a:gd name="connsiteY139" fmla="*/ 2023208 h 2323145"/>
              <a:gd name="connsiteX140" fmla="*/ 5092476 w 11269336"/>
              <a:gd name="connsiteY140" fmla="*/ 2100737 h 2323145"/>
              <a:gd name="connsiteX141" fmla="*/ 5060738 w 11269336"/>
              <a:gd name="connsiteY141" fmla="*/ 2083274 h 2323145"/>
              <a:gd name="connsiteX142" fmla="*/ 4860988 w 11269336"/>
              <a:gd name="connsiteY142" fmla="*/ 2135698 h 2323145"/>
              <a:gd name="connsiteX143" fmla="*/ 4807902 w 11269336"/>
              <a:gd name="connsiteY143" fmla="*/ 2138894 h 2323145"/>
              <a:gd name="connsiteX144" fmla="*/ 4765388 w 11269336"/>
              <a:gd name="connsiteY144" fmla="*/ 2162525 h 2323145"/>
              <a:gd name="connsiteX145" fmla="*/ 4745033 w 11269336"/>
              <a:gd name="connsiteY145" fmla="*/ 2158859 h 2323145"/>
              <a:gd name="connsiteX146" fmla="*/ 4741475 w 11269336"/>
              <a:gd name="connsiteY146" fmla="*/ 2157998 h 2323145"/>
              <a:gd name="connsiteX147" fmla="*/ 4728247 w 11269336"/>
              <a:gd name="connsiteY147" fmla="*/ 2159526 h 2323145"/>
              <a:gd name="connsiteX148" fmla="*/ 4723263 w 11269336"/>
              <a:gd name="connsiteY148" fmla="*/ 2153742 h 2323145"/>
              <a:gd name="connsiteX149" fmla="*/ 4702453 w 11269336"/>
              <a:gd name="connsiteY149" fmla="*/ 2151586 h 2323145"/>
              <a:gd name="connsiteX150" fmla="*/ 4678455 w 11269336"/>
              <a:gd name="connsiteY150" fmla="*/ 2156131 h 2323145"/>
              <a:gd name="connsiteX151" fmla="*/ 4593061 w 11269336"/>
              <a:gd name="connsiteY151" fmla="*/ 2171597 h 2323145"/>
              <a:gd name="connsiteX152" fmla="*/ 4579902 w 11269336"/>
              <a:gd name="connsiteY152" fmla="*/ 2177927 h 2323145"/>
              <a:gd name="connsiteX153" fmla="*/ 4533444 w 11269336"/>
              <a:gd name="connsiteY153" fmla="*/ 2181200 h 2323145"/>
              <a:gd name="connsiteX154" fmla="*/ 4492832 w 11269336"/>
              <a:gd name="connsiteY154" fmla="*/ 2188033 h 2323145"/>
              <a:gd name="connsiteX155" fmla="*/ 4467257 w 11269336"/>
              <a:gd name="connsiteY155" fmla="*/ 2196121 h 2323145"/>
              <a:gd name="connsiteX156" fmla="*/ 4459937 w 11269336"/>
              <a:gd name="connsiteY156" fmla="*/ 2195182 h 2323145"/>
              <a:gd name="connsiteX157" fmla="*/ 4433312 w 11269336"/>
              <a:gd name="connsiteY157" fmla="*/ 2199004 h 2323145"/>
              <a:gd name="connsiteX158" fmla="*/ 4420601 w 11269336"/>
              <a:gd name="connsiteY158" fmla="*/ 2205158 h 2323145"/>
              <a:gd name="connsiteX159" fmla="*/ 4405765 w 11269336"/>
              <a:gd name="connsiteY159" fmla="*/ 2199902 h 2323145"/>
              <a:gd name="connsiteX160" fmla="*/ 4401354 w 11269336"/>
              <a:gd name="connsiteY160" fmla="*/ 2194745 h 2323145"/>
              <a:gd name="connsiteX161" fmla="*/ 4383151 w 11269336"/>
              <a:gd name="connsiteY161" fmla="*/ 2201140 h 2323145"/>
              <a:gd name="connsiteX162" fmla="*/ 4366646 w 11269336"/>
              <a:gd name="connsiteY162" fmla="*/ 2198564 h 2323145"/>
              <a:gd name="connsiteX163" fmla="*/ 4354009 w 11269336"/>
              <a:gd name="connsiteY163" fmla="*/ 2204984 h 2323145"/>
              <a:gd name="connsiteX164" fmla="*/ 4348284 w 11269336"/>
              <a:gd name="connsiteY164" fmla="*/ 2205270 h 2323145"/>
              <a:gd name="connsiteX165" fmla="*/ 4333906 w 11269336"/>
              <a:gd name="connsiteY165" fmla="*/ 2205251 h 2323145"/>
              <a:gd name="connsiteX166" fmla="*/ 4308819 w 11269336"/>
              <a:gd name="connsiteY166" fmla="*/ 2203822 h 2323145"/>
              <a:gd name="connsiteX167" fmla="*/ 4301210 w 11269336"/>
              <a:gd name="connsiteY167" fmla="*/ 2204456 h 2323145"/>
              <a:gd name="connsiteX168" fmla="*/ 4283095 w 11269336"/>
              <a:gd name="connsiteY168" fmla="*/ 2198177 h 2323145"/>
              <a:gd name="connsiteX169" fmla="*/ 4250119 w 11269336"/>
              <a:gd name="connsiteY169" fmla="*/ 2196342 h 2323145"/>
              <a:gd name="connsiteX170" fmla="*/ 4189203 w 11269336"/>
              <a:gd name="connsiteY170" fmla="*/ 2178994 h 2323145"/>
              <a:gd name="connsiteX171" fmla="*/ 4154035 w 11269336"/>
              <a:gd name="connsiteY171" fmla="*/ 2171950 h 2323145"/>
              <a:gd name="connsiteX172" fmla="*/ 4129569 w 11269336"/>
              <a:gd name="connsiteY172" fmla="*/ 2163850 h 2323145"/>
              <a:gd name="connsiteX173" fmla="*/ 4061250 w 11269336"/>
              <a:gd name="connsiteY173" fmla="*/ 2159236 h 2323145"/>
              <a:gd name="connsiteX174" fmla="*/ 3945480 w 11269336"/>
              <a:gd name="connsiteY174" fmla="*/ 2158279 h 2323145"/>
              <a:gd name="connsiteX175" fmla="*/ 3921468 w 11269336"/>
              <a:gd name="connsiteY175" fmla="*/ 2156588 h 2323145"/>
              <a:gd name="connsiteX176" fmla="*/ 3903348 w 11269336"/>
              <a:gd name="connsiteY176" fmla="*/ 2149220 h 2323145"/>
              <a:gd name="connsiteX177" fmla="*/ 3901342 w 11269336"/>
              <a:gd name="connsiteY177" fmla="*/ 2142355 h 2323145"/>
              <a:gd name="connsiteX178" fmla="*/ 3888539 w 11269336"/>
              <a:gd name="connsiteY178" fmla="*/ 2140476 h 2323145"/>
              <a:gd name="connsiteX179" fmla="*/ 3885662 w 11269336"/>
              <a:gd name="connsiteY179" fmla="*/ 2138740 h 2323145"/>
              <a:gd name="connsiteX180" fmla="*/ 3868627 w 11269336"/>
              <a:gd name="connsiteY180" fmla="*/ 2130023 h 2323145"/>
              <a:gd name="connsiteX181" fmla="*/ 3819177 w 11269336"/>
              <a:gd name="connsiteY181" fmla="*/ 2142111 h 2323145"/>
              <a:gd name="connsiteX182" fmla="*/ 3769100 w 11269336"/>
              <a:gd name="connsiteY182" fmla="*/ 2131731 h 2323145"/>
              <a:gd name="connsiteX183" fmla="*/ 3562752 w 11269336"/>
              <a:gd name="connsiteY183" fmla="*/ 2131785 h 2323145"/>
              <a:gd name="connsiteX184" fmla="*/ 3541402 w 11269336"/>
              <a:gd name="connsiteY184" fmla="*/ 2106821 h 2323145"/>
              <a:gd name="connsiteX185" fmla="*/ 3460591 w 11269336"/>
              <a:gd name="connsiteY185" fmla="*/ 2097951 h 2323145"/>
              <a:gd name="connsiteX186" fmla="*/ 3320348 w 11269336"/>
              <a:gd name="connsiteY186" fmla="*/ 2130191 h 2323145"/>
              <a:gd name="connsiteX187" fmla="*/ 3170922 w 11269336"/>
              <a:gd name="connsiteY187" fmla="*/ 2115957 h 2323145"/>
              <a:gd name="connsiteX188" fmla="*/ 3156256 w 11269336"/>
              <a:gd name="connsiteY188" fmla="*/ 2124773 h 2323145"/>
              <a:gd name="connsiteX189" fmla="*/ 3140298 w 11269336"/>
              <a:gd name="connsiteY189" fmla="*/ 2129182 h 2323145"/>
              <a:gd name="connsiteX190" fmla="*/ 3138514 w 11269336"/>
              <a:gd name="connsiteY190" fmla="*/ 2128069 h 2323145"/>
              <a:gd name="connsiteX191" fmla="*/ 3120467 w 11269336"/>
              <a:gd name="connsiteY191" fmla="*/ 2128281 h 2323145"/>
              <a:gd name="connsiteX192" fmla="*/ 3116175 w 11269336"/>
              <a:gd name="connsiteY192" fmla="*/ 2131633 h 2323145"/>
              <a:gd name="connsiteX193" fmla="*/ 3103685 w 11269336"/>
              <a:gd name="connsiteY193" fmla="*/ 2132814 h 2323145"/>
              <a:gd name="connsiteX194" fmla="*/ 3078794 w 11269336"/>
              <a:gd name="connsiteY194" fmla="*/ 2137935 h 2323145"/>
              <a:gd name="connsiteX195" fmla="*/ 3074407 w 11269336"/>
              <a:gd name="connsiteY195" fmla="*/ 2136274 h 2323145"/>
              <a:gd name="connsiteX196" fmla="*/ 3037285 w 11269336"/>
              <a:gd name="connsiteY196" fmla="*/ 2139919 h 2323145"/>
              <a:gd name="connsiteX197" fmla="*/ 3036901 w 11269336"/>
              <a:gd name="connsiteY197" fmla="*/ 2138726 h 2323145"/>
              <a:gd name="connsiteX198" fmla="*/ 3026996 w 11269336"/>
              <a:gd name="connsiteY198" fmla="*/ 2134322 h 2323145"/>
              <a:gd name="connsiteX199" fmla="*/ 3007772 w 11269336"/>
              <a:gd name="connsiteY199" fmla="*/ 2128742 h 2323145"/>
              <a:gd name="connsiteX200" fmla="*/ 2965030 w 11269336"/>
              <a:gd name="connsiteY200" fmla="*/ 2100494 h 2323145"/>
              <a:gd name="connsiteX201" fmla="*/ 2926342 w 11269336"/>
              <a:gd name="connsiteY201" fmla="*/ 2104155 h 2323145"/>
              <a:gd name="connsiteX202" fmla="*/ 2918608 w 11269336"/>
              <a:gd name="connsiteY202" fmla="*/ 2104215 h 2323145"/>
              <a:gd name="connsiteX203" fmla="*/ 2918475 w 11269336"/>
              <a:gd name="connsiteY203" fmla="*/ 2103937 h 2323145"/>
              <a:gd name="connsiteX204" fmla="*/ 2910360 w 11269336"/>
              <a:gd name="connsiteY204" fmla="*/ 2103444 h 2323145"/>
              <a:gd name="connsiteX205" fmla="*/ 2904507 w 11269336"/>
              <a:gd name="connsiteY205" fmla="*/ 2104326 h 2323145"/>
              <a:gd name="connsiteX206" fmla="*/ 2889503 w 11269336"/>
              <a:gd name="connsiteY206" fmla="*/ 2104443 h 2323145"/>
              <a:gd name="connsiteX207" fmla="*/ 2884480 w 11269336"/>
              <a:gd name="connsiteY207" fmla="*/ 2102626 h 2323145"/>
              <a:gd name="connsiteX208" fmla="*/ 2882689 w 11269336"/>
              <a:gd name="connsiteY208" fmla="*/ 2099228 h 2323145"/>
              <a:gd name="connsiteX209" fmla="*/ 2881291 w 11269336"/>
              <a:gd name="connsiteY209" fmla="*/ 2099618 h 2323145"/>
              <a:gd name="connsiteX210" fmla="*/ 2853979 w 11269336"/>
              <a:gd name="connsiteY210" fmla="*/ 2090388 h 2323145"/>
              <a:gd name="connsiteX211" fmla="*/ 2791790 w 11269336"/>
              <a:gd name="connsiteY211" fmla="*/ 2080332 h 2323145"/>
              <a:gd name="connsiteX212" fmla="*/ 2755844 w 11269336"/>
              <a:gd name="connsiteY212" fmla="*/ 2078874 h 2323145"/>
              <a:gd name="connsiteX213" fmla="*/ 2657742 w 11269336"/>
              <a:gd name="connsiteY213" fmla="*/ 2070179 h 2323145"/>
              <a:gd name="connsiteX214" fmla="*/ 2559549 w 11269336"/>
              <a:gd name="connsiteY214" fmla="*/ 2057873 h 2323145"/>
              <a:gd name="connsiteX215" fmla="*/ 2512054 w 11269336"/>
              <a:gd name="connsiteY215" fmla="*/ 2031671 h 2323145"/>
              <a:gd name="connsiteX216" fmla="*/ 2506437 w 11269336"/>
              <a:gd name="connsiteY216" fmla="*/ 2030918 h 2323145"/>
              <a:gd name="connsiteX217" fmla="*/ 2491752 w 11269336"/>
              <a:gd name="connsiteY217" fmla="*/ 2033906 h 2323145"/>
              <a:gd name="connsiteX218" fmla="*/ 2486338 w 11269336"/>
              <a:gd name="connsiteY218" fmla="*/ 2035862 h 2323145"/>
              <a:gd name="connsiteX219" fmla="*/ 2478186 w 11269336"/>
              <a:gd name="connsiteY219" fmla="*/ 2036953 h 2323145"/>
              <a:gd name="connsiteX220" fmla="*/ 2477950 w 11269336"/>
              <a:gd name="connsiteY220" fmla="*/ 2036715 h 2323145"/>
              <a:gd name="connsiteX221" fmla="*/ 2470381 w 11269336"/>
              <a:gd name="connsiteY221" fmla="*/ 2038256 h 2323145"/>
              <a:gd name="connsiteX222" fmla="*/ 2433781 w 11269336"/>
              <a:gd name="connsiteY222" fmla="*/ 2049140 h 2323145"/>
              <a:gd name="connsiteX223" fmla="*/ 2381172 w 11269336"/>
              <a:gd name="connsiteY223" fmla="*/ 2030645 h 2323145"/>
              <a:gd name="connsiteX224" fmla="*/ 2360198 w 11269336"/>
              <a:gd name="connsiteY224" fmla="*/ 2029059 h 2323145"/>
              <a:gd name="connsiteX225" fmla="*/ 2348815 w 11269336"/>
              <a:gd name="connsiteY225" fmla="*/ 2026798 h 2323145"/>
              <a:gd name="connsiteX226" fmla="*/ 2347988 w 11269336"/>
              <a:gd name="connsiteY226" fmla="*/ 2025745 h 2323145"/>
              <a:gd name="connsiteX227" fmla="*/ 2312920 w 11269336"/>
              <a:gd name="connsiteY227" fmla="*/ 2036311 h 2323145"/>
              <a:gd name="connsiteX228" fmla="*/ 2307986 w 11269336"/>
              <a:gd name="connsiteY228" fmla="*/ 2035583 h 2323145"/>
              <a:gd name="connsiteX229" fmla="*/ 2285481 w 11269336"/>
              <a:gd name="connsiteY229" fmla="*/ 2045197 h 2323145"/>
              <a:gd name="connsiteX230" fmla="*/ 2273666 w 11269336"/>
              <a:gd name="connsiteY230" fmla="*/ 2048710 h 2323145"/>
              <a:gd name="connsiteX231" fmla="*/ 2270719 w 11269336"/>
              <a:gd name="connsiteY231" fmla="*/ 2052702 h 2323145"/>
              <a:gd name="connsiteX232" fmla="*/ 2253080 w 11269336"/>
              <a:gd name="connsiteY232" fmla="*/ 2056363 h 2323145"/>
              <a:gd name="connsiteX233" fmla="*/ 2250906 w 11269336"/>
              <a:gd name="connsiteY233" fmla="*/ 2055654 h 2323145"/>
              <a:gd name="connsiteX234" fmla="*/ 2236905 w 11269336"/>
              <a:gd name="connsiteY234" fmla="*/ 2062882 h 2323145"/>
              <a:gd name="connsiteX235" fmla="*/ 2225830 w 11269336"/>
              <a:gd name="connsiteY235" fmla="*/ 2074027 h 2323145"/>
              <a:gd name="connsiteX236" fmla="*/ 2073776 w 11269336"/>
              <a:gd name="connsiteY236" fmla="*/ 2089244 h 2323145"/>
              <a:gd name="connsiteX237" fmla="*/ 1948256 w 11269336"/>
              <a:gd name="connsiteY237" fmla="*/ 2146616 h 2323145"/>
              <a:gd name="connsiteX238" fmla="*/ 1865582 w 11269336"/>
              <a:gd name="connsiteY238" fmla="*/ 2153738 h 2323145"/>
              <a:gd name="connsiteX239" fmla="*/ 1835210 w 11269336"/>
              <a:gd name="connsiteY239" fmla="*/ 2134244 h 2323145"/>
              <a:gd name="connsiteX240" fmla="*/ 1632661 w 11269336"/>
              <a:gd name="connsiteY240" fmla="*/ 2173882 h 2323145"/>
              <a:gd name="connsiteX241" fmla="*/ 1579590 w 11269336"/>
              <a:gd name="connsiteY241" fmla="*/ 2173680 h 2323145"/>
              <a:gd name="connsiteX242" fmla="*/ 1535601 w 11269336"/>
              <a:gd name="connsiteY242" fmla="*/ 2194590 h 2323145"/>
              <a:gd name="connsiteX243" fmla="*/ 1515594 w 11269336"/>
              <a:gd name="connsiteY243" fmla="*/ 2189622 h 2323145"/>
              <a:gd name="connsiteX244" fmla="*/ 1512113 w 11269336"/>
              <a:gd name="connsiteY244" fmla="*/ 2188534 h 2323145"/>
              <a:gd name="connsiteX245" fmla="*/ 1498838 w 11269336"/>
              <a:gd name="connsiteY245" fmla="*/ 2189213 h 2323145"/>
              <a:gd name="connsiteX246" fmla="*/ 1494279 w 11269336"/>
              <a:gd name="connsiteY246" fmla="*/ 2183112 h 2323145"/>
              <a:gd name="connsiteX247" fmla="*/ 1473714 w 11269336"/>
              <a:gd name="connsiteY247" fmla="*/ 2179625 h 2323145"/>
              <a:gd name="connsiteX248" fmla="*/ 1449503 w 11269336"/>
              <a:gd name="connsiteY248" fmla="*/ 2182633 h 2323145"/>
              <a:gd name="connsiteX249" fmla="*/ 1335495 w 11269336"/>
              <a:gd name="connsiteY249" fmla="*/ 2203940 h 2323145"/>
              <a:gd name="connsiteX250" fmla="*/ 1266687 w 11269336"/>
              <a:gd name="connsiteY250" fmla="*/ 2212688 h 2323145"/>
              <a:gd name="connsiteX251" fmla="*/ 1239614 w 11269336"/>
              <a:gd name="connsiteY251" fmla="*/ 2209727 h 2323145"/>
              <a:gd name="connsiteX252" fmla="*/ 1202436 w 11269336"/>
              <a:gd name="connsiteY252" fmla="*/ 2209817 h 2323145"/>
              <a:gd name="connsiteX253" fmla="*/ 1136097 w 11269336"/>
              <a:gd name="connsiteY253" fmla="*/ 2205112 h 2323145"/>
              <a:gd name="connsiteX254" fmla="*/ 1048229 w 11269336"/>
              <a:gd name="connsiteY254" fmla="*/ 2207249 h 2323145"/>
              <a:gd name="connsiteX255" fmla="*/ 988232 w 11269336"/>
              <a:gd name="connsiteY255" fmla="*/ 2235635 h 2323145"/>
              <a:gd name="connsiteX256" fmla="*/ 981959 w 11269336"/>
              <a:gd name="connsiteY256" fmla="*/ 2231607 h 2323145"/>
              <a:gd name="connsiteX257" fmla="*/ 938600 w 11269336"/>
              <a:gd name="connsiteY257" fmla="*/ 2238113 h 2323145"/>
              <a:gd name="connsiteX258" fmla="*/ 791788 w 11269336"/>
              <a:gd name="connsiteY258" fmla="*/ 2293224 h 2323145"/>
              <a:gd name="connsiteX259" fmla="*/ 706914 w 11269336"/>
              <a:gd name="connsiteY259" fmla="*/ 2305046 h 2323145"/>
              <a:gd name="connsiteX260" fmla="*/ 675971 w 11269336"/>
              <a:gd name="connsiteY260" fmla="*/ 2304030 h 2323145"/>
              <a:gd name="connsiteX261" fmla="*/ 624180 w 11269336"/>
              <a:gd name="connsiteY261" fmla="*/ 2302650 h 2323145"/>
              <a:gd name="connsiteX262" fmla="*/ 583453 w 11269336"/>
              <a:gd name="connsiteY262" fmla="*/ 2288788 h 2323145"/>
              <a:gd name="connsiteX263" fmla="*/ 540946 w 11269336"/>
              <a:gd name="connsiteY263" fmla="*/ 2292721 h 2323145"/>
              <a:gd name="connsiteX264" fmla="*/ 533680 w 11269336"/>
              <a:gd name="connsiteY264" fmla="*/ 2310233 h 2323145"/>
              <a:gd name="connsiteX265" fmla="*/ 487366 w 11269336"/>
              <a:gd name="connsiteY265" fmla="*/ 2309053 h 2323145"/>
              <a:gd name="connsiteX266" fmla="*/ 416820 w 11269336"/>
              <a:gd name="connsiteY266" fmla="*/ 2305443 h 2323145"/>
              <a:gd name="connsiteX267" fmla="*/ 376805 w 11269336"/>
              <a:gd name="connsiteY267" fmla="*/ 2307647 h 2323145"/>
              <a:gd name="connsiteX268" fmla="*/ 266777 w 11269336"/>
              <a:gd name="connsiteY268" fmla="*/ 2309012 h 2323145"/>
              <a:gd name="connsiteX269" fmla="*/ 156013 w 11269336"/>
              <a:gd name="connsiteY269" fmla="*/ 2306832 h 2323145"/>
              <a:gd name="connsiteX270" fmla="*/ 87258 w 11269336"/>
              <a:gd name="connsiteY270" fmla="*/ 2285511 h 2323145"/>
              <a:gd name="connsiteX271" fmla="*/ 23798 w 11269336"/>
              <a:gd name="connsiteY271" fmla="*/ 2281822 h 2323145"/>
              <a:gd name="connsiteX272" fmla="*/ 0 w 11269336"/>
              <a:gd name="connsiteY272" fmla="*/ 2285369 h 2323145"/>
              <a:gd name="connsiteX273" fmla="*/ 0 w 11269336"/>
              <a:gd name="connsiteY27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092476 w 11269336"/>
              <a:gd name="connsiteY139" fmla="*/ 2100737 h 2323145"/>
              <a:gd name="connsiteX140" fmla="*/ 5060738 w 11269336"/>
              <a:gd name="connsiteY140" fmla="*/ 208327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60738 w 11269336"/>
              <a:gd name="connsiteY140" fmla="*/ 208327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1048229 w 11269336"/>
              <a:gd name="connsiteY252" fmla="*/ 2207249 h 2323145"/>
              <a:gd name="connsiteX253" fmla="*/ 988232 w 11269336"/>
              <a:gd name="connsiteY253" fmla="*/ 2235635 h 2323145"/>
              <a:gd name="connsiteX254" fmla="*/ 981959 w 11269336"/>
              <a:gd name="connsiteY254" fmla="*/ 2231607 h 2323145"/>
              <a:gd name="connsiteX255" fmla="*/ 938600 w 11269336"/>
              <a:gd name="connsiteY255" fmla="*/ 2238113 h 2323145"/>
              <a:gd name="connsiteX256" fmla="*/ 791788 w 11269336"/>
              <a:gd name="connsiteY256" fmla="*/ 2293224 h 2323145"/>
              <a:gd name="connsiteX257" fmla="*/ 706914 w 11269336"/>
              <a:gd name="connsiteY257" fmla="*/ 2305046 h 2323145"/>
              <a:gd name="connsiteX258" fmla="*/ 675971 w 11269336"/>
              <a:gd name="connsiteY258" fmla="*/ 2304030 h 2323145"/>
              <a:gd name="connsiteX259" fmla="*/ 624180 w 11269336"/>
              <a:gd name="connsiteY259" fmla="*/ 2302650 h 2323145"/>
              <a:gd name="connsiteX260" fmla="*/ 583453 w 11269336"/>
              <a:gd name="connsiteY260" fmla="*/ 2288788 h 2323145"/>
              <a:gd name="connsiteX261" fmla="*/ 540946 w 11269336"/>
              <a:gd name="connsiteY261" fmla="*/ 2292721 h 2323145"/>
              <a:gd name="connsiteX262" fmla="*/ 533680 w 11269336"/>
              <a:gd name="connsiteY262" fmla="*/ 2310233 h 2323145"/>
              <a:gd name="connsiteX263" fmla="*/ 487366 w 11269336"/>
              <a:gd name="connsiteY263" fmla="*/ 2309053 h 2323145"/>
              <a:gd name="connsiteX264" fmla="*/ 416820 w 11269336"/>
              <a:gd name="connsiteY264" fmla="*/ 2305443 h 2323145"/>
              <a:gd name="connsiteX265" fmla="*/ 376805 w 11269336"/>
              <a:gd name="connsiteY265" fmla="*/ 2307647 h 2323145"/>
              <a:gd name="connsiteX266" fmla="*/ 266777 w 11269336"/>
              <a:gd name="connsiteY266" fmla="*/ 2309012 h 2323145"/>
              <a:gd name="connsiteX267" fmla="*/ 156013 w 11269336"/>
              <a:gd name="connsiteY267" fmla="*/ 2306832 h 2323145"/>
              <a:gd name="connsiteX268" fmla="*/ 87258 w 11269336"/>
              <a:gd name="connsiteY268" fmla="*/ 2285511 h 2323145"/>
              <a:gd name="connsiteX269" fmla="*/ 23798 w 11269336"/>
              <a:gd name="connsiteY269" fmla="*/ 2281822 h 2323145"/>
              <a:gd name="connsiteX270" fmla="*/ 0 w 11269336"/>
              <a:gd name="connsiteY270" fmla="*/ 2285369 h 2323145"/>
              <a:gd name="connsiteX271" fmla="*/ 0 w 11269336"/>
              <a:gd name="connsiteY27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1048229 w 11269336"/>
              <a:gd name="connsiteY252" fmla="*/ 2207249 h 2323145"/>
              <a:gd name="connsiteX253" fmla="*/ 988232 w 11269336"/>
              <a:gd name="connsiteY253" fmla="*/ 2235635 h 2323145"/>
              <a:gd name="connsiteX254" fmla="*/ 981959 w 11269336"/>
              <a:gd name="connsiteY254" fmla="*/ 2231607 h 2323145"/>
              <a:gd name="connsiteX255" fmla="*/ 938600 w 11269336"/>
              <a:gd name="connsiteY255" fmla="*/ 2238113 h 2323145"/>
              <a:gd name="connsiteX256" fmla="*/ 791788 w 11269336"/>
              <a:gd name="connsiteY256" fmla="*/ 2293224 h 2323145"/>
              <a:gd name="connsiteX257" fmla="*/ 706914 w 11269336"/>
              <a:gd name="connsiteY257" fmla="*/ 2305046 h 2323145"/>
              <a:gd name="connsiteX258" fmla="*/ 675971 w 11269336"/>
              <a:gd name="connsiteY258" fmla="*/ 2304030 h 2323145"/>
              <a:gd name="connsiteX259" fmla="*/ 624180 w 11269336"/>
              <a:gd name="connsiteY259" fmla="*/ 2302650 h 2323145"/>
              <a:gd name="connsiteX260" fmla="*/ 583453 w 11269336"/>
              <a:gd name="connsiteY260" fmla="*/ 2288788 h 2323145"/>
              <a:gd name="connsiteX261" fmla="*/ 540946 w 11269336"/>
              <a:gd name="connsiteY261" fmla="*/ 2292721 h 2323145"/>
              <a:gd name="connsiteX262" fmla="*/ 533680 w 11269336"/>
              <a:gd name="connsiteY262" fmla="*/ 2310233 h 2323145"/>
              <a:gd name="connsiteX263" fmla="*/ 487366 w 11269336"/>
              <a:gd name="connsiteY263" fmla="*/ 2309053 h 2323145"/>
              <a:gd name="connsiteX264" fmla="*/ 416820 w 11269336"/>
              <a:gd name="connsiteY264" fmla="*/ 2305443 h 2323145"/>
              <a:gd name="connsiteX265" fmla="*/ 376805 w 11269336"/>
              <a:gd name="connsiteY265" fmla="*/ 2307647 h 2323145"/>
              <a:gd name="connsiteX266" fmla="*/ 266777 w 11269336"/>
              <a:gd name="connsiteY266" fmla="*/ 2309012 h 2323145"/>
              <a:gd name="connsiteX267" fmla="*/ 156013 w 11269336"/>
              <a:gd name="connsiteY267" fmla="*/ 2306832 h 2323145"/>
              <a:gd name="connsiteX268" fmla="*/ 87258 w 11269336"/>
              <a:gd name="connsiteY268" fmla="*/ 2285511 h 2323145"/>
              <a:gd name="connsiteX269" fmla="*/ 23798 w 11269336"/>
              <a:gd name="connsiteY269" fmla="*/ 2281822 h 2323145"/>
              <a:gd name="connsiteX270" fmla="*/ 0 w 11269336"/>
              <a:gd name="connsiteY270" fmla="*/ 2285369 h 2323145"/>
              <a:gd name="connsiteX271" fmla="*/ 0 w 11269336"/>
              <a:gd name="connsiteY27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988232 w 11269336"/>
              <a:gd name="connsiteY252" fmla="*/ 2235635 h 2323145"/>
              <a:gd name="connsiteX253" fmla="*/ 981959 w 11269336"/>
              <a:gd name="connsiteY253" fmla="*/ 2231607 h 2323145"/>
              <a:gd name="connsiteX254" fmla="*/ 938600 w 11269336"/>
              <a:gd name="connsiteY254" fmla="*/ 2238113 h 2323145"/>
              <a:gd name="connsiteX255" fmla="*/ 791788 w 11269336"/>
              <a:gd name="connsiteY255" fmla="*/ 2293224 h 2323145"/>
              <a:gd name="connsiteX256" fmla="*/ 706914 w 11269336"/>
              <a:gd name="connsiteY256" fmla="*/ 2305046 h 2323145"/>
              <a:gd name="connsiteX257" fmla="*/ 675971 w 11269336"/>
              <a:gd name="connsiteY257" fmla="*/ 2304030 h 2323145"/>
              <a:gd name="connsiteX258" fmla="*/ 624180 w 11269336"/>
              <a:gd name="connsiteY258" fmla="*/ 2302650 h 2323145"/>
              <a:gd name="connsiteX259" fmla="*/ 583453 w 11269336"/>
              <a:gd name="connsiteY259" fmla="*/ 2288788 h 2323145"/>
              <a:gd name="connsiteX260" fmla="*/ 540946 w 11269336"/>
              <a:gd name="connsiteY260" fmla="*/ 2292721 h 2323145"/>
              <a:gd name="connsiteX261" fmla="*/ 533680 w 11269336"/>
              <a:gd name="connsiteY261" fmla="*/ 2310233 h 2323145"/>
              <a:gd name="connsiteX262" fmla="*/ 487366 w 11269336"/>
              <a:gd name="connsiteY262" fmla="*/ 2309053 h 2323145"/>
              <a:gd name="connsiteX263" fmla="*/ 416820 w 11269336"/>
              <a:gd name="connsiteY263" fmla="*/ 2305443 h 2323145"/>
              <a:gd name="connsiteX264" fmla="*/ 376805 w 11269336"/>
              <a:gd name="connsiteY264" fmla="*/ 2307647 h 2323145"/>
              <a:gd name="connsiteX265" fmla="*/ 266777 w 11269336"/>
              <a:gd name="connsiteY265" fmla="*/ 2309012 h 2323145"/>
              <a:gd name="connsiteX266" fmla="*/ 156013 w 11269336"/>
              <a:gd name="connsiteY266" fmla="*/ 2306832 h 2323145"/>
              <a:gd name="connsiteX267" fmla="*/ 87258 w 11269336"/>
              <a:gd name="connsiteY267" fmla="*/ 2285511 h 2323145"/>
              <a:gd name="connsiteX268" fmla="*/ 23798 w 11269336"/>
              <a:gd name="connsiteY268" fmla="*/ 2281822 h 2323145"/>
              <a:gd name="connsiteX269" fmla="*/ 0 w 11269336"/>
              <a:gd name="connsiteY269" fmla="*/ 2285369 h 2323145"/>
              <a:gd name="connsiteX270" fmla="*/ 0 w 11269336"/>
              <a:gd name="connsiteY270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266687 w 11269336"/>
              <a:gd name="connsiteY247" fmla="*/ 2212688 h 2323145"/>
              <a:gd name="connsiteX248" fmla="*/ 1239614 w 11269336"/>
              <a:gd name="connsiteY248" fmla="*/ 2209727 h 2323145"/>
              <a:gd name="connsiteX249" fmla="*/ 1202436 w 11269336"/>
              <a:gd name="connsiteY249" fmla="*/ 2209817 h 2323145"/>
              <a:gd name="connsiteX250" fmla="*/ 1136097 w 11269336"/>
              <a:gd name="connsiteY250" fmla="*/ 2205112 h 2323145"/>
              <a:gd name="connsiteX251" fmla="*/ 988232 w 11269336"/>
              <a:gd name="connsiteY251" fmla="*/ 2235635 h 2323145"/>
              <a:gd name="connsiteX252" fmla="*/ 981959 w 11269336"/>
              <a:gd name="connsiteY252" fmla="*/ 2231607 h 2323145"/>
              <a:gd name="connsiteX253" fmla="*/ 938600 w 11269336"/>
              <a:gd name="connsiteY253" fmla="*/ 2238113 h 2323145"/>
              <a:gd name="connsiteX254" fmla="*/ 791788 w 11269336"/>
              <a:gd name="connsiteY254" fmla="*/ 2293224 h 2323145"/>
              <a:gd name="connsiteX255" fmla="*/ 706914 w 11269336"/>
              <a:gd name="connsiteY255" fmla="*/ 2305046 h 2323145"/>
              <a:gd name="connsiteX256" fmla="*/ 675971 w 11269336"/>
              <a:gd name="connsiteY256" fmla="*/ 2304030 h 2323145"/>
              <a:gd name="connsiteX257" fmla="*/ 624180 w 11269336"/>
              <a:gd name="connsiteY257" fmla="*/ 2302650 h 2323145"/>
              <a:gd name="connsiteX258" fmla="*/ 583453 w 11269336"/>
              <a:gd name="connsiteY258" fmla="*/ 2288788 h 2323145"/>
              <a:gd name="connsiteX259" fmla="*/ 540946 w 11269336"/>
              <a:gd name="connsiteY259" fmla="*/ 2292721 h 2323145"/>
              <a:gd name="connsiteX260" fmla="*/ 533680 w 11269336"/>
              <a:gd name="connsiteY260" fmla="*/ 2310233 h 2323145"/>
              <a:gd name="connsiteX261" fmla="*/ 487366 w 11269336"/>
              <a:gd name="connsiteY261" fmla="*/ 2309053 h 2323145"/>
              <a:gd name="connsiteX262" fmla="*/ 416820 w 11269336"/>
              <a:gd name="connsiteY262" fmla="*/ 2305443 h 2323145"/>
              <a:gd name="connsiteX263" fmla="*/ 376805 w 11269336"/>
              <a:gd name="connsiteY263" fmla="*/ 2307647 h 2323145"/>
              <a:gd name="connsiteX264" fmla="*/ 266777 w 11269336"/>
              <a:gd name="connsiteY264" fmla="*/ 2309012 h 2323145"/>
              <a:gd name="connsiteX265" fmla="*/ 156013 w 11269336"/>
              <a:gd name="connsiteY265" fmla="*/ 2306832 h 2323145"/>
              <a:gd name="connsiteX266" fmla="*/ 87258 w 11269336"/>
              <a:gd name="connsiteY266" fmla="*/ 2285511 h 2323145"/>
              <a:gd name="connsiteX267" fmla="*/ 23798 w 11269336"/>
              <a:gd name="connsiteY267" fmla="*/ 2281822 h 2323145"/>
              <a:gd name="connsiteX268" fmla="*/ 0 w 11269336"/>
              <a:gd name="connsiteY268" fmla="*/ 2285369 h 2323145"/>
              <a:gd name="connsiteX269" fmla="*/ 0 w 11269336"/>
              <a:gd name="connsiteY269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197391 w 11269336"/>
              <a:gd name="connsiteY54" fmla="*/ 1107746 h 2323145"/>
              <a:gd name="connsiteX55" fmla="*/ 8081474 w 11269336"/>
              <a:gd name="connsiteY55" fmla="*/ 1130125 h 2323145"/>
              <a:gd name="connsiteX56" fmla="*/ 8053585 w 11269336"/>
              <a:gd name="connsiteY56" fmla="*/ 1129169 h 2323145"/>
              <a:gd name="connsiteX57" fmla="*/ 8038422 w 11269336"/>
              <a:gd name="connsiteY57" fmla="*/ 1119092 h 2323145"/>
              <a:gd name="connsiteX58" fmla="*/ 8029450 w 11269336"/>
              <a:gd name="connsiteY58" fmla="*/ 1125592 h 2323145"/>
              <a:gd name="connsiteX59" fmla="*/ 7959552 w 11269336"/>
              <a:gd name="connsiteY59" fmla="*/ 1140188 h 2323145"/>
              <a:gd name="connsiteX60" fmla="*/ 7914188 w 11269336"/>
              <a:gd name="connsiteY60" fmla="*/ 1150862 h 2323145"/>
              <a:gd name="connsiteX61" fmla="*/ 7914918 w 11269336"/>
              <a:gd name="connsiteY61" fmla="*/ 1168758 h 2323145"/>
              <a:gd name="connsiteX62" fmla="*/ 7875510 w 11269336"/>
              <a:gd name="connsiteY62" fmla="*/ 1183153 h 2323145"/>
              <a:gd name="connsiteX63" fmla="*/ 7829932 w 11269336"/>
              <a:gd name="connsiteY63" fmla="*/ 1180782 h 2323145"/>
              <a:gd name="connsiteX64" fmla="*/ 7779182 w 11269336"/>
              <a:gd name="connsiteY64" fmla="*/ 1192665 h 2323145"/>
              <a:gd name="connsiteX65" fmla="*/ 7748774 w 11269336"/>
              <a:gd name="connsiteY65" fmla="*/ 1199586 h 2323145"/>
              <a:gd name="connsiteX66" fmla="*/ 7671846 w 11269336"/>
              <a:gd name="connsiteY66" fmla="*/ 1231966 h 2323145"/>
              <a:gd name="connsiteX67" fmla="*/ 7554146 w 11269336"/>
              <a:gd name="connsiteY67" fmla="*/ 1319748 h 2323145"/>
              <a:gd name="connsiteX68" fmla="*/ 7515052 w 11269336"/>
              <a:gd name="connsiteY68" fmla="*/ 1336718 h 2323145"/>
              <a:gd name="connsiteX69" fmla="*/ 7507193 w 11269336"/>
              <a:gd name="connsiteY69" fmla="*/ 1334617 h 2323145"/>
              <a:gd name="connsiteX70" fmla="*/ 7461694 w 11269336"/>
              <a:gd name="connsiteY70" fmla="*/ 1375866 h 2323145"/>
              <a:gd name="connsiteX71" fmla="*/ 7377571 w 11269336"/>
              <a:gd name="connsiteY71" fmla="*/ 1400128 h 2323145"/>
              <a:gd name="connsiteX72" fmla="*/ 7311261 w 11269336"/>
              <a:gd name="connsiteY72" fmla="*/ 1412652 h 2323145"/>
              <a:gd name="connsiteX73" fmla="*/ 7275307 w 11269336"/>
              <a:gd name="connsiteY73" fmla="*/ 1422171 h 2323145"/>
              <a:gd name="connsiteX74" fmla="*/ 7247783 w 11269336"/>
              <a:gd name="connsiteY74" fmla="*/ 1426330 h 2323145"/>
              <a:gd name="connsiteX75" fmla="*/ 7185047 w 11269336"/>
              <a:gd name="connsiteY75" fmla="*/ 1451812 h 2323145"/>
              <a:gd name="connsiteX76" fmla="*/ 7084117 w 11269336"/>
              <a:gd name="connsiteY76" fmla="*/ 1500281 h 2323145"/>
              <a:gd name="connsiteX77" fmla="*/ 7062011 w 11269336"/>
              <a:gd name="connsiteY77" fmla="*/ 1509183 h 2323145"/>
              <a:gd name="connsiteX78" fmla="*/ 7040555 w 11269336"/>
              <a:gd name="connsiteY78" fmla="*/ 1511207 h 2323145"/>
              <a:gd name="connsiteX79" fmla="*/ 7033438 w 11269336"/>
              <a:gd name="connsiteY79" fmla="*/ 1506772 h 2323145"/>
              <a:gd name="connsiteX80" fmla="*/ 7020886 w 11269336"/>
              <a:gd name="connsiteY80" fmla="*/ 1510764 h 2323145"/>
              <a:gd name="connsiteX81" fmla="*/ 7017033 w 11269336"/>
              <a:gd name="connsiteY81" fmla="*/ 1510650 h 2323145"/>
              <a:gd name="connsiteX82" fmla="*/ 6995460 w 11269336"/>
              <a:gd name="connsiteY82" fmla="*/ 1511173 h 2323145"/>
              <a:gd name="connsiteX83" fmla="*/ 6962144 w 11269336"/>
              <a:gd name="connsiteY83" fmla="*/ 1541508 h 2323145"/>
              <a:gd name="connsiteX84" fmla="*/ 6910674 w 11269336"/>
              <a:gd name="connsiteY84" fmla="*/ 1554793 h 2323145"/>
              <a:gd name="connsiteX85" fmla="*/ 6732152 w 11269336"/>
              <a:gd name="connsiteY85" fmla="*/ 1642538 h 2323145"/>
              <a:gd name="connsiteX86" fmla="*/ 6694106 w 11269336"/>
              <a:gd name="connsiteY86" fmla="*/ 1632377 h 2323145"/>
              <a:gd name="connsiteX87" fmla="*/ 6617223 w 11269336"/>
              <a:gd name="connsiteY87" fmla="*/ 1659889 h 2323145"/>
              <a:gd name="connsiteX88" fmla="*/ 6521138 w 11269336"/>
              <a:gd name="connsiteY88" fmla="*/ 1744340 h 2323145"/>
              <a:gd name="connsiteX89" fmla="*/ 6380677 w 11269336"/>
              <a:gd name="connsiteY89" fmla="*/ 1796883 h 2323145"/>
              <a:gd name="connsiteX90" fmla="*/ 6374897 w 11269336"/>
              <a:gd name="connsiteY90" fmla="*/ 1809910 h 2323145"/>
              <a:gd name="connsiteX91" fmla="*/ 6364545 w 11269336"/>
              <a:gd name="connsiteY91" fmla="*/ 1820090 h 2323145"/>
              <a:gd name="connsiteX92" fmla="*/ 6362126 w 11269336"/>
              <a:gd name="connsiteY92" fmla="*/ 1819991 h 2323145"/>
              <a:gd name="connsiteX93" fmla="*/ 6346673 w 11269336"/>
              <a:gd name="connsiteY93" fmla="*/ 1827824 h 2323145"/>
              <a:gd name="connsiteX94" fmla="*/ 6345588 w 11269336"/>
              <a:gd name="connsiteY94" fmla="*/ 1832232 h 2323145"/>
              <a:gd name="connsiteX95" fmla="*/ 6335708 w 11269336"/>
              <a:gd name="connsiteY95" fmla="*/ 1838451 h 2323145"/>
              <a:gd name="connsiteX96" fmla="*/ 6318182 w 11269336"/>
              <a:gd name="connsiteY96" fmla="*/ 1852975 h 2323145"/>
              <a:gd name="connsiteX97" fmla="*/ 6313084 w 11269336"/>
              <a:gd name="connsiteY97" fmla="*/ 1853561 h 2323145"/>
              <a:gd name="connsiteX98" fmla="*/ 6283816 w 11269336"/>
              <a:gd name="connsiteY98" fmla="*/ 1872148 h 2323145"/>
              <a:gd name="connsiteX99" fmla="*/ 6282550 w 11269336"/>
              <a:gd name="connsiteY99" fmla="*/ 1871392 h 2323145"/>
              <a:gd name="connsiteX100" fmla="*/ 6270527 w 11269336"/>
              <a:gd name="connsiteY100" fmla="*/ 1872208 h 2323145"/>
              <a:gd name="connsiteX101" fmla="*/ 6249518 w 11269336"/>
              <a:gd name="connsiteY101" fmla="*/ 1876079 h 2323145"/>
              <a:gd name="connsiteX102" fmla="*/ 6190386 w 11269336"/>
              <a:gd name="connsiteY102" fmla="*/ 1872478 h 2323145"/>
              <a:gd name="connsiteX103" fmla="*/ 6159777 w 11269336"/>
              <a:gd name="connsiteY103" fmla="*/ 1891745 h 2323145"/>
              <a:gd name="connsiteX104" fmla="*/ 6153131 w 11269336"/>
              <a:gd name="connsiteY104" fmla="*/ 1895079 h 2323145"/>
              <a:gd name="connsiteX105" fmla="*/ 6152798 w 11269336"/>
              <a:gd name="connsiteY105" fmla="*/ 1894920 h 2323145"/>
              <a:gd name="connsiteX106" fmla="*/ 6145388 w 11269336"/>
              <a:gd name="connsiteY106" fmla="*/ 1897990 h 2323145"/>
              <a:gd name="connsiteX107" fmla="*/ 6141014 w 11269336"/>
              <a:gd name="connsiteY107" fmla="*/ 1901155 h 2323145"/>
              <a:gd name="connsiteX108" fmla="*/ 6128122 w 11269336"/>
              <a:gd name="connsiteY108" fmla="*/ 1907623 h 2323145"/>
              <a:gd name="connsiteX109" fmla="*/ 6122351 w 11269336"/>
              <a:gd name="connsiteY109" fmla="*/ 1908359 h 2323145"/>
              <a:gd name="connsiteX110" fmla="*/ 6064750 w 11269336"/>
              <a:gd name="connsiteY110" fmla="*/ 1896394 h 2323145"/>
              <a:gd name="connsiteX111" fmla="*/ 5964230 w 11269336"/>
              <a:gd name="connsiteY111" fmla="*/ 1910038 h 2323145"/>
              <a:gd name="connsiteX112" fmla="*/ 5865399 w 11269336"/>
              <a:gd name="connsiteY112" fmla="*/ 1926966 h 2323145"/>
              <a:gd name="connsiteX113" fmla="*/ 5829951 w 11269336"/>
              <a:gd name="connsiteY113" fmla="*/ 1934755 h 2323145"/>
              <a:gd name="connsiteX114" fmla="*/ 5765285 w 11269336"/>
              <a:gd name="connsiteY114" fmla="*/ 1941322 h 2323145"/>
              <a:gd name="connsiteX115" fmla="*/ 5734750 w 11269336"/>
              <a:gd name="connsiteY115" fmla="*/ 1939793 h 2323145"/>
              <a:gd name="connsiteX116" fmla="*/ 5733569 w 11269336"/>
              <a:gd name="connsiteY116" fmla="*/ 1940505 h 2323145"/>
              <a:gd name="connsiteX117" fmla="*/ 5730329 w 11269336"/>
              <a:gd name="connsiteY117" fmla="*/ 1937845 h 2323145"/>
              <a:gd name="connsiteX118" fmla="*/ 5724661 w 11269336"/>
              <a:gd name="connsiteY118" fmla="*/ 1937455 h 2323145"/>
              <a:gd name="connsiteX119" fmla="*/ 5710186 w 11269336"/>
              <a:gd name="connsiteY119" fmla="*/ 1941370 h 2323145"/>
              <a:gd name="connsiteX120" fmla="*/ 5704910 w 11269336"/>
              <a:gd name="connsiteY120" fmla="*/ 1943663 h 2323145"/>
              <a:gd name="connsiteX121" fmla="*/ 5696836 w 11269336"/>
              <a:gd name="connsiteY121" fmla="*/ 1945271 h 2323145"/>
              <a:gd name="connsiteX122" fmla="*/ 5696583 w 11269336"/>
              <a:gd name="connsiteY122" fmla="*/ 1945050 h 2323145"/>
              <a:gd name="connsiteX123" fmla="*/ 5689123 w 11269336"/>
              <a:gd name="connsiteY123" fmla="*/ 1947067 h 2323145"/>
              <a:gd name="connsiteX124" fmla="*/ 5653291 w 11269336"/>
              <a:gd name="connsiteY124" fmla="*/ 1960245 h 2323145"/>
              <a:gd name="connsiteX125" fmla="*/ 5599385 w 11269336"/>
              <a:gd name="connsiteY125" fmla="*/ 1945198 h 2323145"/>
              <a:gd name="connsiteX126" fmla="*/ 5578300 w 11269336"/>
              <a:gd name="connsiteY126" fmla="*/ 1944963 h 2323145"/>
              <a:gd name="connsiteX127" fmla="*/ 5566758 w 11269336"/>
              <a:gd name="connsiteY127" fmla="*/ 1943441 h 2323145"/>
              <a:gd name="connsiteX128" fmla="*/ 5565857 w 11269336"/>
              <a:gd name="connsiteY128" fmla="*/ 1942445 h 2323145"/>
              <a:gd name="connsiteX129" fmla="*/ 5531534 w 11269336"/>
              <a:gd name="connsiteY129" fmla="*/ 1955208 h 2323145"/>
              <a:gd name="connsiteX130" fmla="*/ 5526552 w 11269336"/>
              <a:gd name="connsiteY130" fmla="*/ 1954799 h 2323145"/>
              <a:gd name="connsiteX131" fmla="*/ 5504723 w 11269336"/>
              <a:gd name="connsiteY131" fmla="*/ 1965811 h 2323145"/>
              <a:gd name="connsiteX132" fmla="*/ 5493156 w 11269336"/>
              <a:gd name="connsiteY132" fmla="*/ 1970063 h 2323145"/>
              <a:gd name="connsiteX133" fmla="*/ 5490486 w 11269336"/>
              <a:gd name="connsiteY133" fmla="*/ 1974227 h 2323145"/>
              <a:gd name="connsiteX134" fmla="*/ 5473107 w 11269336"/>
              <a:gd name="connsiteY134" fmla="*/ 1979001 h 2323145"/>
              <a:gd name="connsiteX135" fmla="*/ 5470885 w 11269336"/>
              <a:gd name="connsiteY135" fmla="*/ 1978432 h 2323145"/>
              <a:gd name="connsiteX136" fmla="*/ 5457393 w 11269336"/>
              <a:gd name="connsiteY136" fmla="*/ 1986525 h 2323145"/>
              <a:gd name="connsiteX137" fmla="*/ 5447102 w 11269336"/>
              <a:gd name="connsiteY137" fmla="*/ 1998329 h 2323145"/>
              <a:gd name="connsiteX138" fmla="*/ 5159151 w 11269336"/>
              <a:gd name="connsiteY138" fmla="*/ 2029640 h 2323145"/>
              <a:gd name="connsiteX139" fmla="*/ 5041688 w 11269336"/>
              <a:gd name="connsiteY139" fmla="*/ 2022334 h 2323145"/>
              <a:gd name="connsiteX140" fmla="*/ 4860988 w 11269336"/>
              <a:gd name="connsiteY140" fmla="*/ 2135698 h 2323145"/>
              <a:gd name="connsiteX141" fmla="*/ 4807902 w 11269336"/>
              <a:gd name="connsiteY141" fmla="*/ 2138894 h 2323145"/>
              <a:gd name="connsiteX142" fmla="*/ 4765388 w 11269336"/>
              <a:gd name="connsiteY142" fmla="*/ 2162525 h 2323145"/>
              <a:gd name="connsiteX143" fmla="*/ 4745033 w 11269336"/>
              <a:gd name="connsiteY143" fmla="*/ 2158859 h 2323145"/>
              <a:gd name="connsiteX144" fmla="*/ 4741475 w 11269336"/>
              <a:gd name="connsiteY144" fmla="*/ 2157998 h 2323145"/>
              <a:gd name="connsiteX145" fmla="*/ 4728247 w 11269336"/>
              <a:gd name="connsiteY145" fmla="*/ 2159526 h 2323145"/>
              <a:gd name="connsiteX146" fmla="*/ 4723263 w 11269336"/>
              <a:gd name="connsiteY146" fmla="*/ 2153742 h 2323145"/>
              <a:gd name="connsiteX147" fmla="*/ 4702453 w 11269336"/>
              <a:gd name="connsiteY147" fmla="*/ 2151586 h 2323145"/>
              <a:gd name="connsiteX148" fmla="*/ 4678455 w 11269336"/>
              <a:gd name="connsiteY148" fmla="*/ 2156131 h 2323145"/>
              <a:gd name="connsiteX149" fmla="*/ 4593061 w 11269336"/>
              <a:gd name="connsiteY149" fmla="*/ 2171597 h 2323145"/>
              <a:gd name="connsiteX150" fmla="*/ 4579902 w 11269336"/>
              <a:gd name="connsiteY150" fmla="*/ 2177927 h 2323145"/>
              <a:gd name="connsiteX151" fmla="*/ 4533444 w 11269336"/>
              <a:gd name="connsiteY151" fmla="*/ 2181200 h 2323145"/>
              <a:gd name="connsiteX152" fmla="*/ 4492832 w 11269336"/>
              <a:gd name="connsiteY152" fmla="*/ 2188033 h 2323145"/>
              <a:gd name="connsiteX153" fmla="*/ 4467257 w 11269336"/>
              <a:gd name="connsiteY153" fmla="*/ 2196121 h 2323145"/>
              <a:gd name="connsiteX154" fmla="*/ 4459937 w 11269336"/>
              <a:gd name="connsiteY154" fmla="*/ 2195182 h 2323145"/>
              <a:gd name="connsiteX155" fmla="*/ 4433312 w 11269336"/>
              <a:gd name="connsiteY155" fmla="*/ 2199004 h 2323145"/>
              <a:gd name="connsiteX156" fmla="*/ 4420601 w 11269336"/>
              <a:gd name="connsiteY156" fmla="*/ 2205158 h 2323145"/>
              <a:gd name="connsiteX157" fmla="*/ 4405765 w 11269336"/>
              <a:gd name="connsiteY157" fmla="*/ 2199902 h 2323145"/>
              <a:gd name="connsiteX158" fmla="*/ 4401354 w 11269336"/>
              <a:gd name="connsiteY158" fmla="*/ 2194745 h 2323145"/>
              <a:gd name="connsiteX159" fmla="*/ 4383151 w 11269336"/>
              <a:gd name="connsiteY159" fmla="*/ 2201140 h 2323145"/>
              <a:gd name="connsiteX160" fmla="*/ 4366646 w 11269336"/>
              <a:gd name="connsiteY160" fmla="*/ 2198564 h 2323145"/>
              <a:gd name="connsiteX161" fmla="*/ 4354009 w 11269336"/>
              <a:gd name="connsiteY161" fmla="*/ 2204984 h 2323145"/>
              <a:gd name="connsiteX162" fmla="*/ 4348284 w 11269336"/>
              <a:gd name="connsiteY162" fmla="*/ 2205270 h 2323145"/>
              <a:gd name="connsiteX163" fmla="*/ 4333906 w 11269336"/>
              <a:gd name="connsiteY163" fmla="*/ 2205251 h 2323145"/>
              <a:gd name="connsiteX164" fmla="*/ 4308819 w 11269336"/>
              <a:gd name="connsiteY164" fmla="*/ 2203822 h 2323145"/>
              <a:gd name="connsiteX165" fmla="*/ 4301210 w 11269336"/>
              <a:gd name="connsiteY165" fmla="*/ 2204456 h 2323145"/>
              <a:gd name="connsiteX166" fmla="*/ 4283095 w 11269336"/>
              <a:gd name="connsiteY166" fmla="*/ 2198177 h 2323145"/>
              <a:gd name="connsiteX167" fmla="*/ 4250119 w 11269336"/>
              <a:gd name="connsiteY167" fmla="*/ 2196342 h 2323145"/>
              <a:gd name="connsiteX168" fmla="*/ 4189203 w 11269336"/>
              <a:gd name="connsiteY168" fmla="*/ 2178994 h 2323145"/>
              <a:gd name="connsiteX169" fmla="*/ 4154035 w 11269336"/>
              <a:gd name="connsiteY169" fmla="*/ 2171950 h 2323145"/>
              <a:gd name="connsiteX170" fmla="*/ 4129569 w 11269336"/>
              <a:gd name="connsiteY170" fmla="*/ 2163850 h 2323145"/>
              <a:gd name="connsiteX171" fmla="*/ 4061250 w 11269336"/>
              <a:gd name="connsiteY171" fmla="*/ 2159236 h 2323145"/>
              <a:gd name="connsiteX172" fmla="*/ 3945480 w 11269336"/>
              <a:gd name="connsiteY172" fmla="*/ 2158279 h 2323145"/>
              <a:gd name="connsiteX173" fmla="*/ 3921468 w 11269336"/>
              <a:gd name="connsiteY173" fmla="*/ 2156588 h 2323145"/>
              <a:gd name="connsiteX174" fmla="*/ 3903348 w 11269336"/>
              <a:gd name="connsiteY174" fmla="*/ 2149220 h 2323145"/>
              <a:gd name="connsiteX175" fmla="*/ 3901342 w 11269336"/>
              <a:gd name="connsiteY175" fmla="*/ 2142355 h 2323145"/>
              <a:gd name="connsiteX176" fmla="*/ 3888539 w 11269336"/>
              <a:gd name="connsiteY176" fmla="*/ 2140476 h 2323145"/>
              <a:gd name="connsiteX177" fmla="*/ 3885662 w 11269336"/>
              <a:gd name="connsiteY177" fmla="*/ 2138740 h 2323145"/>
              <a:gd name="connsiteX178" fmla="*/ 3868627 w 11269336"/>
              <a:gd name="connsiteY178" fmla="*/ 2130023 h 2323145"/>
              <a:gd name="connsiteX179" fmla="*/ 3819177 w 11269336"/>
              <a:gd name="connsiteY179" fmla="*/ 2142111 h 2323145"/>
              <a:gd name="connsiteX180" fmla="*/ 3769100 w 11269336"/>
              <a:gd name="connsiteY180" fmla="*/ 2131731 h 2323145"/>
              <a:gd name="connsiteX181" fmla="*/ 3562752 w 11269336"/>
              <a:gd name="connsiteY181" fmla="*/ 2131785 h 2323145"/>
              <a:gd name="connsiteX182" fmla="*/ 3541402 w 11269336"/>
              <a:gd name="connsiteY182" fmla="*/ 2106821 h 2323145"/>
              <a:gd name="connsiteX183" fmla="*/ 3365341 w 11269336"/>
              <a:gd name="connsiteY183" fmla="*/ 2077638 h 2323145"/>
              <a:gd name="connsiteX184" fmla="*/ 3170922 w 11269336"/>
              <a:gd name="connsiteY184" fmla="*/ 2115957 h 2323145"/>
              <a:gd name="connsiteX185" fmla="*/ 3156256 w 11269336"/>
              <a:gd name="connsiteY185" fmla="*/ 2124773 h 2323145"/>
              <a:gd name="connsiteX186" fmla="*/ 3140298 w 11269336"/>
              <a:gd name="connsiteY186" fmla="*/ 2129182 h 2323145"/>
              <a:gd name="connsiteX187" fmla="*/ 3138514 w 11269336"/>
              <a:gd name="connsiteY187" fmla="*/ 2128069 h 2323145"/>
              <a:gd name="connsiteX188" fmla="*/ 3120467 w 11269336"/>
              <a:gd name="connsiteY188" fmla="*/ 2128281 h 2323145"/>
              <a:gd name="connsiteX189" fmla="*/ 3116175 w 11269336"/>
              <a:gd name="connsiteY189" fmla="*/ 2131633 h 2323145"/>
              <a:gd name="connsiteX190" fmla="*/ 3103685 w 11269336"/>
              <a:gd name="connsiteY190" fmla="*/ 2132814 h 2323145"/>
              <a:gd name="connsiteX191" fmla="*/ 3078794 w 11269336"/>
              <a:gd name="connsiteY191" fmla="*/ 2137935 h 2323145"/>
              <a:gd name="connsiteX192" fmla="*/ 3074407 w 11269336"/>
              <a:gd name="connsiteY192" fmla="*/ 2136274 h 2323145"/>
              <a:gd name="connsiteX193" fmla="*/ 3037285 w 11269336"/>
              <a:gd name="connsiteY193" fmla="*/ 2139919 h 2323145"/>
              <a:gd name="connsiteX194" fmla="*/ 3036901 w 11269336"/>
              <a:gd name="connsiteY194" fmla="*/ 2138726 h 2323145"/>
              <a:gd name="connsiteX195" fmla="*/ 3026996 w 11269336"/>
              <a:gd name="connsiteY195" fmla="*/ 2134322 h 2323145"/>
              <a:gd name="connsiteX196" fmla="*/ 3007772 w 11269336"/>
              <a:gd name="connsiteY196" fmla="*/ 2128742 h 2323145"/>
              <a:gd name="connsiteX197" fmla="*/ 2965030 w 11269336"/>
              <a:gd name="connsiteY197" fmla="*/ 2100494 h 2323145"/>
              <a:gd name="connsiteX198" fmla="*/ 2926342 w 11269336"/>
              <a:gd name="connsiteY198" fmla="*/ 2104155 h 2323145"/>
              <a:gd name="connsiteX199" fmla="*/ 2918608 w 11269336"/>
              <a:gd name="connsiteY199" fmla="*/ 2104215 h 2323145"/>
              <a:gd name="connsiteX200" fmla="*/ 2918475 w 11269336"/>
              <a:gd name="connsiteY200" fmla="*/ 2103937 h 2323145"/>
              <a:gd name="connsiteX201" fmla="*/ 2910360 w 11269336"/>
              <a:gd name="connsiteY201" fmla="*/ 2103444 h 2323145"/>
              <a:gd name="connsiteX202" fmla="*/ 2904507 w 11269336"/>
              <a:gd name="connsiteY202" fmla="*/ 2104326 h 2323145"/>
              <a:gd name="connsiteX203" fmla="*/ 2889503 w 11269336"/>
              <a:gd name="connsiteY203" fmla="*/ 2104443 h 2323145"/>
              <a:gd name="connsiteX204" fmla="*/ 2884480 w 11269336"/>
              <a:gd name="connsiteY204" fmla="*/ 2102626 h 2323145"/>
              <a:gd name="connsiteX205" fmla="*/ 2882689 w 11269336"/>
              <a:gd name="connsiteY205" fmla="*/ 2099228 h 2323145"/>
              <a:gd name="connsiteX206" fmla="*/ 2881291 w 11269336"/>
              <a:gd name="connsiteY206" fmla="*/ 2099618 h 2323145"/>
              <a:gd name="connsiteX207" fmla="*/ 2853979 w 11269336"/>
              <a:gd name="connsiteY207" fmla="*/ 2090388 h 2323145"/>
              <a:gd name="connsiteX208" fmla="*/ 2791790 w 11269336"/>
              <a:gd name="connsiteY208" fmla="*/ 2080332 h 2323145"/>
              <a:gd name="connsiteX209" fmla="*/ 2755844 w 11269336"/>
              <a:gd name="connsiteY209" fmla="*/ 2078874 h 2323145"/>
              <a:gd name="connsiteX210" fmla="*/ 2657742 w 11269336"/>
              <a:gd name="connsiteY210" fmla="*/ 2070179 h 2323145"/>
              <a:gd name="connsiteX211" fmla="*/ 2559549 w 11269336"/>
              <a:gd name="connsiteY211" fmla="*/ 2057873 h 2323145"/>
              <a:gd name="connsiteX212" fmla="*/ 2512054 w 11269336"/>
              <a:gd name="connsiteY212" fmla="*/ 2031671 h 2323145"/>
              <a:gd name="connsiteX213" fmla="*/ 2506437 w 11269336"/>
              <a:gd name="connsiteY213" fmla="*/ 2030918 h 2323145"/>
              <a:gd name="connsiteX214" fmla="*/ 2491752 w 11269336"/>
              <a:gd name="connsiteY214" fmla="*/ 2033906 h 2323145"/>
              <a:gd name="connsiteX215" fmla="*/ 2486338 w 11269336"/>
              <a:gd name="connsiteY215" fmla="*/ 2035862 h 2323145"/>
              <a:gd name="connsiteX216" fmla="*/ 2478186 w 11269336"/>
              <a:gd name="connsiteY216" fmla="*/ 2036953 h 2323145"/>
              <a:gd name="connsiteX217" fmla="*/ 2477950 w 11269336"/>
              <a:gd name="connsiteY217" fmla="*/ 2036715 h 2323145"/>
              <a:gd name="connsiteX218" fmla="*/ 2470381 w 11269336"/>
              <a:gd name="connsiteY218" fmla="*/ 2038256 h 2323145"/>
              <a:gd name="connsiteX219" fmla="*/ 2433781 w 11269336"/>
              <a:gd name="connsiteY219" fmla="*/ 2049140 h 2323145"/>
              <a:gd name="connsiteX220" fmla="*/ 2381172 w 11269336"/>
              <a:gd name="connsiteY220" fmla="*/ 2030645 h 2323145"/>
              <a:gd name="connsiteX221" fmla="*/ 2360198 w 11269336"/>
              <a:gd name="connsiteY221" fmla="*/ 2029059 h 2323145"/>
              <a:gd name="connsiteX222" fmla="*/ 2348815 w 11269336"/>
              <a:gd name="connsiteY222" fmla="*/ 2026798 h 2323145"/>
              <a:gd name="connsiteX223" fmla="*/ 2347988 w 11269336"/>
              <a:gd name="connsiteY223" fmla="*/ 2025745 h 2323145"/>
              <a:gd name="connsiteX224" fmla="*/ 2312920 w 11269336"/>
              <a:gd name="connsiteY224" fmla="*/ 2036311 h 2323145"/>
              <a:gd name="connsiteX225" fmla="*/ 2307986 w 11269336"/>
              <a:gd name="connsiteY225" fmla="*/ 2035583 h 2323145"/>
              <a:gd name="connsiteX226" fmla="*/ 2285481 w 11269336"/>
              <a:gd name="connsiteY226" fmla="*/ 2045197 h 2323145"/>
              <a:gd name="connsiteX227" fmla="*/ 2273666 w 11269336"/>
              <a:gd name="connsiteY227" fmla="*/ 2048710 h 2323145"/>
              <a:gd name="connsiteX228" fmla="*/ 2270719 w 11269336"/>
              <a:gd name="connsiteY228" fmla="*/ 2052702 h 2323145"/>
              <a:gd name="connsiteX229" fmla="*/ 2253080 w 11269336"/>
              <a:gd name="connsiteY229" fmla="*/ 2056363 h 2323145"/>
              <a:gd name="connsiteX230" fmla="*/ 2250906 w 11269336"/>
              <a:gd name="connsiteY230" fmla="*/ 2055654 h 2323145"/>
              <a:gd name="connsiteX231" fmla="*/ 2236905 w 11269336"/>
              <a:gd name="connsiteY231" fmla="*/ 2062882 h 2323145"/>
              <a:gd name="connsiteX232" fmla="*/ 2225830 w 11269336"/>
              <a:gd name="connsiteY232" fmla="*/ 2074027 h 2323145"/>
              <a:gd name="connsiteX233" fmla="*/ 2073776 w 11269336"/>
              <a:gd name="connsiteY233" fmla="*/ 2089244 h 2323145"/>
              <a:gd name="connsiteX234" fmla="*/ 1948256 w 11269336"/>
              <a:gd name="connsiteY234" fmla="*/ 2146616 h 2323145"/>
              <a:gd name="connsiteX235" fmla="*/ 1865582 w 11269336"/>
              <a:gd name="connsiteY235" fmla="*/ 2153738 h 2323145"/>
              <a:gd name="connsiteX236" fmla="*/ 1835210 w 11269336"/>
              <a:gd name="connsiteY236" fmla="*/ 2134244 h 2323145"/>
              <a:gd name="connsiteX237" fmla="*/ 1632661 w 11269336"/>
              <a:gd name="connsiteY237" fmla="*/ 2173882 h 2323145"/>
              <a:gd name="connsiteX238" fmla="*/ 1579590 w 11269336"/>
              <a:gd name="connsiteY238" fmla="*/ 2173680 h 2323145"/>
              <a:gd name="connsiteX239" fmla="*/ 1535601 w 11269336"/>
              <a:gd name="connsiteY239" fmla="*/ 2194590 h 2323145"/>
              <a:gd name="connsiteX240" fmla="*/ 1515594 w 11269336"/>
              <a:gd name="connsiteY240" fmla="*/ 2189622 h 2323145"/>
              <a:gd name="connsiteX241" fmla="*/ 1512113 w 11269336"/>
              <a:gd name="connsiteY241" fmla="*/ 2188534 h 2323145"/>
              <a:gd name="connsiteX242" fmla="*/ 1498838 w 11269336"/>
              <a:gd name="connsiteY242" fmla="*/ 2189213 h 2323145"/>
              <a:gd name="connsiteX243" fmla="*/ 1494279 w 11269336"/>
              <a:gd name="connsiteY243" fmla="*/ 2183112 h 2323145"/>
              <a:gd name="connsiteX244" fmla="*/ 1473714 w 11269336"/>
              <a:gd name="connsiteY244" fmla="*/ 2179625 h 2323145"/>
              <a:gd name="connsiteX245" fmla="*/ 1449503 w 11269336"/>
              <a:gd name="connsiteY245" fmla="*/ 2182633 h 2323145"/>
              <a:gd name="connsiteX246" fmla="*/ 1266687 w 11269336"/>
              <a:gd name="connsiteY246" fmla="*/ 2212688 h 2323145"/>
              <a:gd name="connsiteX247" fmla="*/ 1239614 w 11269336"/>
              <a:gd name="connsiteY247" fmla="*/ 2209727 h 2323145"/>
              <a:gd name="connsiteX248" fmla="*/ 1202436 w 11269336"/>
              <a:gd name="connsiteY248" fmla="*/ 2209817 h 2323145"/>
              <a:gd name="connsiteX249" fmla="*/ 1136097 w 11269336"/>
              <a:gd name="connsiteY249" fmla="*/ 2205112 h 2323145"/>
              <a:gd name="connsiteX250" fmla="*/ 988232 w 11269336"/>
              <a:gd name="connsiteY250" fmla="*/ 2235635 h 2323145"/>
              <a:gd name="connsiteX251" fmla="*/ 981959 w 11269336"/>
              <a:gd name="connsiteY251" fmla="*/ 2231607 h 2323145"/>
              <a:gd name="connsiteX252" fmla="*/ 938600 w 11269336"/>
              <a:gd name="connsiteY252" fmla="*/ 2238113 h 2323145"/>
              <a:gd name="connsiteX253" fmla="*/ 791788 w 11269336"/>
              <a:gd name="connsiteY253" fmla="*/ 2293224 h 2323145"/>
              <a:gd name="connsiteX254" fmla="*/ 706914 w 11269336"/>
              <a:gd name="connsiteY254" fmla="*/ 2305046 h 2323145"/>
              <a:gd name="connsiteX255" fmla="*/ 675971 w 11269336"/>
              <a:gd name="connsiteY255" fmla="*/ 2304030 h 2323145"/>
              <a:gd name="connsiteX256" fmla="*/ 624180 w 11269336"/>
              <a:gd name="connsiteY256" fmla="*/ 2302650 h 2323145"/>
              <a:gd name="connsiteX257" fmla="*/ 583453 w 11269336"/>
              <a:gd name="connsiteY257" fmla="*/ 2288788 h 2323145"/>
              <a:gd name="connsiteX258" fmla="*/ 540946 w 11269336"/>
              <a:gd name="connsiteY258" fmla="*/ 2292721 h 2323145"/>
              <a:gd name="connsiteX259" fmla="*/ 533680 w 11269336"/>
              <a:gd name="connsiteY259" fmla="*/ 2310233 h 2323145"/>
              <a:gd name="connsiteX260" fmla="*/ 487366 w 11269336"/>
              <a:gd name="connsiteY260" fmla="*/ 2309053 h 2323145"/>
              <a:gd name="connsiteX261" fmla="*/ 416820 w 11269336"/>
              <a:gd name="connsiteY261" fmla="*/ 2305443 h 2323145"/>
              <a:gd name="connsiteX262" fmla="*/ 376805 w 11269336"/>
              <a:gd name="connsiteY262" fmla="*/ 2307647 h 2323145"/>
              <a:gd name="connsiteX263" fmla="*/ 266777 w 11269336"/>
              <a:gd name="connsiteY263" fmla="*/ 2309012 h 2323145"/>
              <a:gd name="connsiteX264" fmla="*/ 156013 w 11269336"/>
              <a:gd name="connsiteY264" fmla="*/ 2306832 h 2323145"/>
              <a:gd name="connsiteX265" fmla="*/ 87258 w 11269336"/>
              <a:gd name="connsiteY265" fmla="*/ 2285511 h 2323145"/>
              <a:gd name="connsiteX266" fmla="*/ 23798 w 11269336"/>
              <a:gd name="connsiteY266" fmla="*/ 2281822 h 2323145"/>
              <a:gd name="connsiteX267" fmla="*/ 0 w 11269336"/>
              <a:gd name="connsiteY267" fmla="*/ 2285369 h 2323145"/>
              <a:gd name="connsiteX268" fmla="*/ 0 w 11269336"/>
              <a:gd name="connsiteY268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795998 w 11269336"/>
              <a:gd name="connsiteY32" fmla="*/ 863337 h 2323145"/>
              <a:gd name="connsiteX33" fmla="*/ 8776970 w 11269336"/>
              <a:gd name="connsiteY33" fmla="*/ 885177 h 2323145"/>
              <a:gd name="connsiteX34" fmla="*/ 8755719 w 11269336"/>
              <a:gd name="connsiteY34" fmla="*/ 889754 h 2323145"/>
              <a:gd name="connsiteX35" fmla="*/ 8743257 w 11269336"/>
              <a:gd name="connsiteY35" fmla="*/ 904723 h 2323145"/>
              <a:gd name="connsiteX36" fmla="*/ 8721366 w 11269336"/>
              <a:gd name="connsiteY36" fmla="*/ 904711 h 2323145"/>
              <a:gd name="connsiteX37" fmla="*/ 8678353 w 11269336"/>
              <a:gd name="connsiteY37" fmla="*/ 926318 h 2323145"/>
              <a:gd name="connsiteX38" fmla="*/ 8636849 w 11269336"/>
              <a:gd name="connsiteY38" fmla="*/ 937900 h 2323145"/>
              <a:gd name="connsiteX39" fmla="*/ 8620213 w 11269336"/>
              <a:gd name="connsiteY39" fmla="*/ 943068 h 2323145"/>
              <a:gd name="connsiteX40" fmla="*/ 8612581 w 11269336"/>
              <a:gd name="connsiteY40" fmla="*/ 952695 h 2323145"/>
              <a:gd name="connsiteX41" fmla="*/ 8589038 w 11269336"/>
              <a:gd name="connsiteY41" fmla="*/ 963892 h 2323145"/>
              <a:gd name="connsiteX42" fmla="*/ 8579950 w 11269336"/>
              <a:gd name="connsiteY42" fmla="*/ 960899 h 2323145"/>
              <a:gd name="connsiteX43" fmla="*/ 8579319 w 11269336"/>
              <a:gd name="connsiteY43" fmla="*/ 965630 h 2323145"/>
              <a:gd name="connsiteX44" fmla="*/ 8547429 w 11269336"/>
              <a:gd name="connsiteY44" fmla="*/ 984506 h 2323145"/>
              <a:gd name="connsiteX45" fmla="*/ 8478704 w 11269336"/>
              <a:gd name="connsiteY45" fmla="*/ 1025490 h 2323145"/>
              <a:gd name="connsiteX46" fmla="*/ 8461421 w 11269336"/>
              <a:gd name="connsiteY46" fmla="*/ 1035512 h 2323145"/>
              <a:gd name="connsiteX47" fmla="*/ 8445003 w 11269336"/>
              <a:gd name="connsiteY47" fmla="*/ 1036851 h 2323145"/>
              <a:gd name="connsiteX48" fmla="*/ 8357350 w 11269336"/>
              <a:gd name="connsiteY48" fmla="*/ 1060213 h 2323145"/>
              <a:gd name="connsiteX49" fmla="*/ 8335565 w 11269336"/>
              <a:gd name="connsiteY49" fmla="*/ 1061151 h 2323145"/>
              <a:gd name="connsiteX50" fmla="*/ 8325267 w 11269336"/>
              <a:gd name="connsiteY50" fmla="*/ 1055919 h 2323145"/>
              <a:gd name="connsiteX51" fmla="*/ 8293586 w 11269336"/>
              <a:gd name="connsiteY51" fmla="*/ 1076144 h 2323145"/>
              <a:gd name="connsiteX52" fmla="*/ 8242405 w 11269336"/>
              <a:gd name="connsiteY52" fmla="*/ 1095960 h 2323145"/>
              <a:gd name="connsiteX53" fmla="*/ 8197391 w 11269336"/>
              <a:gd name="connsiteY53" fmla="*/ 1107746 h 2323145"/>
              <a:gd name="connsiteX54" fmla="*/ 8081474 w 11269336"/>
              <a:gd name="connsiteY54" fmla="*/ 1130125 h 2323145"/>
              <a:gd name="connsiteX55" fmla="*/ 8053585 w 11269336"/>
              <a:gd name="connsiteY55" fmla="*/ 1129169 h 2323145"/>
              <a:gd name="connsiteX56" fmla="*/ 8038422 w 11269336"/>
              <a:gd name="connsiteY56" fmla="*/ 1119092 h 2323145"/>
              <a:gd name="connsiteX57" fmla="*/ 8029450 w 11269336"/>
              <a:gd name="connsiteY57" fmla="*/ 1125592 h 2323145"/>
              <a:gd name="connsiteX58" fmla="*/ 7959552 w 11269336"/>
              <a:gd name="connsiteY58" fmla="*/ 1140188 h 2323145"/>
              <a:gd name="connsiteX59" fmla="*/ 7914188 w 11269336"/>
              <a:gd name="connsiteY59" fmla="*/ 1150862 h 2323145"/>
              <a:gd name="connsiteX60" fmla="*/ 7914918 w 11269336"/>
              <a:gd name="connsiteY60" fmla="*/ 1168758 h 2323145"/>
              <a:gd name="connsiteX61" fmla="*/ 7875510 w 11269336"/>
              <a:gd name="connsiteY61" fmla="*/ 1183153 h 2323145"/>
              <a:gd name="connsiteX62" fmla="*/ 7829932 w 11269336"/>
              <a:gd name="connsiteY62" fmla="*/ 1180782 h 2323145"/>
              <a:gd name="connsiteX63" fmla="*/ 7779182 w 11269336"/>
              <a:gd name="connsiteY63" fmla="*/ 1192665 h 2323145"/>
              <a:gd name="connsiteX64" fmla="*/ 7748774 w 11269336"/>
              <a:gd name="connsiteY64" fmla="*/ 1199586 h 2323145"/>
              <a:gd name="connsiteX65" fmla="*/ 7671846 w 11269336"/>
              <a:gd name="connsiteY65" fmla="*/ 1231966 h 2323145"/>
              <a:gd name="connsiteX66" fmla="*/ 7554146 w 11269336"/>
              <a:gd name="connsiteY66" fmla="*/ 1319748 h 2323145"/>
              <a:gd name="connsiteX67" fmla="*/ 7515052 w 11269336"/>
              <a:gd name="connsiteY67" fmla="*/ 1336718 h 2323145"/>
              <a:gd name="connsiteX68" fmla="*/ 7507193 w 11269336"/>
              <a:gd name="connsiteY68" fmla="*/ 1334617 h 2323145"/>
              <a:gd name="connsiteX69" fmla="*/ 7461694 w 11269336"/>
              <a:gd name="connsiteY69" fmla="*/ 1375866 h 2323145"/>
              <a:gd name="connsiteX70" fmla="*/ 7377571 w 11269336"/>
              <a:gd name="connsiteY70" fmla="*/ 1400128 h 2323145"/>
              <a:gd name="connsiteX71" fmla="*/ 7311261 w 11269336"/>
              <a:gd name="connsiteY71" fmla="*/ 1412652 h 2323145"/>
              <a:gd name="connsiteX72" fmla="*/ 7275307 w 11269336"/>
              <a:gd name="connsiteY72" fmla="*/ 1422171 h 2323145"/>
              <a:gd name="connsiteX73" fmla="*/ 7247783 w 11269336"/>
              <a:gd name="connsiteY73" fmla="*/ 1426330 h 2323145"/>
              <a:gd name="connsiteX74" fmla="*/ 7185047 w 11269336"/>
              <a:gd name="connsiteY74" fmla="*/ 1451812 h 2323145"/>
              <a:gd name="connsiteX75" fmla="*/ 7084117 w 11269336"/>
              <a:gd name="connsiteY75" fmla="*/ 1500281 h 2323145"/>
              <a:gd name="connsiteX76" fmla="*/ 7062011 w 11269336"/>
              <a:gd name="connsiteY76" fmla="*/ 1509183 h 2323145"/>
              <a:gd name="connsiteX77" fmla="*/ 7040555 w 11269336"/>
              <a:gd name="connsiteY77" fmla="*/ 1511207 h 2323145"/>
              <a:gd name="connsiteX78" fmla="*/ 7033438 w 11269336"/>
              <a:gd name="connsiteY78" fmla="*/ 1506772 h 2323145"/>
              <a:gd name="connsiteX79" fmla="*/ 7020886 w 11269336"/>
              <a:gd name="connsiteY79" fmla="*/ 1510764 h 2323145"/>
              <a:gd name="connsiteX80" fmla="*/ 7017033 w 11269336"/>
              <a:gd name="connsiteY80" fmla="*/ 1510650 h 2323145"/>
              <a:gd name="connsiteX81" fmla="*/ 6995460 w 11269336"/>
              <a:gd name="connsiteY81" fmla="*/ 1511173 h 2323145"/>
              <a:gd name="connsiteX82" fmla="*/ 6962144 w 11269336"/>
              <a:gd name="connsiteY82" fmla="*/ 1541508 h 2323145"/>
              <a:gd name="connsiteX83" fmla="*/ 6910674 w 11269336"/>
              <a:gd name="connsiteY83" fmla="*/ 1554793 h 2323145"/>
              <a:gd name="connsiteX84" fmla="*/ 6732152 w 11269336"/>
              <a:gd name="connsiteY84" fmla="*/ 1642538 h 2323145"/>
              <a:gd name="connsiteX85" fmla="*/ 6694106 w 11269336"/>
              <a:gd name="connsiteY85" fmla="*/ 1632377 h 2323145"/>
              <a:gd name="connsiteX86" fmla="*/ 6617223 w 11269336"/>
              <a:gd name="connsiteY86" fmla="*/ 1659889 h 2323145"/>
              <a:gd name="connsiteX87" fmla="*/ 6521138 w 11269336"/>
              <a:gd name="connsiteY87" fmla="*/ 1744340 h 2323145"/>
              <a:gd name="connsiteX88" fmla="*/ 6380677 w 11269336"/>
              <a:gd name="connsiteY88" fmla="*/ 1796883 h 2323145"/>
              <a:gd name="connsiteX89" fmla="*/ 6374897 w 11269336"/>
              <a:gd name="connsiteY89" fmla="*/ 1809910 h 2323145"/>
              <a:gd name="connsiteX90" fmla="*/ 6364545 w 11269336"/>
              <a:gd name="connsiteY90" fmla="*/ 1820090 h 2323145"/>
              <a:gd name="connsiteX91" fmla="*/ 6362126 w 11269336"/>
              <a:gd name="connsiteY91" fmla="*/ 1819991 h 2323145"/>
              <a:gd name="connsiteX92" fmla="*/ 6346673 w 11269336"/>
              <a:gd name="connsiteY92" fmla="*/ 1827824 h 2323145"/>
              <a:gd name="connsiteX93" fmla="*/ 6345588 w 11269336"/>
              <a:gd name="connsiteY93" fmla="*/ 1832232 h 2323145"/>
              <a:gd name="connsiteX94" fmla="*/ 6335708 w 11269336"/>
              <a:gd name="connsiteY94" fmla="*/ 1838451 h 2323145"/>
              <a:gd name="connsiteX95" fmla="*/ 6318182 w 11269336"/>
              <a:gd name="connsiteY95" fmla="*/ 1852975 h 2323145"/>
              <a:gd name="connsiteX96" fmla="*/ 6313084 w 11269336"/>
              <a:gd name="connsiteY96" fmla="*/ 1853561 h 2323145"/>
              <a:gd name="connsiteX97" fmla="*/ 6283816 w 11269336"/>
              <a:gd name="connsiteY97" fmla="*/ 1872148 h 2323145"/>
              <a:gd name="connsiteX98" fmla="*/ 6282550 w 11269336"/>
              <a:gd name="connsiteY98" fmla="*/ 1871392 h 2323145"/>
              <a:gd name="connsiteX99" fmla="*/ 6270527 w 11269336"/>
              <a:gd name="connsiteY99" fmla="*/ 1872208 h 2323145"/>
              <a:gd name="connsiteX100" fmla="*/ 6249518 w 11269336"/>
              <a:gd name="connsiteY100" fmla="*/ 1876079 h 2323145"/>
              <a:gd name="connsiteX101" fmla="*/ 6190386 w 11269336"/>
              <a:gd name="connsiteY101" fmla="*/ 1872478 h 2323145"/>
              <a:gd name="connsiteX102" fmla="*/ 6159777 w 11269336"/>
              <a:gd name="connsiteY102" fmla="*/ 1891745 h 2323145"/>
              <a:gd name="connsiteX103" fmla="*/ 6153131 w 11269336"/>
              <a:gd name="connsiteY103" fmla="*/ 1895079 h 2323145"/>
              <a:gd name="connsiteX104" fmla="*/ 6152798 w 11269336"/>
              <a:gd name="connsiteY104" fmla="*/ 1894920 h 2323145"/>
              <a:gd name="connsiteX105" fmla="*/ 6145388 w 11269336"/>
              <a:gd name="connsiteY105" fmla="*/ 1897990 h 2323145"/>
              <a:gd name="connsiteX106" fmla="*/ 6141014 w 11269336"/>
              <a:gd name="connsiteY106" fmla="*/ 1901155 h 2323145"/>
              <a:gd name="connsiteX107" fmla="*/ 6128122 w 11269336"/>
              <a:gd name="connsiteY107" fmla="*/ 1907623 h 2323145"/>
              <a:gd name="connsiteX108" fmla="*/ 6122351 w 11269336"/>
              <a:gd name="connsiteY108" fmla="*/ 1908359 h 2323145"/>
              <a:gd name="connsiteX109" fmla="*/ 6064750 w 11269336"/>
              <a:gd name="connsiteY109" fmla="*/ 1896394 h 2323145"/>
              <a:gd name="connsiteX110" fmla="*/ 5964230 w 11269336"/>
              <a:gd name="connsiteY110" fmla="*/ 1910038 h 2323145"/>
              <a:gd name="connsiteX111" fmla="*/ 5865399 w 11269336"/>
              <a:gd name="connsiteY111" fmla="*/ 1926966 h 2323145"/>
              <a:gd name="connsiteX112" fmla="*/ 5829951 w 11269336"/>
              <a:gd name="connsiteY112" fmla="*/ 1934755 h 2323145"/>
              <a:gd name="connsiteX113" fmla="*/ 5765285 w 11269336"/>
              <a:gd name="connsiteY113" fmla="*/ 1941322 h 2323145"/>
              <a:gd name="connsiteX114" fmla="*/ 5734750 w 11269336"/>
              <a:gd name="connsiteY114" fmla="*/ 1939793 h 2323145"/>
              <a:gd name="connsiteX115" fmla="*/ 5733569 w 11269336"/>
              <a:gd name="connsiteY115" fmla="*/ 1940505 h 2323145"/>
              <a:gd name="connsiteX116" fmla="*/ 5730329 w 11269336"/>
              <a:gd name="connsiteY116" fmla="*/ 1937845 h 2323145"/>
              <a:gd name="connsiteX117" fmla="*/ 5724661 w 11269336"/>
              <a:gd name="connsiteY117" fmla="*/ 1937455 h 2323145"/>
              <a:gd name="connsiteX118" fmla="*/ 5710186 w 11269336"/>
              <a:gd name="connsiteY118" fmla="*/ 1941370 h 2323145"/>
              <a:gd name="connsiteX119" fmla="*/ 5704910 w 11269336"/>
              <a:gd name="connsiteY119" fmla="*/ 1943663 h 2323145"/>
              <a:gd name="connsiteX120" fmla="*/ 5696836 w 11269336"/>
              <a:gd name="connsiteY120" fmla="*/ 1945271 h 2323145"/>
              <a:gd name="connsiteX121" fmla="*/ 5696583 w 11269336"/>
              <a:gd name="connsiteY121" fmla="*/ 1945050 h 2323145"/>
              <a:gd name="connsiteX122" fmla="*/ 5689123 w 11269336"/>
              <a:gd name="connsiteY122" fmla="*/ 1947067 h 2323145"/>
              <a:gd name="connsiteX123" fmla="*/ 5653291 w 11269336"/>
              <a:gd name="connsiteY123" fmla="*/ 1960245 h 2323145"/>
              <a:gd name="connsiteX124" fmla="*/ 5599385 w 11269336"/>
              <a:gd name="connsiteY124" fmla="*/ 1945198 h 2323145"/>
              <a:gd name="connsiteX125" fmla="*/ 5578300 w 11269336"/>
              <a:gd name="connsiteY125" fmla="*/ 1944963 h 2323145"/>
              <a:gd name="connsiteX126" fmla="*/ 5566758 w 11269336"/>
              <a:gd name="connsiteY126" fmla="*/ 1943441 h 2323145"/>
              <a:gd name="connsiteX127" fmla="*/ 5565857 w 11269336"/>
              <a:gd name="connsiteY127" fmla="*/ 1942445 h 2323145"/>
              <a:gd name="connsiteX128" fmla="*/ 5531534 w 11269336"/>
              <a:gd name="connsiteY128" fmla="*/ 1955208 h 2323145"/>
              <a:gd name="connsiteX129" fmla="*/ 5526552 w 11269336"/>
              <a:gd name="connsiteY129" fmla="*/ 1954799 h 2323145"/>
              <a:gd name="connsiteX130" fmla="*/ 5504723 w 11269336"/>
              <a:gd name="connsiteY130" fmla="*/ 1965811 h 2323145"/>
              <a:gd name="connsiteX131" fmla="*/ 5493156 w 11269336"/>
              <a:gd name="connsiteY131" fmla="*/ 1970063 h 2323145"/>
              <a:gd name="connsiteX132" fmla="*/ 5490486 w 11269336"/>
              <a:gd name="connsiteY132" fmla="*/ 1974227 h 2323145"/>
              <a:gd name="connsiteX133" fmla="*/ 5473107 w 11269336"/>
              <a:gd name="connsiteY133" fmla="*/ 1979001 h 2323145"/>
              <a:gd name="connsiteX134" fmla="*/ 5470885 w 11269336"/>
              <a:gd name="connsiteY134" fmla="*/ 1978432 h 2323145"/>
              <a:gd name="connsiteX135" fmla="*/ 5457393 w 11269336"/>
              <a:gd name="connsiteY135" fmla="*/ 1986525 h 2323145"/>
              <a:gd name="connsiteX136" fmla="*/ 5447102 w 11269336"/>
              <a:gd name="connsiteY136" fmla="*/ 1998329 h 2323145"/>
              <a:gd name="connsiteX137" fmla="*/ 5159151 w 11269336"/>
              <a:gd name="connsiteY137" fmla="*/ 2029640 h 2323145"/>
              <a:gd name="connsiteX138" fmla="*/ 5041688 w 11269336"/>
              <a:gd name="connsiteY138" fmla="*/ 2022334 h 2323145"/>
              <a:gd name="connsiteX139" fmla="*/ 4860988 w 11269336"/>
              <a:gd name="connsiteY139" fmla="*/ 2135698 h 2323145"/>
              <a:gd name="connsiteX140" fmla="*/ 4807902 w 11269336"/>
              <a:gd name="connsiteY140" fmla="*/ 2138894 h 2323145"/>
              <a:gd name="connsiteX141" fmla="*/ 4765388 w 11269336"/>
              <a:gd name="connsiteY141" fmla="*/ 2162525 h 2323145"/>
              <a:gd name="connsiteX142" fmla="*/ 4745033 w 11269336"/>
              <a:gd name="connsiteY142" fmla="*/ 2158859 h 2323145"/>
              <a:gd name="connsiteX143" fmla="*/ 4741475 w 11269336"/>
              <a:gd name="connsiteY143" fmla="*/ 2157998 h 2323145"/>
              <a:gd name="connsiteX144" fmla="*/ 4728247 w 11269336"/>
              <a:gd name="connsiteY144" fmla="*/ 2159526 h 2323145"/>
              <a:gd name="connsiteX145" fmla="*/ 4723263 w 11269336"/>
              <a:gd name="connsiteY145" fmla="*/ 2153742 h 2323145"/>
              <a:gd name="connsiteX146" fmla="*/ 4702453 w 11269336"/>
              <a:gd name="connsiteY146" fmla="*/ 2151586 h 2323145"/>
              <a:gd name="connsiteX147" fmla="*/ 4678455 w 11269336"/>
              <a:gd name="connsiteY147" fmla="*/ 2156131 h 2323145"/>
              <a:gd name="connsiteX148" fmla="*/ 4593061 w 11269336"/>
              <a:gd name="connsiteY148" fmla="*/ 2171597 h 2323145"/>
              <a:gd name="connsiteX149" fmla="*/ 4579902 w 11269336"/>
              <a:gd name="connsiteY149" fmla="*/ 2177927 h 2323145"/>
              <a:gd name="connsiteX150" fmla="*/ 4533444 w 11269336"/>
              <a:gd name="connsiteY150" fmla="*/ 2181200 h 2323145"/>
              <a:gd name="connsiteX151" fmla="*/ 4492832 w 11269336"/>
              <a:gd name="connsiteY151" fmla="*/ 2188033 h 2323145"/>
              <a:gd name="connsiteX152" fmla="*/ 4467257 w 11269336"/>
              <a:gd name="connsiteY152" fmla="*/ 2196121 h 2323145"/>
              <a:gd name="connsiteX153" fmla="*/ 4459937 w 11269336"/>
              <a:gd name="connsiteY153" fmla="*/ 2195182 h 2323145"/>
              <a:gd name="connsiteX154" fmla="*/ 4433312 w 11269336"/>
              <a:gd name="connsiteY154" fmla="*/ 2199004 h 2323145"/>
              <a:gd name="connsiteX155" fmla="*/ 4420601 w 11269336"/>
              <a:gd name="connsiteY155" fmla="*/ 2205158 h 2323145"/>
              <a:gd name="connsiteX156" fmla="*/ 4405765 w 11269336"/>
              <a:gd name="connsiteY156" fmla="*/ 2199902 h 2323145"/>
              <a:gd name="connsiteX157" fmla="*/ 4401354 w 11269336"/>
              <a:gd name="connsiteY157" fmla="*/ 2194745 h 2323145"/>
              <a:gd name="connsiteX158" fmla="*/ 4383151 w 11269336"/>
              <a:gd name="connsiteY158" fmla="*/ 2201140 h 2323145"/>
              <a:gd name="connsiteX159" fmla="*/ 4366646 w 11269336"/>
              <a:gd name="connsiteY159" fmla="*/ 2198564 h 2323145"/>
              <a:gd name="connsiteX160" fmla="*/ 4354009 w 11269336"/>
              <a:gd name="connsiteY160" fmla="*/ 2204984 h 2323145"/>
              <a:gd name="connsiteX161" fmla="*/ 4348284 w 11269336"/>
              <a:gd name="connsiteY161" fmla="*/ 2205270 h 2323145"/>
              <a:gd name="connsiteX162" fmla="*/ 4333906 w 11269336"/>
              <a:gd name="connsiteY162" fmla="*/ 2205251 h 2323145"/>
              <a:gd name="connsiteX163" fmla="*/ 4308819 w 11269336"/>
              <a:gd name="connsiteY163" fmla="*/ 2203822 h 2323145"/>
              <a:gd name="connsiteX164" fmla="*/ 4301210 w 11269336"/>
              <a:gd name="connsiteY164" fmla="*/ 2204456 h 2323145"/>
              <a:gd name="connsiteX165" fmla="*/ 4283095 w 11269336"/>
              <a:gd name="connsiteY165" fmla="*/ 2198177 h 2323145"/>
              <a:gd name="connsiteX166" fmla="*/ 4250119 w 11269336"/>
              <a:gd name="connsiteY166" fmla="*/ 2196342 h 2323145"/>
              <a:gd name="connsiteX167" fmla="*/ 4189203 w 11269336"/>
              <a:gd name="connsiteY167" fmla="*/ 2178994 h 2323145"/>
              <a:gd name="connsiteX168" fmla="*/ 4154035 w 11269336"/>
              <a:gd name="connsiteY168" fmla="*/ 2171950 h 2323145"/>
              <a:gd name="connsiteX169" fmla="*/ 4129569 w 11269336"/>
              <a:gd name="connsiteY169" fmla="*/ 2163850 h 2323145"/>
              <a:gd name="connsiteX170" fmla="*/ 4061250 w 11269336"/>
              <a:gd name="connsiteY170" fmla="*/ 2159236 h 2323145"/>
              <a:gd name="connsiteX171" fmla="*/ 3945480 w 11269336"/>
              <a:gd name="connsiteY171" fmla="*/ 2158279 h 2323145"/>
              <a:gd name="connsiteX172" fmla="*/ 3921468 w 11269336"/>
              <a:gd name="connsiteY172" fmla="*/ 2156588 h 2323145"/>
              <a:gd name="connsiteX173" fmla="*/ 3903348 w 11269336"/>
              <a:gd name="connsiteY173" fmla="*/ 2149220 h 2323145"/>
              <a:gd name="connsiteX174" fmla="*/ 3901342 w 11269336"/>
              <a:gd name="connsiteY174" fmla="*/ 2142355 h 2323145"/>
              <a:gd name="connsiteX175" fmla="*/ 3888539 w 11269336"/>
              <a:gd name="connsiteY175" fmla="*/ 2140476 h 2323145"/>
              <a:gd name="connsiteX176" fmla="*/ 3885662 w 11269336"/>
              <a:gd name="connsiteY176" fmla="*/ 2138740 h 2323145"/>
              <a:gd name="connsiteX177" fmla="*/ 3868627 w 11269336"/>
              <a:gd name="connsiteY177" fmla="*/ 2130023 h 2323145"/>
              <a:gd name="connsiteX178" fmla="*/ 3819177 w 11269336"/>
              <a:gd name="connsiteY178" fmla="*/ 2142111 h 2323145"/>
              <a:gd name="connsiteX179" fmla="*/ 3769100 w 11269336"/>
              <a:gd name="connsiteY179" fmla="*/ 2131731 h 2323145"/>
              <a:gd name="connsiteX180" fmla="*/ 3562752 w 11269336"/>
              <a:gd name="connsiteY180" fmla="*/ 2131785 h 2323145"/>
              <a:gd name="connsiteX181" fmla="*/ 3541402 w 11269336"/>
              <a:gd name="connsiteY181" fmla="*/ 2106821 h 2323145"/>
              <a:gd name="connsiteX182" fmla="*/ 3365341 w 11269336"/>
              <a:gd name="connsiteY182" fmla="*/ 2077638 h 2323145"/>
              <a:gd name="connsiteX183" fmla="*/ 3170922 w 11269336"/>
              <a:gd name="connsiteY183" fmla="*/ 2115957 h 2323145"/>
              <a:gd name="connsiteX184" fmla="*/ 3156256 w 11269336"/>
              <a:gd name="connsiteY184" fmla="*/ 2124773 h 2323145"/>
              <a:gd name="connsiteX185" fmla="*/ 3140298 w 11269336"/>
              <a:gd name="connsiteY185" fmla="*/ 2129182 h 2323145"/>
              <a:gd name="connsiteX186" fmla="*/ 3138514 w 11269336"/>
              <a:gd name="connsiteY186" fmla="*/ 2128069 h 2323145"/>
              <a:gd name="connsiteX187" fmla="*/ 3120467 w 11269336"/>
              <a:gd name="connsiteY187" fmla="*/ 2128281 h 2323145"/>
              <a:gd name="connsiteX188" fmla="*/ 3116175 w 11269336"/>
              <a:gd name="connsiteY188" fmla="*/ 2131633 h 2323145"/>
              <a:gd name="connsiteX189" fmla="*/ 3103685 w 11269336"/>
              <a:gd name="connsiteY189" fmla="*/ 2132814 h 2323145"/>
              <a:gd name="connsiteX190" fmla="*/ 3078794 w 11269336"/>
              <a:gd name="connsiteY190" fmla="*/ 2137935 h 2323145"/>
              <a:gd name="connsiteX191" fmla="*/ 3074407 w 11269336"/>
              <a:gd name="connsiteY191" fmla="*/ 2136274 h 2323145"/>
              <a:gd name="connsiteX192" fmla="*/ 3037285 w 11269336"/>
              <a:gd name="connsiteY192" fmla="*/ 2139919 h 2323145"/>
              <a:gd name="connsiteX193" fmla="*/ 3036901 w 11269336"/>
              <a:gd name="connsiteY193" fmla="*/ 2138726 h 2323145"/>
              <a:gd name="connsiteX194" fmla="*/ 3026996 w 11269336"/>
              <a:gd name="connsiteY194" fmla="*/ 2134322 h 2323145"/>
              <a:gd name="connsiteX195" fmla="*/ 3007772 w 11269336"/>
              <a:gd name="connsiteY195" fmla="*/ 2128742 h 2323145"/>
              <a:gd name="connsiteX196" fmla="*/ 2965030 w 11269336"/>
              <a:gd name="connsiteY196" fmla="*/ 2100494 h 2323145"/>
              <a:gd name="connsiteX197" fmla="*/ 2926342 w 11269336"/>
              <a:gd name="connsiteY197" fmla="*/ 2104155 h 2323145"/>
              <a:gd name="connsiteX198" fmla="*/ 2918608 w 11269336"/>
              <a:gd name="connsiteY198" fmla="*/ 2104215 h 2323145"/>
              <a:gd name="connsiteX199" fmla="*/ 2918475 w 11269336"/>
              <a:gd name="connsiteY199" fmla="*/ 2103937 h 2323145"/>
              <a:gd name="connsiteX200" fmla="*/ 2910360 w 11269336"/>
              <a:gd name="connsiteY200" fmla="*/ 2103444 h 2323145"/>
              <a:gd name="connsiteX201" fmla="*/ 2904507 w 11269336"/>
              <a:gd name="connsiteY201" fmla="*/ 2104326 h 2323145"/>
              <a:gd name="connsiteX202" fmla="*/ 2889503 w 11269336"/>
              <a:gd name="connsiteY202" fmla="*/ 2104443 h 2323145"/>
              <a:gd name="connsiteX203" fmla="*/ 2884480 w 11269336"/>
              <a:gd name="connsiteY203" fmla="*/ 2102626 h 2323145"/>
              <a:gd name="connsiteX204" fmla="*/ 2882689 w 11269336"/>
              <a:gd name="connsiteY204" fmla="*/ 2099228 h 2323145"/>
              <a:gd name="connsiteX205" fmla="*/ 2881291 w 11269336"/>
              <a:gd name="connsiteY205" fmla="*/ 2099618 h 2323145"/>
              <a:gd name="connsiteX206" fmla="*/ 2853979 w 11269336"/>
              <a:gd name="connsiteY206" fmla="*/ 2090388 h 2323145"/>
              <a:gd name="connsiteX207" fmla="*/ 2791790 w 11269336"/>
              <a:gd name="connsiteY207" fmla="*/ 2080332 h 2323145"/>
              <a:gd name="connsiteX208" fmla="*/ 2755844 w 11269336"/>
              <a:gd name="connsiteY208" fmla="*/ 2078874 h 2323145"/>
              <a:gd name="connsiteX209" fmla="*/ 2657742 w 11269336"/>
              <a:gd name="connsiteY209" fmla="*/ 2070179 h 2323145"/>
              <a:gd name="connsiteX210" fmla="*/ 2559549 w 11269336"/>
              <a:gd name="connsiteY210" fmla="*/ 2057873 h 2323145"/>
              <a:gd name="connsiteX211" fmla="*/ 2512054 w 11269336"/>
              <a:gd name="connsiteY211" fmla="*/ 2031671 h 2323145"/>
              <a:gd name="connsiteX212" fmla="*/ 2506437 w 11269336"/>
              <a:gd name="connsiteY212" fmla="*/ 2030918 h 2323145"/>
              <a:gd name="connsiteX213" fmla="*/ 2491752 w 11269336"/>
              <a:gd name="connsiteY213" fmla="*/ 2033906 h 2323145"/>
              <a:gd name="connsiteX214" fmla="*/ 2486338 w 11269336"/>
              <a:gd name="connsiteY214" fmla="*/ 2035862 h 2323145"/>
              <a:gd name="connsiteX215" fmla="*/ 2478186 w 11269336"/>
              <a:gd name="connsiteY215" fmla="*/ 2036953 h 2323145"/>
              <a:gd name="connsiteX216" fmla="*/ 2477950 w 11269336"/>
              <a:gd name="connsiteY216" fmla="*/ 2036715 h 2323145"/>
              <a:gd name="connsiteX217" fmla="*/ 2470381 w 11269336"/>
              <a:gd name="connsiteY217" fmla="*/ 2038256 h 2323145"/>
              <a:gd name="connsiteX218" fmla="*/ 2433781 w 11269336"/>
              <a:gd name="connsiteY218" fmla="*/ 2049140 h 2323145"/>
              <a:gd name="connsiteX219" fmla="*/ 2381172 w 11269336"/>
              <a:gd name="connsiteY219" fmla="*/ 2030645 h 2323145"/>
              <a:gd name="connsiteX220" fmla="*/ 2360198 w 11269336"/>
              <a:gd name="connsiteY220" fmla="*/ 2029059 h 2323145"/>
              <a:gd name="connsiteX221" fmla="*/ 2348815 w 11269336"/>
              <a:gd name="connsiteY221" fmla="*/ 2026798 h 2323145"/>
              <a:gd name="connsiteX222" fmla="*/ 2347988 w 11269336"/>
              <a:gd name="connsiteY222" fmla="*/ 2025745 h 2323145"/>
              <a:gd name="connsiteX223" fmla="*/ 2312920 w 11269336"/>
              <a:gd name="connsiteY223" fmla="*/ 2036311 h 2323145"/>
              <a:gd name="connsiteX224" fmla="*/ 2307986 w 11269336"/>
              <a:gd name="connsiteY224" fmla="*/ 2035583 h 2323145"/>
              <a:gd name="connsiteX225" fmla="*/ 2285481 w 11269336"/>
              <a:gd name="connsiteY225" fmla="*/ 2045197 h 2323145"/>
              <a:gd name="connsiteX226" fmla="*/ 2273666 w 11269336"/>
              <a:gd name="connsiteY226" fmla="*/ 2048710 h 2323145"/>
              <a:gd name="connsiteX227" fmla="*/ 2270719 w 11269336"/>
              <a:gd name="connsiteY227" fmla="*/ 2052702 h 2323145"/>
              <a:gd name="connsiteX228" fmla="*/ 2253080 w 11269336"/>
              <a:gd name="connsiteY228" fmla="*/ 2056363 h 2323145"/>
              <a:gd name="connsiteX229" fmla="*/ 2250906 w 11269336"/>
              <a:gd name="connsiteY229" fmla="*/ 2055654 h 2323145"/>
              <a:gd name="connsiteX230" fmla="*/ 2236905 w 11269336"/>
              <a:gd name="connsiteY230" fmla="*/ 2062882 h 2323145"/>
              <a:gd name="connsiteX231" fmla="*/ 2225830 w 11269336"/>
              <a:gd name="connsiteY231" fmla="*/ 2074027 h 2323145"/>
              <a:gd name="connsiteX232" fmla="*/ 2073776 w 11269336"/>
              <a:gd name="connsiteY232" fmla="*/ 2089244 h 2323145"/>
              <a:gd name="connsiteX233" fmla="*/ 1948256 w 11269336"/>
              <a:gd name="connsiteY233" fmla="*/ 2146616 h 2323145"/>
              <a:gd name="connsiteX234" fmla="*/ 1865582 w 11269336"/>
              <a:gd name="connsiteY234" fmla="*/ 2153738 h 2323145"/>
              <a:gd name="connsiteX235" fmla="*/ 1835210 w 11269336"/>
              <a:gd name="connsiteY235" fmla="*/ 2134244 h 2323145"/>
              <a:gd name="connsiteX236" fmla="*/ 1632661 w 11269336"/>
              <a:gd name="connsiteY236" fmla="*/ 2173882 h 2323145"/>
              <a:gd name="connsiteX237" fmla="*/ 1579590 w 11269336"/>
              <a:gd name="connsiteY237" fmla="*/ 2173680 h 2323145"/>
              <a:gd name="connsiteX238" fmla="*/ 1535601 w 11269336"/>
              <a:gd name="connsiteY238" fmla="*/ 2194590 h 2323145"/>
              <a:gd name="connsiteX239" fmla="*/ 1515594 w 11269336"/>
              <a:gd name="connsiteY239" fmla="*/ 2189622 h 2323145"/>
              <a:gd name="connsiteX240" fmla="*/ 1512113 w 11269336"/>
              <a:gd name="connsiteY240" fmla="*/ 2188534 h 2323145"/>
              <a:gd name="connsiteX241" fmla="*/ 1498838 w 11269336"/>
              <a:gd name="connsiteY241" fmla="*/ 2189213 h 2323145"/>
              <a:gd name="connsiteX242" fmla="*/ 1494279 w 11269336"/>
              <a:gd name="connsiteY242" fmla="*/ 2183112 h 2323145"/>
              <a:gd name="connsiteX243" fmla="*/ 1473714 w 11269336"/>
              <a:gd name="connsiteY243" fmla="*/ 2179625 h 2323145"/>
              <a:gd name="connsiteX244" fmla="*/ 1449503 w 11269336"/>
              <a:gd name="connsiteY244" fmla="*/ 2182633 h 2323145"/>
              <a:gd name="connsiteX245" fmla="*/ 1266687 w 11269336"/>
              <a:gd name="connsiteY245" fmla="*/ 2212688 h 2323145"/>
              <a:gd name="connsiteX246" fmla="*/ 1239614 w 11269336"/>
              <a:gd name="connsiteY246" fmla="*/ 2209727 h 2323145"/>
              <a:gd name="connsiteX247" fmla="*/ 1202436 w 11269336"/>
              <a:gd name="connsiteY247" fmla="*/ 2209817 h 2323145"/>
              <a:gd name="connsiteX248" fmla="*/ 1136097 w 11269336"/>
              <a:gd name="connsiteY248" fmla="*/ 2205112 h 2323145"/>
              <a:gd name="connsiteX249" fmla="*/ 988232 w 11269336"/>
              <a:gd name="connsiteY249" fmla="*/ 2235635 h 2323145"/>
              <a:gd name="connsiteX250" fmla="*/ 981959 w 11269336"/>
              <a:gd name="connsiteY250" fmla="*/ 2231607 h 2323145"/>
              <a:gd name="connsiteX251" fmla="*/ 938600 w 11269336"/>
              <a:gd name="connsiteY251" fmla="*/ 2238113 h 2323145"/>
              <a:gd name="connsiteX252" fmla="*/ 791788 w 11269336"/>
              <a:gd name="connsiteY252" fmla="*/ 2293224 h 2323145"/>
              <a:gd name="connsiteX253" fmla="*/ 706914 w 11269336"/>
              <a:gd name="connsiteY253" fmla="*/ 2305046 h 2323145"/>
              <a:gd name="connsiteX254" fmla="*/ 675971 w 11269336"/>
              <a:gd name="connsiteY254" fmla="*/ 2304030 h 2323145"/>
              <a:gd name="connsiteX255" fmla="*/ 624180 w 11269336"/>
              <a:gd name="connsiteY255" fmla="*/ 2302650 h 2323145"/>
              <a:gd name="connsiteX256" fmla="*/ 583453 w 11269336"/>
              <a:gd name="connsiteY256" fmla="*/ 2288788 h 2323145"/>
              <a:gd name="connsiteX257" fmla="*/ 540946 w 11269336"/>
              <a:gd name="connsiteY257" fmla="*/ 2292721 h 2323145"/>
              <a:gd name="connsiteX258" fmla="*/ 533680 w 11269336"/>
              <a:gd name="connsiteY258" fmla="*/ 2310233 h 2323145"/>
              <a:gd name="connsiteX259" fmla="*/ 487366 w 11269336"/>
              <a:gd name="connsiteY259" fmla="*/ 2309053 h 2323145"/>
              <a:gd name="connsiteX260" fmla="*/ 416820 w 11269336"/>
              <a:gd name="connsiteY260" fmla="*/ 2305443 h 2323145"/>
              <a:gd name="connsiteX261" fmla="*/ 376805 w 11269336"/>
              <a:gd name="connsiteY261" fmla="*/ 2307647 h 2323145"/>
              <a:gd name="connsiteX262" fmla="*/ 266777 w 11269336"/>
              <a:gd name="connsiteY262" fmla="*/ 2309012 h 2323145"/>
              <a:gd name="connsiteX263" fmla="*/ 156013 w 11269336"/>
              <a:gd name="connsiteY263" fmla="*/ 2306832 h 2323145"/>
              <a:gd name="connsiteX264" fmla="*/ 87258 w 11269336"/>
              <a:gd name="connsiteY264" fmla="*/ 2285511 h 2323145"/>
              <a:gd name="connsiteX265" fmla="*/ 23798 w 11269336"/>
              <a:gd name="connsiteY265" fmla="*/ 2281822 h 2323145"/>
              <a:gd name="connsiteX266" fmla="*/ 0 w 11269336"/>
              <a:gd name="connsiteY266" fmla="*/ 2285369 h 2323145"/>
              <a:gd name="connsiteX267" fmla="*/ 0 w 11269336"/>
              <a:gd name="connsiteY267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114263 w 11269336"/>
              <a:gd name="connsiteY21" fmla="*/ 709213 h 2323145"/>
              <a:gd name="connsiteX22" fmla="*/ 9028928 w 11269336"/>
              <a:gd name="connsiteY22" fmla="*/ 745350 h 2323145"/>
              <a:gd name="connsiteX23" fmla="*/ 8977138 w 11269336"/>
              <a:gd name="connsiteY23" fmla="*/ 774970 h 2323145"/>
              <a:gd name="connsiteX24" fmla="*/ 8947030 w 11269336"/>
              <a:gd name="connsiteY24" fmla="*/ 814934 h 2323145"/>
              <a:gd name="connsiteX25" fmla="*/ 8914746 w 11269336"/>
              <a:gd name="connsiteY25" fmla="*/ 826428 h 2323145"/>
              <a:gd name="connsiteX26" fmla="*/ 8917778 w 11269336"/>
              <a:gd name="connsiteY26" fmla="*/ 835198 h 2323145"/>
              <a:gd name="connsiteX27" fmla="*/ 8905560 w 11269336"/>
              <a:gd name="connsiteY27" fmla="*/ 838358 h 2323145"/>
              <a:gd name="connsiteX28" fmla="*/ 8897564 w 11269336"/>
              <a:gd name="connsiteY28" fmla="*/ 834287 h 2323145"/>
              <a:gd name="connsiteX29" fmla="*/ 8878040 w 11269336"/>
              <a:gd name="connsiteY29" fmla="*/ 844150 h 2323145"/>
              <a:gd name="connsiteX30" fmla="*/ 8882654 w 11269336"/>
              <a:gd name="connsiteY30" fmla="*/ 892768 h 2323145"/>
              <a:gd name="connsiteX31" fmla="*/ 8795998 w 11269336"/>
              <a:gd name="connsiteY31" fmla="*/ 863337 h 2323145"/>
              <a:gd name="connsiteX32" fmla="*/ 8776970 w 11269336"/>
              <a:gd name="connsiteY32" fmla="*/ 885177 h 2323145"/>
              <a:gd name="connsiteX33" fmla="*/ 8755719 w 11269336"/>
              <a:gd name="connsiteY33" fmla="*/ 889754 h 2323145"/>
              <a:gd name="connsiteX34" fmla="*/ 8743257 w 11269336"/>
              <a:gd name="connsiteY34" fmla="*/ 904723 h 2323145"/>
              <a:gd name="connsiteX35" fmla="*/ 8721366 w 11269336"/>
              <a:gd name="connsiteY35" fmla="*/ 904711 h 2323145"/>
              <a:gd name="connsiteX36" fmla="*/ 8678353 w 11269336"/>
              <a:gd name="connsiteY36" fmla="*/ 926318 h 2323145"/>
              <a:gd name="connsiteX37" fmla="*/ 8636849 w 11269336"/>
              <a:gd name="connsiteY37" fmla="*/ 937900 h 2323145"/>
              <a:gd name="connsiteX38" fmla="*/ 8620213 w 11269336"/>
              <a:gd name="connsiteY38" fmla="*/ 943068 h 2323145"/>
              <a:gd name="connsiteX39" fmla="*/ 8612581 w 11269336"/>
              <a:gd name="connsiteY39" fmla="*/ 952695 h 2323145"/>
              <a:gd name="connsiteX40" fmla="*/ 8589038 w 11269336"/>
              <a:gd name="connsiteY40" fmla="*/ 963892 h 2323145"/>
              <a:gd name="connsiteX41" fmla="*/ 8579950 w 11269336"/>
              <a:gd name="connsiteY41" fmla="*/ 960899 h 2323145"/>
              <a:gd name="connsiteX42" fmla="*/ 8579319 w 11269336"/>
              <a:gd name="connsiteY42" fmla="*/ 965630 h 2323145"/>
              <a:gd name="connsiteX43" fmla="*/ 8547429 w 11269336"/>
              <a:gd name="connsiteY43" fmla="*/ 984506 h 2323145"/>
              <a:gd name="connsiteX44" fmla="*/ 8478704 w 11269336"/>
              <a:gd name="connsiteY44" fmla="*/ 1025490 h 2323145"/>
              <a:gd name="connsiteX45" fmla="*/ 8461421 w 11269336"/>
              <a:gd name="connsiteY45" fmla="*/ 1035512 h 2323145"/>
              <a:gd name="connsiteX46" fmla="*/ 8445003 w 11269336"/>
              <a:gd name="connsiteY46" fmla="*/ 1036851 h 2323145"/>
              <a:gd name="connsiteX47" fmla="*/ 8357350 w 11269336"/>
              <a:gd name="connsiteY47" fmla="*/ 1060213 h 2323145"/>
              <a:gd name="connsiteX48" fmla="*/ 8335565 w 11269336"/>
              <a:gd name="connsiteY48" fmla="*/ 1061151 h 2323145"/>
              <a:gd name="connsiteX49" fmla="*/ 8325267 w 11269336"/>
              <a:gd name="connsiteY49" fmla="*/ 1055919 h 2323145"/>
              <a:gd name="connsiteX50" fmla="*/ 8293586 w 11269336"/>
              <a:gd name="connsiteY50" fmla="*/ 1076144 h 2323145"/>
              <a:gd name="connsiteX51" fmla="*/ 8242405 w 11269336"/>
              <a:gd name="connsiteY51" fmla="*/ 1095960 h 2323145"/>
              <a:gd name="connsiteX52" fmla="*/ 8197391 w 11269336"/>
              <a:gd name="connsiteY52" fmla="*/ 1107746 h 2323145"/>
              <a:gd name="connsiteX53" fmla="*/ 8081474 w 11269336"/>
              <a:gd name="connsiteY53" fmla="*/ 1130125 h 2323145"/>
              <a:gd name="connsiteX54" fmla="*/ 8053585 w 11269336"/>
              <a:gd name="connsiteY54" fmla="*/ 1129169 h 2323145"/>
              <a:gd name="connsiteX55" fmla="*/ 8038422 w 11269336"/>
              <a:gd name="connsiteY55" fmla="*/ 1119092 h 2323145"/>
              <a:gd name="connsiteX56" fmla="*/ 8029450 w 11269336"/>
              <a:gd name="connsiteY56" fmla="*/ 1125592 h 2323145"/>
              <a:gd name="connsiteX57" fmla="*/ 7959552 w 11269336"/>
              <a:gd name="connsiteY57" fmla="*/ 1140188 h 2323145"/>
              <a:gd name="connsiteX58" fmla="*/ 7914188 w 11269336"/>
              <a:gd name="connsiteY58" fmla="*/ 1150862 h 2323145"/>
              <a:gd name="connsiteX59" fmla="*/ 7914918 w 11269336"/>
              <a:gd name="connsiteY59" fmla="*/ 1168758 h 2323145"/>
              <a:gd name="connsiteX60" fmla="*/ 7875510 w 11269336"/>
              <a:gd name="connsiteY60" fmla="*/ 1183153 h 2323145"/>
              <a:gd name="connsiteX61" fmla="*/ 7829932 w 11269336"/>
              <a:gd name="connsiteY61" fmla="*/ 1180782 h 2323145"/>
              <a:gd name="connsiteX62" fmla="*/ 7779182 w 11269336"/>
              <a:gd name="connsiteY62" fmla="*/ 1192665 h 2323145"/>
              <a:gd name="connsiteX63" fmla="*/ 7748774 w 11269336"/>
              <a:gd name="connsiteY63" fmla="*/ 1199586 h 2323145"/>
              <a:gd name="connsiteX64" fmla="*/ 7671846 w 11269336"/>
              <a:gd name="connsiteY64" fmla="*/ 1231966 h 2323145"/>
              <a:gd name="connsiteX65" fmla="*/ 7554146 w 11269336"/>
              <a:gd name="connsiteY65" fmla="*/ 1319748 h 2323145"/>
              <a:gd name="connsiteX66" fmla="*/ 7515052 w 11269336"/>
              <a:gd name="connsiteY66" fmla="*/ 1336718 h 2323145"/>
              <a:gd name="connsiteX67" fmla="*/ 7507193 w 11269336"/>
              <a:gd name="connsiteY67" fmla="*/ 1334617 h 2323145"/>
              <a:gd name="connsiteX68" fmla="*/ 7461694 w 11269336"/>
              <a:gd name="connsiteY68" fmla="*/ 1375866 h 2323145"/>
              <a:gd name="connsiteX69" fmla="*/ 7377571 w 11269336"/>
              <a:gd name="connsiteY69" fmla="*/ 1400128 h 2323145"/>
              <a:gd name="connsiteX70" fmla="*/ 7311261 w 11269336"/>
              <a:gd name="connsiteY70" fmla="*/ 1412652 h 2323145"/>
              <a:gd name="connsiteX71" fmla="*/ 7275307 w 11269336"/>
              <a:gd name="connsiteY71" fmla="*/ 1422171 h 2323145"/>
              <a:gd name="connsiteX72" fmla="*/ 7247783 w 11269336"/>
              <a:gd name="connsiteY72" fmla="*/ 1426330 h 2323145"/>
              <a:gd name="connsiteX73" fmla="*/ 7185047 w 11269336"/>
              <a:gd name="connsiteY73" fmla="*/ 1451812 h 2323145"/>
              <a:gd name="connsiteX74" fmla="*/ 7084117 w 11269336"/>
              <a:gd name="connsiteY74" fmla="*/ 1500281 h 2323145"/>
              <a:gd name="connsiteX75" fmla="*/ 7062011 w 11269336"/>
              <a:gd name="connsiteY75" fmla="*/ 1509183 h 2323145"/>
              <a:gd name="connsiteX76" fmla="*/ 7040555 w 11269336"/>
              <a:gd name="connsiteY76" fmla="*/ 1511207 h 2323145"/>
              <a:gd name="connsiteX77" fmla="*/ 7033438 w 11269336"/>
              <a:gd name="connsiteY77" fmla="*/ 1506772 h 2323145"/>
              <a:gd name="connsiteX78" fmla="*/ 7020886 w 11269336"/>
              <a:gd name="connsiteY78" fmla="*/ 1510764 h 2323145"/>
              <a:gd name="connsiteX79" fmla="*/ 7017033 w 11269336"/>
              <a:gd name="connsiteY79" fmla="*/ 1510650 h 2323145"/>
              <a:gd name="connsiteX80" fmla="*/ 6995460 w 11269336"/>
              <a:gd name="connsiteY80" fmla="*/ 1511173 h 2323145"/>
              <a:gd name="connsiteX81" fmla="*/ 6962144 w 11269336"/>
              <a:gd name="connsiteY81" fmla="*/ 1541508 h 2323145"/>
              <a:gd name="connsiteX82" fmla="*/ 6910674 w 11269336"/>
              <a:gd name="connsiteY82" fmla="*/ 1554793 h 2323145"/>
              <a:gd name="connsiteX83" fmla="*/ 6732152 w 11269336"/>
              <a:gd name="connsiteY83" fmla="*/ 1642538 h 2323145"/>
              <a:gd name="connsiteX84" fmla="*/ 6694106 w 11269336"/>
              <a:gd name="connsiteY84" fmla="*/ 1632377 h 2323145"/>
              <a:gd name="connsiteX85" fmla="*/ 6617223 w 11269336"/>
              <a:gd name="connsiteY85" fmla="*/ 1659889 h 2323145"/>
              <a:gd name="connsiteX86" fmla="*/ 6521138 w 11269336"/>
              <a:gd name="connsiteY86" fmla="*/ 1744340 h 2323145"/>
              <a:gd name="connsiteX87" fmla="*/ 6380677 w 11269336"/>
              <a:gd name="connsiteY87" fmla="*/ 1796883 h 2323145"/>
              <a:gd name="connsiteX88" fmla="*/ 6374897 w 11269336"/>
              <a:gd name="connsiteY88" fmla="*/ 1809910 h 2323145"/>
              <a:gd name="connsiteX89" fmla="*/ 6364545 w 11269336"/>
              <a:gd name="connsiteY89" fmla="*/ 1820090 h 2323145"/>
              <a:gd name="connsiteX90" fmla="*/ 6362126 w 11269336"/>
              <a:gd name="connsiteY90" fmla="*/ 1819991 h 2323145"/>
              <a:gd name="connsiteX91" fmla="*/ 6346673 w 11269336"/>
              <a:gd name="connsiteY91" fmla="*/ 1827824 h 2323145"/>
              <a:gd name="connsiteX92" fmla="*/ 6345588 w 11269336"/>
              <a:gd name="connsiteY92" fmla="*/ 1832232 h 2323145"/>
              <a:gd name="connsiteX93" fmla="*/ 6335708 w 11269336"/>
              <a:gd name="connsiteY93" fmla="*/ 1838451 h 2323145"/>
              <a:gd name="connsiteX94" fmla="*/ 6318182 w 11269336"/>
              <a:gd name="connsiteY94" fmla="*/ 1852975 h 2323145"/>
              <a:gd name="connsiteX95" fmla="*/ 6313084 w 11269336"/>
              <a:gd name="connsiteY95" fmla="*/ 1853561 h 2323145"/>
              <a:gd name="connsiteX96" fmla="*/ 6283816 w 11269336"/>
              <a:gd name="connsiteY96" fmla="*/ 1872148 h 2323145"/>
              <a:gd name="connsiteX97" fmla="*/ 6282550 w 11269336"/>
              <a:gd name="connsiteY97" fmla="*/ 1871392 h 2323145"/>
              <a:gd name="connsiteX98" fmla="*/ 6270527 w 11269336"/>
              <a:gd name="connsiteY98" fmla="*/ 1872208 h 2323145"/>
              <a:gd name="connsiteX99" fmla="*/ 6249518 w 11269336"/>
              <a:gd name="connsiteY99" fmla="*/ 1876079 h 2323145"/>
              <a:gd name="connsiteX100" fmla="*/ 6190386 w 11269336"/>
              <a:gd name="connsiteY100" fmla="*/ 1872478 h 2323145"/>
              <a:gd name="connsiteX101" fmla="*/ 6159777 w 11269336"/>
              <a:gd name="connsiteY101" fmla="*/ 1891745 h 2323145"/>
              <a:gd name="connsiteX102" fmla="*/ 6153131 w 11269336"/>
              <a:gd name="connsiteY102" fmla="*/ 1895079 h 2323145"/>
              <a:gd name="connsiteX103" fmla="*/ 6152798 w 11269336"/>
              <a:gd name="connsiteY103" fmla="*/ 1894920 h 2323145"/>
              <a:gd name="connsiteX104" fmla="*/ 6145388 w 11269336"/>
              <a:gd name="connsiteY104" fmla="*/ 1897990 h 2323145"/>
              <a:gd name="connsiteX105" fmla="*/ 6141014 w 11269336"/>
              <a:gd name="connsiteY105" fmla="*/ 1901155 h 2323145"/>
              <a:gd name="connsiteX106" fmla="*/ 6128122 w 11269336"/>
              <a:gd name="connsiteY106" fmla="*/ 1907623 h 2323145"/>
              <a:gd name="connsiteX107" fmla="*/ 6122351 w 11269336"/>
              <a:gd name="connsiteY107" fmla="*/ 1908359 h 2323145"/>
              <a:gd name="connsiteX108" fmla="*/ 6064750 w 11269336"/>
              <a:gd name="connsiteY108" fmla="*/ 1896394 h 2323145"/>
              <a:gd name="connsiteX109" fmla="*/ 5964230 w 11269336"/>
              <a:gd name="connsiteY109" fmla="*/ 1910038 h 2323145"/>
              <a:gd name="connsiteX110" fmla="*/ 5865399 w 11269336"/>
              <a:gd name="connsiteY110" fmla="*/ 1926966 h 2323145"/>
              <a:gd name="connsiteX111" fmla="*/ 5829951 w 11269336"/>
              <a:gd name="connsiteY111" fmla="*/ 1934755 h 2323145"/>
              <a:gd name="connsiteX112" fmla="*/ 5765285 w 11269336"/>
              <a:gd name="connsiteY112" fmla="*/ 1941322 h 2323145"/>
              <a:gd name="connsiteX113" fmla="*/ 5734750 w 11269336"/>
              <a:gd name="connsiteY113" fmla="*/ 1939793 h 2323145"/>
              <a:gd name="connsiteX114" fmla="*/ 5733569 w 11269336"/>
              <a:gd name="connsiteY114" fmla="*/ 1940505 h 2323145"/>
              <a:gd name="connsiteX115" fmla="*/ 5730329 w 11269336"/>
              <a:gd name="connsiteY115" fmla="*/ 1937845 h 2323145"/>
              <a:gd name="connsiteX116" fmla="*/ 5724661 w 11269336"/>
              <a:gd name="connsiteY116" fmla="*/ 1937455 h 2323145"/>
              <a:gd name="connsiteX117" fmla="*/ 5710186 w 11269336"/>
              <a:gd name="connsiteY117" fmla="*/ 1941370 h 2323145"/>
              <a:gd name="connsiteX118" fmla="*/ 5704910 w 11269336"/>
              <a:gd name="connsiteY118" fmla="*/ 1943663 h 2323145"/>
              <a:gd name="connsiteX119" fmla="*/ 5696836 w 11269336"/>
              <a:gd name="connsiteY119" fmla="*/ 1945271 h 2323145"/>
              <a:gd name="connsiteX120" fmla="*/ 5696583 w 11269336"/>
              <a:gd name="connsiteY120" fmla="*/ 1945050 h 2323145"/>
              <a:gd name="connsiteX121" fmla="*/ 5689123 w 11269336"/>
              <a:gd name="connsiteY121" fmla="*/ 1947067 h 2323145"/>
              <a:gd name="connsiteX122" fmla="*/ 5653291 w 11269336"/>
              <a:gd name="connsiteY122" fmla="*/ 1960245 h 2323145"/>
              <a:gd name="connsiteX123" fmla="*/ 5599385 w 11269336"/>
              <a:gd name="connsiteY123" fmla="*/ 1945198 h 2323145"/>
              <a:gd name="connsiteX124" fmla="*/ 5578300 w 11269336"/>
              <a:gd name="connsiteY124" fmla="*/ 1944963 h 2323145"/>
              <a:gd name="connsiteX125" fmla="*/ 5566758 w 11269336"/>
              <a:gd name="connsiteY125" fmla="*/ 1943441 h 2323145"/>
              <a:gd name="connsiteX126" fmla="*/ 5565857 w 11269336"/>
              <a:gd name="connsiteY126" fmla="*/ 1942445 h 2323145"/>
              <a:gd name="connsiteX127" fmla="*/ 5531534 w 11269336"/>
              <a:gd name="connsiteY127" fmla="*/ 1955208 h 2323145"/>
              <a:gd name="connsiteX128" fmla="*/ 5526552 w 11269336"/>
              <a:gd name="connsiteY128" fmla="*/ 1954799 h 2323145"/>
              <a:gd name="connsiteX129" fmla="*/ 5504723 w 11269336"/>
              <a:gd name="connsiteY129" fmla="*/ 1965811 h 2323145"/>
              <a:gd name="connsiteX130" fmla="*/ 5493156 w 11269336"/>
              <a:gd name="connsiteY130" fmla="*/ 1970063 h 2323145"/>
              <a:gd name="connsiteX131" fmla="*/ 5490486 w 11269336"/>
              <a:gd name="connsiteY131" fmla="*/ 1974227 h 2323145"/>
              <a:gd name="connsiteX132" fmla="*/ 5473107 w 11269336"/>
              <a:gd name="connsiteY132" fmla="*/ 1979001 h 2323145"/>
              <a:gd name="connsiteX133" fmla="*/ 5470885 w 11269336"/>
              <a:gd name="connsiteY133" fmla="*/ 1978432 h 2323145"/>
              <a:gd name="connsiteX134" fmla="*/ 5457393 w 11269336"/>
              <a:gd name="connsiteY134" fmla="*/ 1986525 h 2323145"/>
              <a:gd name="connsiteX135" fmla="*/ 5447102 w 11269336"/>
              <a:gd name="connsiteY135" fmla="*/ 1998329 h 2323145"/>
              <a:gd name="connsiteX136" fmla="*/ 5159151 w 11269336"/>
              <a:gd name="connsiteY136" fmla="*/ 2029640 h 2323145"/>
              <a:gd name="connsiteX137" fmla="*/ 5041688 w 11269336"/>
              <a:gd name="connsiteY137" fmla="*/ 2022334 h 2323145"/>
              <a:gd name="connsiteX138" fmla="*/ 4860988 w 11269336"/>
              <a:gd name="connsiteY138" fmla="*/ 2135698 h 2323145"/>
              <a:gd name="connsiteX139" fmla="*/ 4807902 w 11269336"/>
              <a:gd name="connsiteY139" fmla="*/ 2138894 h 2323145"/>
              <a:gd name="connsiteX140" fmla="*/ 4765388 w 11269336"/>
              <a:gd name="connsiteY140" fmla="*/ 2162525 h 2323145"/>
              <a:gd name="connsiteX141" fmla="*/ 4745033 w 11269336"/>
              <a:gd name="connsiteY141" fmla="*/ 2158859 h 2323145"/>
              <a:gd name="connsiteX142" fmla="*/ 4741475 w 11269336"/>
              <a:gd name="connsiteY142" fmla="*/ 2157998 h 2323145"/>
              <a:gd name="connsiteX143" fmla="*/ 4728247 w 11269336"/>
              <a:gd name="connsiteY143" fmla="*/ 2159526 h 2323145"/>
              <a:gd name="connsiteX144" fmla="*/ 4723263 w 11269336"/>
              <a:gd name="connsiteY144" fmla="*/ 2153742 h 2323145"/>
              <a:gd name="connsiteX145" fmla="*/ 4702453 w 11269336"/>
              <a:gd name="connsiteY145" fmla="*/ 2151586 h 2323145"/>
              <a:gd name="connsiteX146" fmla="*/ 4678455 w 11269336"/>
              <a:gd name="connsiteY146" fmla="*/ 2156131 h 2323145"/>
              <a:gd name="connsiteX147" fmla="*/ 4593061 w 11269336"/>
              <a:gd name="connsiteY147" fmla="*/ 2171597 h 2323145"/>
              <a:gd name="connsiteX148" fmla="*/ 4579902 w 11269336"/>
              <a:gd name="connsiteY148" fmla="*/ 2177927 h 2323145"/>
              <a:gd name="connsiteX149" fmla="*/ 4533444 w 11269336"/>
              <a:gd name="connsiteY149" fmla="*/ 2181200 h 2323145"/>
              <a:gd name="connsiteX150" fmla="*/ 4492832 w 11269336"/>
              <a:gd name="connsiteY150" fmla="*/ 2188033 h 2323145"/>
              <a:gd name="connsiteX151" fmla="*/ 4467257 w 11269336"/>
              <a:gd name="connsiteY151" fmla="*/ 2196121 h 2323145"/>
              <a:gd name="connsiteX152" fmla="*/ 4459937 w 11269336"/>
              <a:gd name="connsiteY152" fmla="*/ 2195182 h 2323145"/>
              <a:gd name="connsiteX153" fmla="*/ 4433312 w 11269336"/>
              <a:gd name="connsiteY153" fmla="*/ 2199004 h 2323145"/>
              <a:gd name="connsiteX154" fmla="*/ 4420601 w 11269336"/>
              <a:gd name="connsiteY154" fmla="*/ 2205158 h 2323145"/>
              <a:gd name="connsiteX155" fmla="*/ 4405765 w 11269336"/>
              <a:gd name="connsiteY155" fmla="*/ 2199902 h 2323145"/>
              <a:gd name="connsiteX156" fmla="*/ 4401354 w 11269336"/>
              <a:gd name="connsiteY156" fmla="*/ 2194745 h 2323145"/>
              <a:gd name="connsiteX157" fmla="*/ 4383151 w 11269336"/>
              <a:gd name="connsiteY157" fmla="*/ 2201140 h 2323145"/>
              <a:gd name="connsiteX158" fmla="*/ 4366646 w 11269336"/>
              <a:gd name="connsiteY158" fmla="*/ 2198564 h 2323145"/>
              <a:gd name="connsiteX159" fmla="*/ 4354009 w 11269336"/>
              <a:gd name="connsiteY159" fmla="*/ 2204984 h 2323145"/>
              <a:gd name="connsiteX160" fmla="*/ 4348284 w 11269336"/>
              <a:gd name="connsiteY160" fmla="*/ 2205270 h 2323145"/>
              <a:gd name="connsiteX161" fmla="*/ 4333906 w 11269336"/>
              <a:gd name="connsiteY161" fmla="*/ 2205251 h 2323145"/>
              <a:gd name="connsiteX162" fmla="*/ 4308819 w 11269336"/>
              <a:gd name="connsiteY162" fmla="*/ 2203822 h 2323145"/>
              <a:gd name="connsiteX163" fmla="*/ 4301210 w 11269336"/>
              <a:gd name="connsiteY163" fmla="*/ 2204456 h 2323145"/>
              <a:gd name="connsiteX164" fmla="*/ 4283095 w 11269336"/>
              <a:gd name="connsiteY164" fmla="*/ 2198177 h 2323145"/>
              <a:gd name="connsiteX165" fmla="*/ 4250119 w 11269336"/>
              <a:gd name="connsiteY165" fmla="*/ 2196342 h 2323145"/>
              <a:gd name="connsiteX166" fmla="*/ 4189203 w 11269336"/>
              <a:gd name="connsiteY166" fmla="*/ 2178994 h 2323145"/>
              <a:gd name="connsiteX167" fmla="*/ 4154035 w 11269336"/>
              <a:gd name="connsiteY167" fmla="*/ 2171950 h 2323145"/>
              <a:gd name="connsiteX168" fmla="*/ 4129569 w 11269336"/>
              <a:gd name="connsiteY168" fmla="*/ 2163850 h 2323145"/>
              <a:gd name="connsiteX169" fmla="*/ 4061250 w 11269336"/>
              <a:gd name="connsiteY169" fmla="*/ 2159236 h 2323145"/>
              <a:gd name="connsiteX170" fmla="*/ 3945480 w 11269336"/>
              <a:gd name="connsiteY170" fmla="*/ 2158279 h 2323145"/>
              <a:gd name="connsiteX171" fmla="*/ 3921468 w 11269336"/>
              <a:gd name="connsiteY171" fmla="*/ 2156588 h 2323145"/>
              <a:gd name="connsiteX172" fmla="*/ 3903348 w 11269336"/>
              <a:gd name="connsiteY172" fmla="*/ 2149220 h 2323145"/>
              <a:gd name="connsiteX173" fmla="*/ 3901342 w 11269336"/>
              <a:gd name="connsiteY173" fmla="*/ 2142355 h 2323145"/>
              <a:gd name="connsiteX174" fmla="*/ 3888539 w 11269336"/>
              <a:gd name="connsiteY174" fmla="*/ 2140476 h 2323145"/>
              <a:gd name="connsiteX175" fmla="*/ 3885662 w 11269336"/>
              <a:gd name="connsiteY175" fmla="*/ 2138740 h 2323145"/>
              <a:gd name="connsiteX176" fmla="*/ 3868627 w 11269336"/>
              <a:gd name="connsiteY176" fmla="*/ 2130023 h 2323145"/>
              <a:gd name="connsiteX177" fmla="*/ 3819177 w 11269336"/>
              <a:gd name="connsiteY177" fmla="*/ 2142111 h 2323145"/>
              <a:gd name="connsiteX178" fmla="*/ 3769100 w 11269336"/>
              <a:gd name="connsiteY178" fmla="*/ 2131731 h 2323145"/>
              <a:gd name="connsiteX179" fmla="*/ 3562752 w 11269336"/>
              <a:gd name="connsiteY179" fmla="*/ 2131785 h 2323145"/>
              <a:gd name="connsiteX180" fmla="*/ 3541402 w 11269336"/>
              <a:gd name="connsiteY180" fmla="*/ 2106821 h 2323145"/>
              <a:gd name="connsiteX181" fmla="*/ 3365341 w 11269336"/>
              <a:gd name="connsiteY181" fmla="*/ 2077638 h 2323145"/>
              <a:gd name="connsiteX182" fmla="*/ 3170922 w 11269336"/>
              <a:gd name="connsiteY182" fmla="*/ 2115957 h 2323145"/>
              <a:gd name="connsiteX183" fmla="*/ 3156256 w 11269336"/>
              <a:gd name="connsiteY183" fmla="*/ 2124773 h 2323145"/>
              <a:gd name="connsiteX184" fmla="*/ 3140298 w 11269336"/>
              <a:gd name="connsiteY184" fmla="*/ 2129182 h 2323145"/>
              <a:gd name="connsiteX185" fmla="*/ 3138514 w 11269336"/>
              <a:gd name="connsiteY185" fmla="*/ 2128069 h 2323145"/>
              <a:gd name="connsiteX186" fmla="*/ 3120467 w 11269336"/>
              <a:gd name="connsiteY186" fmla="*/ 2128281 h 2323145"/>
              <a:gd name="connsiteX187" fmla="*/ 3116175 w 11269336"/>
              <a:gd name="connsiteY187" fmla="*/ 2131633 h 2323145"/>
              <a:gd name="connsiteX188" fmla="*/ 3103685 w 11269336"/>
              <a:gd name="connsiteY188" fmla="*/ 2132814 h 2323145"/>
              <a:gd name="connsiteX189" fmla="*/ 3078794 w 11269336"/>
              <a:gd name="connsiteY189" fmla="*/ 2137935 h 2323145"/>
              <a:gd name="connsiteX190" fmla="*/ 3074407 w 11269336"/>
              <a:gd name="connsiteY190" fmla="*/ 2136274 h 2323145"/>
              <a:gd name="connsiteX191" fmla="*/ 3037285 w 11269336"/>
              <a:gd name="connsiteY191" fmla="*/ 2139919 h 2323145"/>
              <a:gd name="connsiteX192" fmla="*/ 3036901 w 11269336"/>
              <a:gd name="connsiteY192" fmla="*/ 2138726 h 2323145"/>
              <a:gd name="connsiteX193" fmla="*/ 3026996 w 11269336"/>
              <a:gd name="connsiteY193" fmla="*/ 2134322 h 2323145"/>
              <a:gd name="connsiteX194" fmla="*/ 3007772 w 11269336"/>
              <a:gd name="connsiteY194" fmla="*/ 2128742 h 2323145"/>
              <a:gd name="connsiteX195" fmla="*/ 2965030 w 11269336"/>
              <a:gd name="connsiteY195" fmla="*/ 2100494 h 2323145"/>
              <a:gd name="connsiteX196" fmla="*/ 2926342 w 11269336"/>
              <a:gd name="connsiteY196" fmla="*/ 2104155 h 2323145"/>
              <a:gd name="connsiteX197" fmla="*/ 2918608 w 11269336"/>
              <a:gd name="connsiteY197" fmla="*/ 2104215 h 2323145"/>
              <a:gd name="connsiteX198" fmla="*/ 2918475 w 11269336"/>
              <a:gd name="connsiteY198" fmla="*/ 2103937 h 2323145"/>
              <a:gd name="connsiteX199" fmla="*/ 2910360 w 11269336"/>
              <a:gd name="connsiteY199" fmla="*/ 2103444 h 2323145"/>
              <a:gd name="connsiteX200" fmla="*/ 2904507 w 11269336"/>
              <a:gd name="connsiteY200" fmla="*/ 2104326 h 2323145"/>
              <a:gd name="connsiteX201" fmla="*/ 2889503 w 11269336"/>
              <a:gd name="connsiteY201" fmla="*/ 2104443 h 2323145"/>
              <a:gd name="connsiteX202" fmla="*/ 2884480 w 11269336"/>
              <a:gd name="connsiteY202" fmla="*/ 2102626 h 2323145"/>
              <a:gd name="connsiteX203" fmla="*/ 2882689 w 11269336"/>
              <a:gd name="connsiteY203" fmla="*/ 2099228 h 2323145"/>
              <a:gd name="connsiteX204" fmla="*/ 2881291 w 11269336"/>
              <a:gd name="connsiteY204" fmla="*/ 2099618 h 2323145"/>
              <a:gd name="connsiteX205" fmla="*/ 2853979 w 11269336"/>
              <a:gd name="connsiteY205" fmla="*/ 2090388 h 2323145"/>
              <a:gd name="connsiteX206" fmla="*/ 2791790 w 11269336"/>
              <a:gd name="connsiteY206" fmla="*/ 2080332 h 2323145"/>
              <a:gd name="connsiteX207" fmla="*/ 2755844 w 11269336"/>
              <a:gd name="connsiteY207" fmla="*/ 2078874 h 2323145"/>
              <a:gd name="connsiteX208" fmla="*/ 2657742 w 11269336"/>
              <a:gd name="connsiteY208" fmla="*/ 2070179 h 2323145"/>
              <a:gd name="connsiteX209" fmla="*/ 2559549 w 11269336"/>
              <a:gd name="connsiteY209" fmla="*/ 2057873 h 2323145"/>
              <a:gd name="connsiteX210" fmla="*/ 2512054 w 11269336"/>
              <a:gd name="connsiteY210" fmla="*/ 2031671 h 2323145"/>
              <a:gd name="connsiteX211" fmla="*/ 2506437 w 11269336"/>
              <a:gd name="connsiteY211" fmla="*/ 2030918 h 2323145"/>
              <a:gd name="connsiteX212" fmla="*/ 2491752 w 11269336"/>
              <a:gd name="connsiteY212" fmla="*/ 2033906 h 2323145"/>
              <a:gd name="connsiteX213" fmla="*/ 2486338 w 11269336"/>
              <a:gd name="connsiteY213" fmla="*/ 2035862 h 2323145"/>
              <a:gd name="connsiteX214" fmla="*/ 2478186 w 11269336"/>
              <a:gd name="connsiteY214" fmla="*/ 2036953 h 2323145"/>
              <a:gd name="connsiteX215" fmla="*/ 2477950 w 11269336"/>
              <a:gd name="connsiteY215" fmla="*/ 2036715 h 2323145"/>
              <a:gd name="connsiteX216" fmla="*/ 2470381 w 11269336"/>
              <a:gd name="connsiteY216" fmla="*/ 2038256 h 2323145"/>
              <a:gd name="connsiteX217" fmla="*/ 2433781 w 11269336"/>
              <a:gd name="connsiteY217" fmla="*/ 2049140 h 2323145"/>
              <a:gd name="connsiteX218" fmla="*/ 2381172 w 11269336"/>
              <a:gd name="connsiteY218" fmla="*/ 2030645 h 2323145"/>
              <a:gd name="connsiteX219" fmla="*/ 2360198 w 11269336"/>
              <a:gd name="connsiteY219" fmla="*/ 2029059 h 2323145"/>
              <a:gd name="connsiteX220" fmla="*/ 2348815 w 11269336"/>
              <a:gd name="connsiteY220" fmla="*/ 2026798 h 2323145"/>
              <a:gd name="connsiteX221" fmla="*/ 2347988 w 11269336"/>
              <a:gd name="connsiteY221" fmla="*/ 2025745 h 2323145"/>
              <a:gd name="connsiteX222" fmla="*/ 2312920 w 11269336"/>
              <a:gd name="connsiteY222" fmla="*/ 2036311 h 2323145"/>
              <a:gd name="connsiteX223" fmla="*/ 2307986 w 11269336"/>
              <a:gd name="connsiteY223" fmla="*/ 2035583 h 2323145"/>
              <a:gd name="connsiteX224" fmla="*/ 2285481 w 11269336"/>
              <a:gd name="connsiteY224" fmla="*/ 2045197 h 2323145"/>
              <a:gd name="connsiteX225" fmla="*/ 2273666 w 11269336"/>
              <a:gd name="connsiteY225" fmla="*/ 2048710 h 2323145"/>
              <a:gd name="connsiteX226" fmla="*/ 2270719 w 11269336"/>
              <a:gd name="connsiteY226" fmla="*/ 2052702 h 2323145"/>
              <a:gd name="connsiteX227" fmla="*/ 2253080 w 11269336"/>
              <a:gd name="connsiteY227" fmla="*/ 2056363 h 2323145"/>
              <a:gd name="connsiteX228" fmla="*/ 2250906 w 11269336"/>
              <a:gd name="connsiteY228" fmla="*/ 2055654 h 2323145"/>
              <a:gd name="connsiteX229" fmla="*/ 2236905 w 11269336"/>
              <a:gd name="connsiteY229" fmla="*/ 2062882 h 2323145"/>
              <a:gd name="connsiteX230" fmla="*/ 2225830 w 11269336"/>
              <a:gd name="connsiteY230" fmla="*/ 2074027 h 2323145"/>
              <a:gd name="connsiteX231" fmla="*/ 2073776 w 11269336"/>
              <a:gd name="connsiteY231" fmla="*/ 2089244 h 2323145"/>
              <a:gd name="connsiteX232" fmla="*/ 1948256 w 11269336"/>
              <a:gd name="connsiteY232" fmla="*/ 2146616 h 2323145"/>
              <a:gd name="connsiteX233" fmla="*/ 1865582 w 11269336"/>
              <a:gd name="connsiteY233" fmla="*/ 2153738 h 2323145"/>
              <a:gd name="connsiteX234" fmla="*/ 1835210 w 11269336"/>
              <a:gd name="connsiteY234" fmla="*/ 2134244 h 2323145"/>
              <a:gd name="connsiteX235" fmla="*/ 1632661 w 11269336"/>
              <a:gd name="connsiteY235" fmla="*/ 2173882 h 2323145"/>
              <a:gd name="connsiteX236" fmla="*/ 1579590 w 11269336"/>
              <a:gd name="connsiteY236" fmla="*/ 2173680 h 2323145"/>
              <a:gd name="connsiteX237" fmla="*/ 1535601 w 11269336"/>
              <a:gd name="connsiteY237" fmla="*/ 2194590 h 2323145"/>
              <a:gd name="connsiteX238" fmla="*/ 1515594 w 11269336"/>
              <a:gd name="connsiteY238" fmla="*/ 2189622 h 2323145"/>
              <a:gd name="connsiteX239" fmla="*/ 1512113 w 11269336"/>
              <a:gd name="connsiteY239" fmla="*/ 2188534 h 2323145"/>
              <a:gd name="connsiteX240" fmla="*/ 1498838 w 11269336"/>
              <a:gd name="connsiteY240" fmla="*/ 2189213 h 2323145"/>
              <a:gd name="connsiteX241" fmla="*/ 1494279 w 11269336"/>
              <a:gd name="connsiteY241" fmla="*/ 2183112 h 2323145"/>
              <a:gd name="connsiteX242" fmla="*/ 1473714 w 11269336"/>
              <a:gd name="connsiteY242" fmla="*/ 2179625 h 2323145"/>
              <a:gd name="connsiteX243" fmla="*/ 1449503 w 11269336"/>
              <a:gd name="connsiteY243" fmla="*/ 2182633 h 2323145"/>
              <a:gd name="connsiteX244" fmla="*/ 1266687 w 11269336"/>
              <a:gd name="connsiteY244" fmla="*/ 2212688 h 2323145"/>
              <a:gd name="connsiteX245" fmla="*/ 1239614 w 11269336"/>
              <a:gd name="connsiteY245" fmla="*/ 2209727 h 2323145"/>
              <a:gd name="connsiteX246" fmla="*/ 1202436 w 11269336"/>
              <a:gd name="connsiteY246" fmla="*/ 2209817 h 2323145"/>
              <a:gd name="connsiteX247" fmla="*/ 1136097 w 11269336"/>
              <a:gd name="connsiteY247" fmla="*/ 2205112 h 2323145"/>
              <a:gd name="connsiteX248" fmla="*/ 988232 w 11269336"/>
              <a:gd name="connsiteY248" fmla="*/ 2235635 h 2323145"/>
              <a:gd name="connsiteX249" fmla="*/ 981959 w 11269336"/>
              <a:gd name="connsiteY249" fmla="*/ 2231607 h 2323145"/>
              <a:gd name="connsiteX250" fmla="*/ 938600 w 11269336"/>
              <a:gd name="connsiteY250" fmla="*/ 2238113 h 2323145"/>
              <a:gd name="connsiteX251" fmla="*/ 791788 w 11269336"/>
              <a:gd name="connsiteY251" fmla="*/ 2293224 h 2323145"/>
              <a:gd name="connsiteX252" fmla="*/ 706914 w 11269336"/>
              <a:gd name="connsiteY252" fmla="*/ 2305046 h 2323145"/>
              <a:gd name="connsiteX253" fmla="*/ 675971 w 11269336"/>
              <a:gd name="connsiteY253" fmla="*/ 2304030 h 2323145"/>
              <a:gd name="connsiteX254" fmla="*/ 624180 w 11269336"/>
              <a:gd name="connsiteY254" fmla="*/ 2302650 h 2323145"/>
              <a:gd name="connsiteX255" fmla="*/ 583453 w 11269336"/>
              <a:gd name="connsiteY255" fmla="*/ 2288788 h 2323145"/>
              <a:gd name="connsiteX256" fmla="*/ 540946 w 11269336"/>
              <a:gd name="connsiteY256" fmla="*/ 2292721 h 2323145"/>
              <a:gd name="connsiteX257" fmla="*/ 533680 w 11269336"/>
              <a:gd name="connsiteY257" fmla="*/ 2310233 h 2323145"/>
              <a:gd name="connsiteX258" fmla="*/ 487366 w 11269336"/>
              <a:gd name="connsiteY258" fmla="*/ 2309053 h 2323145"/>
              <a:gd name="connsiteX259" fmla="*/ 416820 w 11269336"/>
              <a:gd name="connsiteY259" fmla="*/ 2305443 h 2323145"/>
              <a:gd name="connsiteX260" fmla="*/ 376805 w 11269336"/>
              <a:gd name="connsiteY260" fmla="*/ 2307647 h 2323145"/>
              <a:gd name="connsiteX261" fmla="*/ 266777 w 11269336"/>
              <a:gd name="connsiteY261" fmla="*/ 2309012 h 2323145"/>
              <a:gd name="connsiteX262" fmla="*/ 156013 w 11269336"/>
              <a:gd name="connsiteY262" fmla="*/ 2306832 h 2323145"/>
              <a:gd name="connsiteX263" fmla="*/ 87258 w 11269336"/>
              <a:gd name="connsiteY263" fmla="*/ 2285511 h 2323145"/>
              <a:gd name="connsiteX264" fmla="*/ 23798 w 11269336"/>
              <a:gd name="connsiteY264" fmla="*/ 2281822 h 2323145"/>
              <a:gd name="connsiteX265" fmla="*/ 0 w 11269336"/>
              <a:gd name="connsiteY265" fmla="*/ 2285369 h 2323145"/>
              <a:gd name="connsiteX266" fmla="*/ 0 w 11269336"/>
              <a:gd name="connsiteY26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114263 w 11269336"/>
              <a:gd name="connsiteY21" fmla="*/ 709213 h 2323145"/>
              <a:gd name="connsiteX22" fmla="*/ 9028928 w 11269336"/>
              <a:gd name="connsiteY22" fmla="*/ 745350 h 2323145"/>
              <a:gd name="connsiteX23" fmla="*/ 8977138 w 11269336"/>
              <a:gd name="connsiteY23" fmla="*/ 774970 h 2323145"/>
              <a:gd name="connsiteX24" fmla="*/ 8947030 w 11269336"/>
              <a:gd name="connsiteY24" fmla="*/ 814934 h 2323145"/>
              <a:gd name="connsiteX25" fmla="*/ 8914746 w 11269336"/>
              <a:gd name="connsiteY25" fmla="*/ 826428 h 2323145"/>
              <a:gd name="connsiteX26" fmla="*/ 8917778 w 11269336"/>
              <a:gd name="connsiteY26" fmla="*/ 835198 h 2323145"/>
              <a:gd name="connsiteX27" fmla="*/ 8905560 w 11269336"/>
              <a:gd name="connsiteY27" fmla="*/ 838358 h 2323145"/>
              <a:gd name="connsiteX28" fmla="*/ 8897564 w 11269336"/>
              <a:gd name="connsiteY28" fmla="*/ 834287 h 2323145"/>
              <a:gd name="connsiteX29" fmla="*/ 8878040 w 11269336"/>
              <a:gd name="connsiteY29" fmla="*/ 844150 h 2323145"/>
              <a:gd name="connsiteX30" fmla="*/ 8882654 w 11269336"/>
              <a:gd name="connsiteY30" fmla="*/ 892768 h 2323145"/>
              <a:gd name="connsiteX31" fmla="*/ 8795998 w 11269336"/>
              <a:gd name="connsiteY31" fmla="*/ 863337 h 2323145"/>
              <a:gd name="connsiteX32" fmla="*/ 8776970 w 11269336"/>
              <a:gd name="connsiteY32" fmla="*/ 885177 h 2323145"/>
              <a:gd name="connsiteX33" fmla="*/ 8755719 w 11269336"/>
              <a:gd name="connsiteY33" fmla="*/ 889754 h 2323145"/>
              <a:gd name="connsiteX34" fmla="*/ 8743257 w 11269336"/>
              <a:gd name="connsiteY34" fmla="*/ 904723 h 2323145"/>
              <a:gd name="connsiteX35" fmla="*/ 8721366 w 11269336"/>
              <a:gd name="connsiteY35" fmla="*/ 904711 h 2323145"/>
              <a:gd name="connsiteX36" fmla="*/ 8678353 w 11269336"/>
              <a:gd name="connsiteY36" fmla="*/ 926318 h 2323145"/>
              <a:gd name="connsiteX37" fmla="*/ 8636849 w 11269336"/>
              <a:gd name="connsiteY37" fmla="*/ 937900 h 2323145"/>
              <a:gd name="connsiteX38" fmla="*/ 8620213 w 11269336"/>
              <a:gd name="connsiteY38" fmla="*/ 943068 h 2323145"/>
              <a:gd name="connsiteX39" fmla="*/ 8612581 w 11269336"/>
              <a:gd name="connsiteY39" fmla="*/ 952695 h 2323145"/>
              <a:gd name="connsiteX40" fmla="*/ 8589038 w 11269336"/>
              <a:gd name="connsiteY40" fmla="*/ 963892 h 2323145"/>
              <a:gd name="connsiteX41" fmla="*/ 8579950 w 11269336"/>
              <a:gd name="connsiteY41" fmla="*/ 960899 h 2323145"/>
              <a:gd name="connsiteX42" fmla="*/ 8579319 w 11269336"/>
              <a:gd name="connsiteY42" fmla="*/ 965630 h 2323145"/>
              <a:gd name="connsiteX43" fmla="*/ 8547429 w 11269336"/>
              <a:gd name="connsiteY43" fmla="*/ 984506 h 2323145"/>
              <a:gd name="connsiteX44" fmla="*/ 8478704 w 11269336"/>
              <a:gd name="connsiteY44" fmla="*/ 1025490 h 2323145"/>
              <a:gd name="connsiteX45" fmla="*/ 8461421 w 11269336"/>
              <a:gd name="connsiteY45" fmla="*/ 1035512 h 2323145"/>
              <a:gd name="connsiteX46" fmla="*/ 8445003 w 11269336"/>
              <a:gd name="connsiteY46" fmla="*/ 1036851 h 2323145"/>
              <a:gd name="connsiteX47" fmla="*/ 8357350 w 11269336"/>
              <a:gd name="connsiteY47" fmla="*/ 1060213 h 2323145"/>
              <a:gd name="connsiteX48" fmla="*/ 8335565 w 11269336"/>
              <a:gd name="connsiteY48" fmla="*/ 1061151 h 2323145"/>
              <a:gd name="connsiteX49" fmla="*/ 8325267 w 11269336"/>
              <a:gd name="connsiteY49" fmla="*/ 1055919 h 2323145"/>
              <a:gd name="connsiteX50" fmla="*/ 8293586 w 11269336"/>
              <a:gd name="connsiteY50" fmla="*/ 1076144 h 2323145"/>
              <a:gd name="connsiteX51" fmla="*/ 8242405 w 11269336"/>
              <a:gd name="connsiteY51" fmla="*/ 1095960 h 2323145"/>
              <a:gd name="connsiteX52" fmla="*/ 8197391 w 11269336"/>
              <a:gd name="connsiteY52" fmla="*/ 1107746 h 2323145"/>
              <a:gd name="connsiteX53" fmla="*/ 8081474 w 11269336"/>
              <a:gd name="connsiteY53" fmla="*/ 1130125 h 2323145"/>
              <a:gd name="connsiteX54" fmla="*/ 8053585 w 11269336"/>
              <a:gd name="connsiteY54" fmla="*/ 1129169 h 2323145"/>
              <a:gd name="connsiteX55" fmla="*/ 8038422 w 11269336"/>
              <a:gd name="connsiteY55" fmla="*/ 1119092 h 2323145"/>
              <a:gd name="connsiteX56" fmla="*/ 8029450 w 11269336"/>
              <a:gd name="connsiteY56" fmla="*/ 1125592 h 2323145"/>
              <a:gd name="connsiteX57" fmla="*/ 7959552 w 11269336"/>
              <a:gd name="connsiteY57" fmla="*/ 1140188 h 2323145"/>
              <a:gd name="connsiteX58" fmla="*/ 7914188 w 11269336"/>
              <a:gd name="connsiteY58" fmla="*/ 1150862 h 2323145"/>
              <a:gd name="connsiteX59" fmla="*/ 7914918 w 11269336"/>
              <a:gd name="connsiteY59" fmla="*/ 1168758 h 2323145"/>
              <a:gd name="connsiteX60" fmla="*/ 7875510 w 11269336"/>
              <a:gd name="connsiteY60" fmla="*/ 1183153 h 2323145"/>
              <a:gd name="connsiteX61" fmla="*/ 7829932 w 11269336"/>
              <a:gd name="connsiteY61" fmla="*/ 1180782 h 2323145"/>
              <a:gd name="connsiteX62" fmla="*/ 7779182 w 11269336"/>
              <a:gd name="connsiteY62" fmla="*/ 1192665 h 2323145"/>
              <a:gd name="connsiteX63" fmla="*/ 7748774 w 11269336"/>
              <a:gd name="connsiteY63" fmla="*/ 1199586 h 2323145"/>
              <a:gd name="connsiteX64" fmla="*/ 7671846 w 11269336"/>
              <a:gd name="connsiteY64" fmla="*/ 1231966 h 2323145"/>
              <a:gd name="connsiteX65" fmla="*/ 7554146 w 11269336"/>
              <a:gd name="connsiteY65" fmla="*/ 1319748 h 2323145"/>
              <a:gd name="connsiteX66" fmla="*/ 7515052 w 11269336"/>
              <a:gd name="connsiteY66" fmla="*/ 1336718 h 2323145"/>
              <a:gd name="connsiteX67" fmla="*/ 7507193 w 11269336"/>
              <a:gd name="connsiteY67" fmla="*/ 1334617 h 2323145"/>
              <a:gd name="connsiteX68" fmla="*/ 7461694 w 11269336"/>
              <a:gd name="connsiteY68" fmla="*/ 1375866 h 2323145"/>
              <a:gd name="connsiteX69" fmla="*/ 7377571 w 11269336"/>
              <a:gd name="connsiteY69" fmla="*/ 1400128 h 2323145"/>
              <a:gd name="connsiteX70" fmla="*/ 7311261 w 11269336"/>
              <a:gd name="connsiteY70" fmla="*/ 1412652 h 2323145"/>
              <a:gd name="connsiteX71" fmla="*/ 7275307 w 11269336"/>
              <a:gd name="connsiteY71" fmla="*/ 1422171 h 2323145"/>
              <a:gd name="connsiteX72" fmla="*/ 7247783 w 11269336"/>
              <a:gd name="connsiteY72" fmla="*/ 1426330 h 2323145"/>
              <a:gd name="connsiteX73" fmla="*/ 7185047 w 11269336"/>
              <a:gd name="connsiteY73" fmla="*/ 1451812 h 2323145"/>
              <a:gd name="connsiteX74" fmla="*/ 7084117 w 11269336"/>
              <a:gd name="connsiteY74" fmla="*/ 1500281 h 2323145"/>
              <a:gd name="connsiteX75" fmla="*/ 7062011 w 11269336"/>
              <a:gd name="connsiteY75" fmla="*/ 1509183 h 2323145"/>
              <a:gd name="connsiteX76" fmla="*/ 7040555 w 11269336"/>
              <a:gd name="connsiteY76" fmla="*/ 1511207 h 2323145"/>
              <a:gd name="connsiteX77" fmla="*/ 7033438 w 11269336"/>
              <a:gd name="connsiteY77" fmla="*/ 1506772 h 2323145"/>
              <a:gd name="connsiteX78" fmla="*/ 7020886 w 11269336"/>
              <a:gd name="connsiteY78" fmla="*/ 1510764 h 2323145"/>
              <a:gd name="connsiteX79" fmla="*/ 7017033 w 11269336"/>
              <a:gd name="connsiteY79" fmla="*/ 1510650 h 2323145"/>
              <a:gd name="connsiteX80" fmla="*/ 6995460 w 11269336"/>
              <a:gd name="connsiteY80" fmla="*/ 1511173 h 2323145"/>
              <a:gd name="connsiteX81" fmla="*/ 6962144 w 11269336"/>
              <a:gd name="connsiteY81" fmla="*/ 1541508 h 2323145"/>
              <a:gd name="connsiteX82" fmla="*/ 6910674 w 11269336"/>
              <a:gd name="connsiteY82" fmla="*/ 1554793 h 2323145"/>
              <a:gd name="connsiteX83" fmla="*/ 6732152 w 11269336"/>
              <a:gd name="connsiteY83" fmla="*/ 1642538 h 2323145"/>
              <a:gd name="connsiteX84" fmla="*/ 6694106 w 11269336"/>
              <a:gd name="connsiteY84" fmla="*/ 1632377 h 2323145"/>
              <a:gd name="connsiteX85" fmla="*/ 6617223 w 11269336"/>
              <a:gd name="connsiteY85" fmla="*/ 1659889 h 2323145"/>
              <a:gd name="connsiteX86" fmla="*/ 6521138 w 11269336"/>
              <a:gd name="connsiteY86" fmla="*/ 1744340 h 2323145"/>
              <a:gd name="connsiteX87" fmla="*/ 6380677 w 11269336"/>
              <a:gd name="connsiteY87" fmla="*/ 1796883 h 2323145"/>
              <a:gd name="connsiteX88" fmla="*/ 6374897 w 11269336"/>
              <a:gd name="connsiteY88" fmla="*/ 1809910 h 2323145"/>
              <a:gd name="connsiteX89" fmla="*/ 6364545 w 11269336"/>
              <a:gd name="connsiteY89" fmla="*/ 1820090 h 2323145"/>
              <a:gd name="connsiteX90" fmla="*/ 6362126 w 11269336"/>
              <a:gd name="connsiteY90" fmla="*/ 1819991 h 2323145"/>
              <a:gd name="connsiteX91" fmla="*/ 6346673 w 11269336"/>
              <a:gd name="connsiteY91" fmla="*/ 1827824 h 2323145"/>
              <a:gd name="connsiteX92" fmla="*/ 6345588 w 11269336"/>
              <a:gd name="connsiteY92" fmla="*/ 1832232 h 2323145"/>
              <a:gd name="connsiteX93" fmla="*/ 6335708 w 11269336"/>
              <a:gd name="connsiteY93" fmla="*/ 1838451 h 2323145"/>
              <a:gd name="connsiteX94" fmla="*/ 6318182 w 11269336"/>
              <a:gd name="connsiteY94" fmla="*/ 1852975 h 2323145"/>
              <a:gd name="connsiteX95" fmla="*/ 6313084 w 11269336"/>
              <a:gd name="connsiteY95" fmla="*/ 1853561 h 2323145"/>
              <a:gd name="connsiteX96" fmla="*/ 6283816 w 11269336"/>
              <a:gd name="connsiteY96" fmla="*/ 1872148 h 2323145"/>
              <a:gd name="connsiteX97" fmla="*/ 6282550 w 11269336"/>
              <a:gd name="connsiteY97" fmla="*/ 1871392 h 2323145"/>
              <a:gd name="connsiteX98" fmla="*/ 6270527 w 11269336"/>
              <a:gd name="connsiteY98" fmla="*/ 1872208 h 2323145"/>
              <a:gd name="connsiteX99" fmla="*/ 6249518 w 11269336"/>
              <a:gd name="connsiteY99" fmla="*/ 1876079 h 2323145"/>
              <a:gd name="connsiteX100" fmla="*/ 6190386 w 11269336"/>
              <a:gd name="connsiteY100" fmla="*/ 1872478 h 2323145"/>
              <a:gd name="connsiteX101" fmla="*/ 6159777 w 11269336"/>
              <a:gd name="connsiteY101" fmla="*/ 1891745 h 2323145"/>
              <a:gd name="connsiteX102" fmla="*/ 6153131 w 11269336"/>
              <a:gd name="connsiteY102" fmla="*/ 1895079 h 2323145"/>
              <a:gd name="connsiteX103" fmla="*/ 6152798 w 11269336"/>
              <a:gd name="connsiteY103" fmla="*/ 1894920 h 2323145"/>
              <a:gd name="connsiteX104" fmla="*/ 6145388 w 11269336"/>
              <a:gd name="connsiteY104" fmla="*/ 1897990 h 2323145"/>
              <a:gd name="connsiteX105" fmla="*/ 6141014 w 11269336"/>
              <a:gd name="connsiteY105" fmla="*/ 1901155 h 2323145"/>
              <a:gd name="connsiteX106" fmla="*/ 6128122 w 11269336"/>
              <a:gd name="connsiteY106" fmla="*/ 1907623 h 2323145"/>
              <a:gd name="connsiteX107" fmla="*/ 6122351 w 11269336"/>
              <a:gd name="connsiteY107" fmla="*/ 1908359 h 2323145"/>
              <a:gd name="connsiteX108" fmla="*/ 6064750 w 11269336"/>
              <a:gd name="connsiteY108" fmla="*/ 1896394 h 2323145"/>
              <a:gd name="connsiteX109" fmla="*/ 5964230 w 11269336"/>
              <a:gd name="connsiteY109" fmla="*/ 1910038 h 2323145"/>
              <a:gd name="connsiteX110" fmla="*/ 5865399 w 11269336"/>
              <a:gd name="connsiteY110" fmla="*/ 1926966 h 2323145"/>
              <a:gd name="connsiteX111" fmla="*/ 5829951 w 11269336"/>
              <a:gd name="connsiteY111" fmla="*/ 1934755 h 2323145"/>
              <a:gd name="connsiteX112" fmla="*/ 5765285 w 11269336"/>
              <a:gd name="connsiteY112" fmla="*/ 1941322 h 2323145"/>
              <a:gd name="connsiteX113" fmla="*/ 5734750 w 11269336"/>
              <a:gd name="connsiteY113" fmla="*/ 1939793 h 2323145"/>
              <a:gd name="connsiteX114" fmla="*/ 5733569 w 11269336"/>
              <a:gd name="connsiteY114" fmla="*/ 1940505 h 2323145"/>
              <a:gd name="connsiteX115" fmla="*/ 5730329 w 11269336"/>
              <a:gd name="connsiteY115" fmla="*/ 1937845 h 2323145"/>
              <a:gd name="connsiteX116" fmla="*/ 5724661 w 11269336"/>
              <a:gd name="connsiteY116" fmla="*/ 1937455 h 2323145"/>
              <a:gd name="connsiteX117" fmla="*/ 5710186 w 11269336"/>
              <a:gd name="connsiteY117" fmla="*/ 1941370 h 2323145"/>
              <a:gd name="connsiteX118" fmla="*/ 5704910 w 11269336"/>
              <a:gd name="connsiteY118" fmla="*/ 1943663 h 2323145"/>
              <a:gd name="connsiteX119" fmla="*/ 5696836 w 11269336"/>
              <a:gd name="connsiteY119" fmla="*/ 1945271 h 2323145"/>
              <a:gd name="connsiteX120" fmla="*/ 5696583 w 11269336"/>
              <a:gd name="connsiteY120" fmla="*/ 1945050 h 2323145"/>
              <a:gd name="connsiteX121" fmla="*/ 5689123 w 11269336"/>
              <a:gd name="connsiteY121" fmla="*/ 1947067 h 2323145"/>
              <a:gd name="connsiteX122" fmla="*/ 5653291 w 11269336"/>
              <a:gd name="connsiteY122" fmla="*/ 1960245 h 2323145"/>
              <a:gd name="connsiteX123" fmla="*/ 5599385 w 11269336"/>
              <a:gd name="connsiteY123" fmla="*/ 1945198 h 2323145"/>
              <a:gd name="connsiteX124" fmla="*/ 5578300 w 11269336"/>
              <a:gd name="connsiteY124" fmla="*/ 1944963 h 2323145"/>
              <a:gd name="connsiteX125" fmla="*/ 5566758 w 11269336"/>
              <a:gd name="connsiteY125" fmla="*/ 1943441 h 2323145"/>
              <a:gd name="connsiteX126" fmla="*/ 5565857 w 11269336"/>
              <a:gd name="connsiteY126" fmla="*/ 1942445 h 2323145"/>
              <a:gd name="connsiteX127" fmla="*/ 5531534 w 11269336"/>
              <a:gd name="connsiteY127" fmla="*/ 1955208 h 2323145"/>
              <a:gd name="connsiteX128" fmla="*/ 5526552 w 11269336"/>
              <a:gd name="connsiteY128" fmla="*/ 1954799 h 2323145"/>
              <a:gd name="connsiteX129" fmla="*/ 5504723 w 11269336"/>
              <a:gd name="connsiteY129" fmla="*/ 1965811 h 2323145"/>
              <a:gd name="connsiteX130" fmla="*/ 5493156 w 11269336"/>
              <a:gd name="connsiteY130" fmla="*/ 1970063 h 2323145"/>
              <a:gd name="connsiteX131" fmla="*/ 5490486 w 11269336"/>
              <a:gd name="connsiteY131" fmla="*/ 1974227 h 2323145"/>
              <a:gd name="connsiteX132" fmla="*/ 5473107 w 11269336"/>
              <a:gd name="connsiteY132" fmla="*/ 1979001 h 2323145"/>
              <a:gd name="connsiteX133" fmla="*/ 5470885 w 11269336"/>
              <a:gd name="connsiteY133" fmla="*/ 1978432 h 2323145"/>
              <a:gd name="connsiteX134" fmla="*/ 5457393 w 11269336"/>
              <a:gd name="connsiteY134" fmla="*/ 1986525 h 2323145"/>
              <a:gd name="connsiteX135" fmla="*/ 5447102 w 11269336"/>
              <a:gd name="connsiteY135" fmla="*/ 1998329 h 2323145"/>
              <a:gd name="connsiteX136" fmla="*/ 5159151 w 11269336"/>
              <a:gd name="connsiteY136" fmla="*/ 2029640 h 2323145"/>
              <a:gd name="connsiteX137" fmla="*/ 5041688 w 11269336"/>
              <a:gd name="connsiteY137" fmla="*/ 2022334 h 2323145"/>
              <a:gd name="connsiteX138" fmla="*/ 4860988 w 11269336"/>
              <a:gd name="connsiteY138" fmla="*/ 2135698 h 2323145"/>
              <a:gd name="connsiteX139" fmla="*/ 4807902 w 11269336"/>
              <a:gd name="connsiteY139" fmla="*/ 2138894 h 2323145"/>
              <a:gd name="connsiteX140" fmla="*/ 4765388 w 11269336"/>
              <a:gd name="connsiteY140" fmla="*/ 2162525 h 2323145"/>
              <a:gd name="connsiteX141" fmla="*/ 4745033 w 11269336"/>
              <a:gd name="connsiteY141" fmla="*/ 2158859 h 2323145"/>
              <a:gd name="connsiteX142" fmla="*/ 4741475 w 11269336"/>
              <a:gd name="connsiteY142" fmla="*/ 2157998 h 2323145"/>
              <a:gd name="connsiteX143" fmla="*/ 4728247 w 11269336"/>
              <a:gd name="connsiteY143" fmla="*/ 2159526 h 2323145"/>
              <a:gd name="connsiteX144" fmla="*/ 4723263 w 11269336"/>
              <a:gd name="connsiteY144" fmla="*/ 2153742 h 2323145"/>
              <a:gd name="connsiteX145" fmla="*/ 4702453 w 11269336"/>
              <a:gd name="connsiteY145" fmla="*/ 2151586 h 2323145"/>
              <a:gd name="connsiteX146" fmla="*/ 4678455 w 11269336"/>
              <a:gd name="connsiteY146" fmla="*/ 2156131 h 2323145"/>
              <a:gd name="connsiteX147" fmla="*/ 4593061 w 11269336"/>
              <a:gd name="connsiteY147" fmla="*/ 2171597 h 2323145"/>
              <a:gd name="connsiteX148" fmla="*/ 4579902 w 11269336"/>
              <a:gd name="connsiteY148" fmla="*/ 2177927 h 2323145"/>
              <a:gd name="connsiteX149" fmla="*/ 4533444 w 11269336"/>
              <a:gd name="connsiteY149" fmla="*/ 2181200 h 2323145"/>
              <a:gd name="connsiteX150" fmla="*/ 4492832 w 11269336"/>
              <a:gd name="connsiteY150" fmla="*/ 2188033 h 2323145"/>
              <a:gd name="connsiteX151" fmla="*/ 4467257 w 11269336"/>
              <a:gd name="connsiteY151" fmla="*/ 2196121 h 2323145"/>
              <a:gd name="connsiteX152" fmla="*/ 4459937 w 11269336"/>
              <a:gd name="connsiteY152" fmla="*/ 2195182 h 2323145"/>
              <a:gd name="connsiteX153" fmla="*/ 4433312 w 11269336"/>
              <a:gd name="connsiteY153" fmla="*/ 2199004 h 2323145"/>
              <a:gd name="connsiteX154" fmla="*/ 4420601 w 11269336"/>
              <a:gd name="connsiteY154" fmla="*/ 2205158 h 2323145"/>
              <a:gd name="connsiteX155" fmla="*/ 4405765 w 11269336"/>
              <a:gd name="connsiteY155" fmla="*/ 2199902 h 2323145"/>
              <a:gd name="connsiteX156" fmla="*/ 4401354 w 11269336"/>
              <a:gd name="connsiteY156" fmla="*/ 2194745 h 2323145"/>
              <a:gd name="connsiteX157" fmla="*/ 4383151 w 11269336"/>
              <a:gd name="connsiteY157" fmla="*/ 2201140 h 2323145"/>
              <a:gd name="connsiteX158" fmla="*/ 4366646 w 11269336"/>
              <a:gd name="connsiteY158" fmla="*/ 2198564 h 2323145"/>
              <a:gd name="connsiteX159" fmla="*/ 4354009 w 11269336"/>
              <a:gd name="connsiteY159" fmla="*/ 2204984 h 2323145"/>
              <a:gd name="connsiteX160" fmla="*/ 4348284 w 11269336"/>
              <a:gd name="connsiteY160" fmla="*/ 2205270 h 2323145"/>
              <a:gd name="connsiteX161" fmla="*/ 4333906 w 11269336"/>
              <a:gd name="connsiteY161" fmla="*/ 2205251 h 2323145"/>
              <a:gd name="connsiteX162" fmla="*/ 4308819 w 11269336"/>
              <a:gd name="connsiteY162" fmla="*/ 2203822 h 2323145"/>
              <a:gd name="connsiteX163" fmla="*/ 4301210 w 11269336"/>
              <a:gd name="connsiteY163" fmla="*/ 2204456 h 2323145"/>
              <a:gd name="connsiteX164" fmla="*/ 4283095 w 11269336"/>
              <a:gd name="connsiteY164" fmla="*/ 2198177 h 2323145"/>
              <a:gd name="connsiteX165" fmla="*/ 4250119 w 11269336"/>
              <a:gd name="connsiteY165" fmla="*/ 2196342 h 2323145"/>
              <a:gd name="connsiteX166" fmla="*/ 4189203 w 11269336"/>
              <a:gd name="connsiteY166" fmla="*/ 2178994 h 2323145"/>
              <a:gd name="connsiteX167" fmla="*/ 4154035 w 11269336"/>
              <a:gd name="connsiteY167" fmla="*/ 2171950 h 2323145"/>
              <a:gd name="connsiteX168" fmla="*/ 4129569 w 11269336"/>
              <a:gd name="connsiteY168" fmla="*/ 2163850 h 2323145"/>
              <a:gd name="connsiteX169" fmla="*/ 4061250 w 11269336"/>
              <a:gd name="connsiteY169" fmla="*/ 2159236 h 2323145"/>
              <a:gd name="connsiteX170" fmla="*/ 3945480 w 11269336"/>
              <a:gd name="connsiteY170" fmla="*/ 2158279 h 2323145"/>
              <a:gd name="connsiteX171" fmla="*/ 3921468 w 11269336"/>
              <a:gd name="connsiteY171" fmla="*/ 2156588 h 2323145"/>
              <a:gd name="connsiteX172" fmla="*/ 3903348 w 11269336"/>
              <a:gd name="connsiteY172" fmla="*/ 2149220 h 2323145"/>
              <a:gd name="connsiteX173" fmla="*/ 3901342 w 11269336"/>
              <a:gd name="connsiteY173" fmla="*/ 2142355 h 2323145"/>
              <a:gd name="connsiteX174" fmla="*/ 3888539 w 11269336"/>
              <a:gd name="connsiteY174" fmla="*/ 2140476 h 2323145"/>
              <a:gd name="connsiteX175" fmla="*/ 3885662 w 11269336"/>
              <a:gd name="connsiteY175" fmla="*/ 2138740 h 2323145"/>
              <a:gd name="connsiteX176" fmla="*/ 3868627 w 11269336"/>
              <a:gd name="connsiteY176" fmla="*/ 2130023 h 2323145"/>
              <a:gd name="connsiteX177" fmla="*/ 3819177 w 11269336"/>
              <a:gd name="connsiteY177" fmla="*/ 2142111 h 2323145"/>
              <a:gd name="connsiteX178" fmla="*/ 3769100 w 11269336"/>
              <a:gd name="connsiteY178" fmla="*/ 2131731 h 2323145"/>
              <a:gd name="connsiteX179" fmla="*/ 3562752 w 11269336"/>
              <a:gd name="connsiteY179" fmla="*/ 2131785 h 2323145"/>
              <a:gd name="connsiteX180" fmla="*/ 3541402 w 11269336"/>
              <a:gd name="connsiteY180" fmla="*/ 2106821 h 2323145"/>
              <a:gd name="connsiteX181" fmla="*/ 3365341 w 11269336"/>
              <a:gd name="connsiteY181" fmla="*/ 2077638 h 2323145"/>
              <a:gd name="connsiteX182" fmla="*/ 3170922 w 11269336"/>
              <a:gd name="connsiteY182" fmla="*/ 2115957 h 2323145"/>
              <a:gd name="connsiteX183" fmla="*/ 3156256 w 11269336"/>
              <a:gd name="connsiteY183" fmla="*/ 2124773 h 2323145"/>
              <a:gd name="connsiteX184" fmla="*/ 3140298 w 11269336"/>
              <a:gd name="connsiteY184" fmla="*/ 2129182 h 2323145"/>
              <a:gd name="connsiteX185" fmla="*/ 3138514 w 11269336"/>
              <a:gd name="connsiteY185" fmla="*/ 2128069 h 2323145"/>
              <a:gd name="connsiteX186" fmla="*/ 3120467 w 11269336"/>
              <a:gd name="connsiteY186" fmla="*/ 2128281 h 2323145"/>
              <a:gd name="connsiteX187" fmla="*/ 3116175 w 11269336"/>
              <a:gd name="connsiteY187" fmla="*/ 2131633 h 2323145"/>
              <a:gd name="connsiteX188" fmla="*/ 3103685 w 11269336"/>
              <a:gd name="connsiteY188" fmla="*/ 2132814 h 2323145"/>
              <a:gd name="connsiteX189" fmla="*/ 3078794 w 11269336"/>
              <a:gd name="connsiteY189" fmla="*/ 2137935 h 2323145"/>
              <a:gd name="connsiteX190" fmla="*/ 3074407 w 11269336"/>
              <a:gd name="connsiteY190" fmla="*/ 2136274 h 2323145"/>
              <a:gd name="connsiteX191" fmla="*/ 3037285 w 11269336"/>
              <a:gd name="connsiteY191" fmla="*/ 2139919 h 2323145"/>
              <a:gd name="connsiteX192" fmla="*/ 3036901 w 11269336"/>
              <a:gd name="connsiteY192" fmla="*/ 2138726 h 2323145"/>
              <a:gd name="connsiteX193" fmla="*/ 3026996 w 11269336"/>
              <a:gd name="connsiteY193" fmla="*/ 2134322 h 2323145"/>
              <a:gd name="connsiteX194" fmla="*/ 3007772 w 11269336"/>
              <a:gd name="connsiteY194" fmla="*/ 2128742 h 2323145"/>
              <a:gd name="connsiteX195" fmla="*/ 2965030 w 11269336"/>
              <a:gd name="connsiteY195" fmla="*/ 2100494 h 2323145"/>
              <a:gd name="connsiteX196" fmla="*/ 2926342 w 11269336"/>
              <a:gd name="connsiteY196" fmla="*/ 2104155 h 2323145"/>
              <a:gd name="connsiteX197" fmla="*/ 2918608 w 11269336"/>
              <a:gd name="connsiteY197" fmla="*/ 2104215 h 2323145"/>
              <a:gd name="connsiteX198" fmla="*/ 2918475 w 11269336"/>
              <a:gd name="connsiteY198" fmla="*/ 2103937 h 2323145"/>
              <a:gd name="connsiteX199" fmla="*/ 2910360 w 11269336"/>
              <a:gd name="connsiteY199" fmla="*/ 2103444 h 2323145"/>
              <a:gd name="connsiteX200" fmla="*/ 2904507 w 11269336"/>
              <a:gd name="connsiteY200" fmla="*/ 2104326 h 2323145"/>
              <a:gd name="connsiteX201" fmla="*/ 2889503 w 11269336"/>
              <a:gd name="connsiteY201" fmla="*/ 2104443 h 2323145"/>
              <a:gd name="connsiteX202" fmla="*/ 2884480 w 11269336"/>
              <a:gd name="connsiteY202" fmla="*/ 2102626 h 2323145"/>
              <a:gd name="connsiteX203" fmla="*/ 2882689 w 11269336"/>
              <a:gd name="connsiteY203" fmla="*/ 2099228 h 2323145"/>
              <a:gd name="connsiteX204" fmla="*/ 2881291 w 11269336"/>
              <a:gd name="connsiteY204" fmla="*/ 2099618 h 2323145"/>
              <a:gd name="connsiteX205" fmla="*/ 2853979 w 11269336"/>
              <a:gd name="connsiteY205" fmla="*/ 2090388 h 2323145"/>
              <a:gd name="connsiteX206" fmla="*/ 2791790 w 11269336"/>
              <a:gd name="connsiteY206" fmla="*/ 2080332 h 2323145"/>
              <a:gd name="connsiteX207" fmla="*/ 2755844 w 11269336"/>
              <a:gd name="connsiteY207" fmla="*/ 2078874 h 2323145"/>
              <a:gd name="connsiteX208" fmla="*/ 2657742 w 11269336"/>
              <a:gd name="connsiteY208" fmla="*/ 2070179 h 2323145"/>
              <a:gd name="connsiteX209" fmla="*/ 2559549 w 11269336"/>
              <a:gd name="connsiteY209" fmla="*/ 2057873 h 2323145"/>
              <a:gd name="connsiteX210" fmla="*/ 2512054 w 11269336"/>
              <a:gd name="connsiteY210" fmla="*/ 2031671 h 2323145"/>
              <a:gd name="connsiteX211" fmla="*/ 2506437 w 11269336"/>
              <a:gd name="connsiteY211" fmla="*/ 2030918 h 2323145"/>
              <a:gd name="connsiteX212" fmla="*/ 2491752 w 11269336"/>
              <a:gd name="connsiteY212" fmla="*/ 2033906 h 2323145"/>
              <a:gd name="connsiteX213" fmla="*/ 2486338 w 11269336"/>
              <a:gd name="connsiteY213" fmla="*/ 2035862 h 2323145"/>
              <a:gd name="connsiteX214" fmla="*/ 2478186 w 11269336"/>
              <a:gd name="connsiteY214" fmla="*/ 2036953 h 2323145"/>
              <a:gd name="connsiteX215" fmla="*/ 2477950 w 11269336"/>
              <a:gd name="connsiteY215" fmla="*/ 2036715 h 2323145"/>
              <a:gd name="connsiteX216" fmla="*/ 2470381 w 11269336"/>
              <a:gd name="connsiteY216" fmla="*/ 2038256 h 2323145"/>
              <a:gd name="connsiteX217" fmla="*/ 2433781 w 11269336"/>
              <a:gd name="connsiteY217" fmla="*/ 2049140 h 2323145"/>
              <a:gd name="connsiteX218" fmla="*/ 2381172 w 11269336"/>
              <a:gd name="connsiteY218" fmla="*/ 2030645 h 2323145"/>
              <a:gd name="connsiteX219" fmla="*/ 2360198 w 11269336"/>
              <a:gd name="connsiteY219" fmla="*/ 2029059 h 2323145"/>
              <a:gd name="connsiteX220" fmla="*/ 2348815 w 11269336"/>
              <a:gd name="connsiteY220" fmla="*/ 2026798 h 2323145"/>
              <a:gd name="connsiteX221" fmla="*/ 2347988 w 11269336"/>
              <a:gd name="connsiteY221" fmla="*/ 2025745 h 2323145"/>
              <a:gd name="connsiteX222" fmla="*/ 2312920 w 11269336"/>
              <a:gd name="connsiteY222" fmla="*/ 2036311 h 2323145"/>
              <a:gd name="connsiteX223" fmla="*/ 2307986 w 11269336"/>
              <a:gd name="connsiteY223" fmla="*/ 2035583 h 2323145"/>
              <a:gd name="connsiteX224" fmla="*/ 2285481 w 11269336"/>
              <a:gd name="connsiteY224" fmla="*/ 2045197 h 2323145"/>
              <a:gd name="connsiteX225" fmla="*/ 2273666 w 11269336"/>
              <a:gd name="connsiteY225" fmla="*/ 2048710 h 2323145"/>
              <a:gd name="connsiteX226" fmla="*/ 2270719 w 11269336"/>
              <a:gd name="connsiteY226" fmla="*/ 2052702 h 2323145"/>
              <a:gd name="connsiteX227" fmla="*/ 2253080 w 11269336"/>
              <a:gd name="connsiteY227" fmla="*/ 2056363 h 2323145"/>
              <a:gd name="connsiteX228" fmla="*/ 2250906 w 11269336"/>
              <a:gd name="connsiteY228" fmla="*/ 2055654 h 2323145"/>
              <a:gd name="connsiteX229" fmla="*/ 2236905 w 11269336"/>
              <a:gd name="connsiteY229" fmla="*/ 2062882 h 2323145"/>
              <a:gd name="connsiteX230" fmla="*/ 2225830 w 11269336"/>
              <a:gd name="connsiteY230" fmla="*/ 2074027 h 2323145"/>
              <a:gd name="connsiteX231" fmla="*/ 2073776 w 11269336"/>
              <a:gd name="connsiteY231" fmla="*/ 2089244 h 2323145"/>
              <a:gd name="connsiteX232" fmla="*/ 1948256 w 11269336"/>
              <a:gd name="connsiteY232" fmla="*/ 2146616 h 2323145"/>
              <a:gd name="connsiteX233" fmla="*/ 1865582 w 11269336"/>
              <a:gd name="connsiteY233" fmla="*/ 2153738 h 2323145"/>
              <a:gd name="connsiteX234" fmla="*/ 1835210 w 11269336"/>
              <a:gd name="connsiteY234" fmla="*/ 2134244 h 2323145"/>
              <a:gd name="connsiteX235" fmla="*/ 1632661 w 11269336"/>
              <a:gd name="connsiteY235" fmla="*/ 2173882 h 2323145"/>
              <a:gd name="connsiteX236" fmla="*/ 1579590 w 11269336"/>
              <a:gd name="connsiteY236" fmla="*/ 2173680 h 2323145"/>
              <a:gd name="connsiteX237" fmla="*/ 1535601 w 11269336"/>
              <a:gd name="connsiteY237" fmla="*/ 2194590 h 2323145"/>
              <a:gd name="connsiteX238" fmla="*/ 1515594 w 11269336"/>
              <a:gd name="connsiteY238" fmla="*/ 2189622 h 2323145"/>
              <a:gd name="connsiteX239" fmla="*/ 1512113 w 11269336"/>
              <a:gd name="connsiteY239" fmla="*/ 2188534 h 2323145"/>
              <a:gd name="connsiteX240" fmla="*/ 1498838 w 11269336"/>
              <a:gd name="connsiteY240" fmla="*/ 2189213 h 2323145"/>
              <a:gd name="connsiteX241" fmla="*/ 1494279 w 11269336"/>
              <a:gd name="connsiteY241" fmla="*/ 2183112 h 2323145"/>
              <a:gd name="connsiteX242" fmla="*/ 1473714 w 11269336"/>
              <a:gd name="connsiteY242" fmla="*/ 2179625 h 2323145"/>
              <a:gd name="connsiteX243" fmla="*/ 1449503 w 11269336"/>
              <a:gd name="connsiteY243" fmla="*/ 2182633 h 2323145"/>
              <a:gd name="connsiteX244" fmla="*/ 1266687 w 11269336"/>
              <a:gd name="connsiteY244" fmla="*/ 2212688 h 2323145"/>
              <a:gd name="connsiteX245" fmla="*/ 1239614 w 11269336"/>
              <a:gd name="connsiteY245" fmla="*/ 2209727 h 2323145"/>
              <a:gd name="connsiteX246" fmla="*/ 1202436 w 11269336"/>
              <a:gd name="connsiteY246" fmla="*/ 2209817 h 2323145"/>
              <a:gd name="connsiteX247" fmla="*/ 1136097 w 11269336"/>
              <a:gd name="connsiteY247" fmla="*/ 2205112 h 2323145"/>
              <a:gd name="connsiteX248" fmla="*/ 988232 w 11269336"/>
              <a:gd name="connsiteY248" fmla="*/ 2235635 h 2323145"/>
              <a:gd name="connsiteX249" fmla="*/ 981959 w 11269336"/>
              <a:gd name="connsiteY249" fmla="*/ 2231607 h 2323145"/>
              <a:gd name="connsiteX250" fmla="*/ 938600 w 11269336"/>
              <a:gd name="connsiteY250" fmla="*/ 2238113 h 2323145"/>
              <a:gd name="connsiteX251" fmla="*/ 791788 w 11269336"/>
              <a:gd name="connsiteY251" fmla="*/ 2293224 h 2323145"/>
              <a:gd name="connsiteX252" fmla="*/ 706914 w 11269336"/>
              <a:gd name="connsiteY252" fmla="*/ 2305046 h 2323145"/>
              <a:gd name="connsiteX253" fmla="*/ 675971 w 11269336"/>
              <a:gd name="connsiteY253" fmla="*/ 2304030 h 2323145"/>
              <a:gd name="connsiteX254" fmla="*/ 624180 w 11269336"/>
              <a:gd name="connsiteY254" fmla="*/ 2302650 h 2323145"/>
              <a:gd name="connsiteX255" fmla="*/ 583453 w 11269336"/>
              <a:gd name="connsiteY255" fmla="*/ 2288788 h 2323145"/>
              <a:gd name="connsiteX256" fmla="*/ 540946 w 11269336"/>
              <a:gd name="connsiteY256" fmla="*/ 2292721 h 2323145"/>
              <a:gd name="connsiteX257" fmla="*/ 533680 w 11269336"/>
              <a:gd name="connsiteY257" fmla="*/ 2310233 h 2323145"/>
              <a:gd name="connsiteX258" fmla="*/ 487366 w 11269336"/>
              <a:gd name="connsiteY258" fmla="*/ 2309053 h 2323145"/>
              <a:gd name="connsiteX259" fmla="*/ 416820 w 11269336"/>
              <a:gd name="connsiteY259" fmla="*/ 2305443 h 2323145"/>
              <a:gd name="connsiteX260" fmla="*/ 376805 w 11269336"/>
              <a:gd name="connsiteY260" fmla="*/ 2307647 h 2323145"/>
              <a:gd name="connsiteX261" fmla="*/ 266777 w 11269336"/>
              <a:gd name="connsiteY261" fmla="*/ 2309012 h 2323145"/>
              <a:gd name="connsiteX262" fmla="*/ 156013 w 11269336"/>
              <a:gd name="connsiteY262" fmla="*/ 2306832 h 2323145"/>
              <a:gd name="connsiteX263" fmla="*/ 87258 w 11269336"/>
              <a:gd name="connsiteY263" fmla="*/ 2285511 h 2323145"/>
              <a:gd name="connsiteX264" fmla="*/ 23798 w 11269336"/>
              <a:gd name="connsiteY264" fmla="*/ 2281822 h 2323145"/>
              <a:gd name="connsiteX265" fmla="*/ 0 w 11269336"/>
              <a:gd name="connsiteY265" fmla="*/ 2285369 h 2323145"/>
              <a:gd name="connsiteX266" fmla="*/ 0 w 11269336"/>
              <a:gd name="connsiteY26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028928 w 11269336"/>
              <a:gd name="connsiteY21" fmla="*/ 745350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028928 w 11269336"/>
              <a:gd name="connsiteY21" fmla="*/ 745350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9070855 w 11269336"/>
              <a:gd name="connsiteY23" fmla="*/ 794621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9070855 w 11269336"/>
              <a:gd name="connsiteY23" fmla="*/ 794621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795998 w 11269336"/>
              <a:gd name="connsiteY29" fmla="*/ 863337 h 2323145"/>
              <a:gd name="connsiteX30" fmla="*/ 8776970 w 11269336"/>
              <a:gd name="connsiteY30" fmla="*/ 885177 h 2323145"/>
              <a:gd name="connsiteX31" fmla="*/ 8755719 w 11269336"/>
              <a:gd name="connsiteY31" fmla="*/ 889754 h 2323145"/>
              <a:gd name="connsiteX32" fmla="*/ 8743257 w 11269336"/>
              <a:gd name="connsiteY32" fmla="*/ 904723 h 2323145"/>
              <a:gd name="connsiteX33" fmla="*/ 8721366 w 11269336"/>
              <a:gd name="connsiteY33" fmla="*/ 904711 h 2323145"/>
              <a:gd name="connsiteX34" fmla="*/ 8678353 w 11269336"/>
              <a:gd name="connsiteY34" fmla="*/ 926318 h 2323145"/>
              <a:gd name="connsiteX35" fmla="*/ 8636849 w 11269336"/>
              <a:gd name="connsiteY35" fmla="*/ 937900 h 2323145"/>
              <a:gd name="connsiteX36" fmla="*/ 8620213 w 11269336"/>
              <a:gd name="connsiteY36" fmla="*/ 943068 h 2323145"/>
              <a:gd name="connsiteX37" fmla="*/ 8612581 w 11269336"/>
              <a:gd name="connsiteY37" fmla="*/ 952695 h 2323145"/>
              <a:gd name="connsiteX38" fmla="*/ 8589038 w 11269336"/>
              <a:gd name="connsiteY38" fmla="*/ 963892 h 2323145"/>
              <a:gd name="connsiteX39" fmla="*/ 8579950 w 11269336"/>
              <a:gd name="connsiteY39" fmla="*/ 960899 h 2323145"/>
              <a:gd name="connsiteX40" fmla="*/ 8579319 w 11269336"/>
              <a:gd name="connsiteY40" fmla="*/ 965630 h 2323145"/>
              <a:gd name="connsiteX41" fmla="*/ 8547429 w 11269336"/>
              <a:gd name="connsiteY41" fmla="*/ 984506 h 2323145"/>
              <a:gd name="connsiteX42" fmla="*/ 8478704 w 11269336"/>
              <a:gd name="connsiteY42" fmla="*/ 1025490 h 2323145"/>
              <a:gd name="connsiteX43" fmla="*/ 8461421 w 11269336"/>
              <a:gd name="connsiteY43" fmla="*/ 1035512 h 2323145"/>
              <a:gd name="connsiteX44" fmla="*/ 8445003 w 11269336"/>
              <a:gd name="connsiteY44" fmla="*/ 1036851 h 2323145"/>
              <a:gd name="connsiteX45" fmla="*/ 8357350 w 11269336"/>
              <a:gd name="connsiteY45" fmla="*/ 1060213 h 2323145"/>
              <a:gd name="connsiteX46" fmla="*/ 8335565 w 11269336"/>
              <a:gd name="connsiteY46" fmla="*/ 1061151 h 2323145"/>
              <a:gd name="connsiteX47" fmla="*/ 8325267 w 11269336"/>
              <a:gd name="connsiteY47" fmla="*/ 1055919 h 2323145"/>
              <a:gd name="connsiteX48" fmla="*/ 8293586 w 11269336"/>
              <a:gd name="connsiteY48" fmla="*/ 1076144 h 2323145"/>
              <a:gd name="connsiteX49" fmla="*/ 8242405 w 11269336"/>
              <a:gd name="connsiteY49" fmla="*/ 1095960 h 2323145"/>
              <a:gd name="connsiteX50" fmla="*/ 8197391 w 11269336"/>
              <a:gd name="connsiteY50" fmla="*/ 1107746 h 2323145"/>
              <a:gd name="connsiteX51" fmla="*/ 8081474 w 11269336"/>
              <a:gd name="connsiteY51" fmla="*/ 1130125 h 2323145"/>
              <a:gd name="connsiteX52" fmla="*/ 8053585 w 11269336"/>
              <a:gd name="connsiteY52" fmla="*/ 1129169 h 2323145"/>
              <a:gd name="connsiteX53" fmla="*/ 8038422 w 11269336"/>
              <a:gd name="connsiteY53" fmla="*/ 1119092 h 2323145"/>
              <a:gd name="connsiteX54" fmla="*/ 8029450 w 11269336"/>
              <a:gd name="connsiteY54" fmla="*/ 1125592 h 2323145"/>
              <a:gd name="connsiteX55" fmla="*/ 7959552 w 11269336"/>
              <a:gd name="connsiteY55" fmla="*/ 1140188 h 2323145"/>
              <a:gd name="connsiteX56" fmla="*/ 7914188 w 11269336"/>
              <a:gd name="connsiteY56" fmla="*/ 1150862 h 2323145"/>
              <a:gd name="connsiteX57" fmla="*/ 7914918 w 11269336"/>
              <a:gd name="connsiteY57" fmla="*/ 1168758 h 2323145"/>
              <a:gd name="connsiteX58" fmla="*/ 7875510 w 11269336"/>
              <a:gd name="connsiteY58" fmla="*/ 1183153 h 2323145"/>
              <a:gd name="connsiteX59" fmla="*/ 7829932 w 11269336"/>
              <a:gd name="connsiteY59" fmla="*/ 1180782 h 2323145"/>
              <a:gd name="connsiteX60" fmla="*/ 7779182 w 11269336"/>
              <a:gd name="connsiteY60" fmla="*/ 1192665 h 2323145"/>
              <a:gd name="connsiteX61" fmla="*/ 7748774 w 11269336"/>
              <a:gd name="connsiteY61" fmla="*/ 1199586 h 2323145"/>
              <a:gd name="connsiteX62" fmla="*/ 7671846 w 11269336"/>
              <a:gd name="connsiteY62" fmla="*/ 1231966 h 2323145"/>
              <a:gd name="connsiteX63" fmla="*/ 7554146 w 11269336"/>
              <a:gd name="connsiteY63" fmla="*/ 1319748 h 2323145"/>
              <a:gd name="connsiteX64" fmla="*/ 7515052 w 11269336"/>
              <a:gd name="connsiteY64" fmla="*/ 1336718 h 2323145"/>
              <a:gd name="connsiteX65" fmla="*/ 7507193 w 11269336"/>
              <a:gd name="connsiteY65" fmla="*/ 1334617 h 2323145"/>
              <a:gd name="connsiteX66" fmla="*/ 7461694 w 11269336"/>
              <a:gd name="connsiteY66" fmla="*/ 1375866 h 2323145"/>
              <a:gd name="connsiteX67" fmla="*/ 7377571 w 11269336"/>
              <a:gd name="connsiteY67" fmla="*/ 1400128 h 2323145"/>
              <a:gd name="connsiteX68" fmla="*/ 7311261 w 11269336"/>
              <a:gd name="connsiteY68" fmla="*/ 1412652 h 2323145"/>
              <a:gd name="connsiteX69" fmla="*/ 7275307 w 11269336"/>
              <a:gd name="connsiteY69" fmla="*/ 1422171 h 2323145"/>
              <a:gd name="connsiteX70" fmla="*/ 7247783 w 11269336"/>
              <a:gd name="connsiteY70" fmla="*/ 1426330 h 2323145"/>
              <a:gd name="connsiteX71" fmla="*/ 7185047 w 11269336"/>
              <a:gd name="connsiteY71" fmla="*/ 1451812 h 2323145"/>
              <a:gd name="connsiteX72" fmla="*/ 7084117 w 11269336"/>
              <a:gd name="connsiteY72" fmla="*/ 1500281 h 2323145"/>
              <a:gd name="connsiteX73" fmla="*/ 7062011 w 11269336"/>
              <a:gd name="connsiteY73" fmla="*/ 1509183 h 2323145"/>
              <a:gd name="connsiteX74" fmla="*/ 7040555 w 11269336"/>
              <a:gd name="connsiteY74" fmla="*/ 1511207 h 2323145"/>
              <a:gd name="connsiteX75" fmla="*/ 7033438 w 11269336"/>
              <a:gd name="connsiteY75" fmla="*/ 1506772 h 2323145"/>
              <a:gd name="connsiteX76" fmla="*/ 7020886 w 11269336"/>
              <a:gd name="connsiteY76" fmla="*/ 1510764 h 2323145"/>
              <a:gd name="connsiteX77" fmla="*/ 7017033 w 11269336"/>
              <a:gd name="connsiteY77" fmla="*/ 1510650 h 2323145"/>
              <a:gd name="connsiteX78" fmla="*/ 6995460 w 11269336"/>
              <a:gd name="connsiteY78" fmla="*/ 1511173 h 2323145"/>
              <a:gd name="connsiteX79" fmla="*/ 6962144 w 11269336"/>
              <a:gd name="connsiteY79" fmla="*/ 1541508 h 2323145"/>
              <a:gd name="connsiteX80" fmla="*/ 6910674 w 11269336"/>
              <a:gd name="connsiteY80" fmla="*/ 1554793 h 2323145"/>
              <a:gd name="connsiteX81" fmla="*/ 6732152 w 11269336"/>
              <a:gd name="connsiteY81" fmla="*/ 1642538 h 2323145"/>
              <a:gd name="connsiteX82" fmla="*/ 6694106 w 11269336"/>
              <a:gd name="connsiteY82" fmla="*/ 1632377 h 2323145"/>
              <a:gd name="connsiteX83" fmla="*/ 6617223 w 11269336"/>
              <a:gd name="connsiteY83" fmla="*/ 1659889 h 2323145"/>
              <a:gd name="connsiteX84" fmla="*/ 6521138 w 11269336"/>
              <a:gd name="connsiteY84" fmla="*/ 1744340 h 2323145"/>
              <a:gd name="connsiteX85" fmla="*/ 6380677 w 11269336"/>
              <a:gd name="connsiteY85" fmla="*/ 1796883 h 2323145"/>
              <a:gd name="connsiteX86" fmla="*/ 6374897 w 11269336"/>
              <a:gd name="connsiteY86" fmla="*/ 1809910 h 2323145"/>
              <a:gd name="connsiteX87" fmla="*/ 6364545 w 11269336"/>
              <a:gd name="connsiteY87" fmla="*/ 1820090 h 2323145"/>
              <a:gd name="connsiteX88" fmla="*/ 6362126 w 11269336"/>
              <a:gd name="connsiteY88" fmla="*/ 1819991 h 2323145"/>
              <a:gd name="connsiteX89" fmla="*/ 6346673 w 11269336"/>
              <a:gd name="connsiteY89" fmla="*/ 1827824 h 2323145"/>
              <a:gd name="connsiteX90" fmla="*/ 6345588 w 11269336"/>
              <a:gd name="connsiteY90" fmla="*/ 1832232 h 2323145"/>
              <a:gd name="connsiteX91" fmla="*/ 6335708 w 11269336"/>
              <a:gd name="connsiteY91" fmla="*/ 1838451 h 2323145"/>
              <a:gd name="connsiteX92" fmla="*/ 6318182 w 11269336"/>
              <a:gd name="connsiteY92" fmla="*/ 1852975 h 2323145"/>
              <a:gd name="connsiteX93" fmla="*/ 6313084 w 11269336"/>
              <a:gd name="connsiteY93" fmla="*/ 1853561 h 2323145"/>
              <a:gd name="connsiteX94" fmla="*/ 6283816 w 11269336"/>
              <a:gd name="connsiteY94" fmla="*/ 1872148 h 2323145"/>
              <a:gd name="connsiteX95" fmla="*/ 6282550 w 11269336"/>
              <a:gd name="connsiteY95" fmla="*/ 1871392 h 2323145"/>
              <a:gd name="connsiteX96" fmla="*/ 6270527 w 11269336"/>
              <a:gd name="connsiteY96" fmla="*/ 1872208 h 2323145"/>
              <a:gd name="connsiteX97" fmla="*/ 6249518 w 11269336"/>
              <a:gd name="connsiteY97" fmla="*/ 1876079 h 2323145"/>
              <a:gd name="connsiteX98" fmla="*/ 6190386 w 11269336"/>
              <a:gd name="connsiteY98" fmla="*/ 1872478 h 2323145"/>
              <a:gd name="connsiteX99" fmla="*/ 6159777 w 11269336"/>
              <a:gd name="connsiteY99" fmla="*/ 1891745 h 2323145"/>
              <a:gd name="connsiteX100" fmla="*/ 6153131 w 11269336"/>
              <a:gd name="connsiteY100" fmla="*/ 1895079 h 2323145"/>
              <a:gd name="connsiteX101" fmla="*/ 6152798 w 11269336"/>
              <a:gd name="connsiteY101" fmla="*/ 1894920 h 2323145"/>
              <a:gd name="connsiteX102" fmla="*/ 6145388 w 11269336"/>
              <a:gd name="connsiteY102" fmla="*/ 1897990 h 2323145"/>
              <a:gd name="connsiteX103" fmla="*/ 6141014 w 11269336"/>
              <a:gd name="connsiteY103" fmla="*/ 1901155 h 2323145"/>
              <a:gd name="connsiteX104" fmla="*/ 6128122 w 11269336"/>
              <a:gd name="connsiteY104" fmla="*/ 1907623 h 2323145"/>
              <a:gd name="connsiteX105" fmla="*/ 6122351 w 11269336"/>
              <a:gd name="connsiteY105" fmla="*/ 1908359 h 2323145"/>
              <a:gd name="connsiteX106" fmla="*/ 6064750 w 11269336"/>
              <a:gd name="connsiteY106" fmla="*/ 1896394 h 2323145"/>
              <a:gd name="connsiteX107" fmla="*/ 5964230 w 11269336"/>
              <a:gd name="connsiteY107" fmla="*/ 1910038 h 2323145"/>
              <a:gd name="connsiteX108" fmla="*/ 5865399 w 11269336"/>
              <a:gd name="connsiteY108" fmla="*/ 1926966 h 2323145"/>
              <a:gd name="connsiteX109" fmla="*/ 5829951 w 11269336"/>
              <a:gd name="connsiteY109" fmla="*/ 1934755 h 2323145"/>
              <a:gd name="connsiteX110" fmla="*/ 5765285 w 11269336"/>
              <a:gd name="connsiteY110" fmla="*/ 1941322 h 2323145"/>
              <a:gd name="connsiteX111" fmla="*/ 5734750 w 11269336"/>
              <a:gd name="connsiteY111" fmla="*/ 1939793 h 2323145"/>
              <a:gd name="connsiteX112" fmla="*/ 5733569 w 11269336"/>
              <a:gd name="connsiteY112" fmla="*/ 1940505 h 2323145"/>
              <a:gd name="connsiteX113" fmla="*/ 5730329 w 11269336"/>
              <a:gd name="connsiteY113" fmla="*/ 1937845 h 2323145"/>
              <a:gd name="connsiteX114" fmla="*/ 5724661 w 11269336"/>
              <a:gd name="connsiteY114" fmla="*/ 1937455 h 2323145"/>
              <a:gd name="connsiteX115" fmla="*/ 5710186 w 11269336"/>
              <a:gd name="connsiteY115" fmla="*/ 1941370 h 2323145"/>
              <a:gd name="connsiteX116" fmla="*/ 5704910 w 11269336"/>
              <a:gd name="connsiteY116" fmla="*/ 1943663 h 2323145"/>
              <a:gd name="connsiteX117" fmla="*/ 5696836 w 11269336"/>
              <a:gd name="connsiteY117" fmla="*/ 1945271 h 2323145"/>
              <a:gd name="connsiteX118" fmla="*/ 5696583 w 11269336"/>
              <a:gd name="connsiteY118" fmla="*/ 1945050 h 2323145"/>
              <a:gd name="connsiteX119" fmla="*/ 5689123 w 11269336"/>
              <a:gd name="connsiteY119" fmla="*/ 1947067 h 2323145"/>
              <a:gd name="connsiteX120" fmla="*/ 5653291 w 11269336"/>
              <a:gd name="connsiteY120" fmla="*/ 1960245 h 2323145"/>
              <a:gd name="connsiteX121" fmla="*/ 5599385 w 11269336"/>
              <a:gd name="connsiteY121" fmla="*/ 1945198 h 2323145"/>
              <a:gd name="connsiteX122" fmla="*/ 5578300 w 11269336"/>
              <a:gd name="connsiteY122" fmla="*/ 1944963 h 2323145"/>
              <a:gd name="connsiteX123" fmla="*/ 5566758 w 11269336"/>
              <a:gd name="connsiteY123" fmla="*/ 1943441 h 2323145"/>
              <a:gd name="connsiteX124" fmla="*/ 5565857 w 11269336"/>
              <a:gd name="connsiteY124" fmla="*/ 1942445 h 2323145"/>
              <a:gd name="connsiteX125" fmla="*/ 5531534 w 11269336"/>
              <a:gd name="connsiteY125" fmla="*/ 1955208 h 2323145"/>
              <a:gd name="connsiteX126" fmla="*/ 5526552 w 11269336"/>
              <a:gd name="connsiteY126" fmla="*/ 1954799 h 2323145"/>
              <a:gd name="connsiteX127" fmla="*/ 5504723 w 11269336"/>
              <a:gd name="connsiteY127" fmla="*/ 1965811 h 2323145"/>
              <a:gd name="connsiteX128" fmla="*/ 5493156 w 11269336"/>
              <a:gd name="connsiteY128" fmla="*/ 1970063 h 2323145"/>
              <a:gd name="connsiteX129" fmla="*/ 5490486 w 11269336"/>
              <a:gd name="connsiteY129" fmla="*/ 1974227 h 2323145"/>
              <a:gd name="connsiteX130" fmla="*/ 5473107 w 11269336"/>
              <a:gd name="connsiteY130" fmla="*/ 1979001 h 2323145"/>
              <a:gd name="connsiteX131" fmla="*/ 5470885 w 11269336"/>
              <a:gd name="connsiteY131" fmla="*/ 1978432 h 2323145"/>
              <a:gd name="connsiteX132" fmla="*/ 5457393 w 11269336"/>
              <a:gd name="connsiteY132" fmla="*/ 1986525 h 2323145"/>
              <a:gd name="connsiteX133" fmla="*/ 5447102 w 11269336"/>
              <a:gd name="connsiteY133" fmla="*/ 1998329 h 2323145"/>
              <a:gd name="connsiteX134" fmla="*/ 5159151 w 11269336"/>
              <a:gd name="connsiteY134" fmla="*/ 2029640 h 2323145"/>
              <a:gd name="connsiteX135" fmla="*/ 5041688 w 11269336"/>
              <a:gd name="connsiteY135" fmla="*/ 2022334 h 2323145"/>
              <a:gd name="connsiteX136" fmla="*/ 4860988 w 11269336"/>
              <a:gd name="connsiteY136" fmla="*/ 2135698 h 2323145"/>
              <a:gd name="connsiteX137" fmla="*/ 4807902 w 11269336"/>
              <a:gd name="connsiteY137" fmla="*/ 2138894 h 2323145"/>
              <a:gd name="connsiteX138" fmla="*/ 4765388 w 11269336"/>
              <a:gd name="connsiteY138" fmla="*/ 2162525 h 2323145"/>
              <a:gd name="connsiteX139" fmla="*/ 4745033 w 11269336"/>
              <a:gd name="connsiteY139" fmla="*/ 2158859 h 2323145"/>
              <a:gd name="connsiteX140" fmla="*/ 4741475 w 11269336"/>
              <a:gd name="connsiteY140" fmla="*/ 2157998 h 2323145"/>
              <a:gd name="connsiteX141" fmla="*/ 4728247 w 11269336"/>
              <a:gd name="connsiteY141" fmla="*/ 2159526 h 2323145"/>
              <a:gd name="connsiteX142" fmla="*/ 4723263 w 11269336"/>
              <a:gd name="connsiteY142" fmla="*/ 2153742 h 2323145"/>
              <a:gd name="connsiteX143" fmla="*/ 4702453 w 11269336"/>
              <a:gd name="connsiteY143" fmla="*/ 2151586 h 2323145"/>
              <a:gd name="connsiteX144" fmla="*/ 4678455 w 11269336"/>
              <a:gd name="connsiteY144" fmla="*/ 2156131 h 2323145"/>
              <a:gd name="connsiteX145" fmla="*/ 4593061 w 11269336"/>
              <a:gd name="connsiteY145" fmla="*/ 2171597 h 2323145"/>
              <a:gd name="connsiteX146" fmla="*/ 4579902 w 11269336"/>
              <a:gd name="connsiteY146" fmla="*/ 2177927 h 2323145"/>
              <a:gd name="connsiteX147" fmla="*/ 4533444 w 11269336"/>
              <a:gd name="connsiteY147" fmla="*/ 2181200 h 2323145"/>
              <a:gd name="connsiteX148" fmla="*/ 4492832 w 11269336"/>
              <a:gd name="connsiteY148" fmla="*/ 2188033 h 2323145"/>
              <a:gd name="connsiteX149" fmla="*/ 4467257 w 11269336"/>
              <a:gd name="connsiteY149" fmla="*/ 2196121 h 2323145"/>
              <a:gd name="connsiteX150" fmla="*/ 4459937 w 11269336"/>
              <a:gd name="connsiteY150" fmla="*/ 2195182 h 2323145"/>
              <a:gd name="connsiteX151" fmla="*/ 4433312 w 11269336"/>
              <a:gd name="connsiteY151" fmla="*/ 2199004 h 2323145"/>
              <a:gd name="connsiteX152" fmla="*/ 4420601 w 11269336"/>
              <a:gd name="connsiteY152" fmla="*/ 2205158 h 2323145"/>
              <a:gd name="connsiteX153" fmla="*/ 4405765 w 11269336"/>
              <a:gd name="connsiteY153" fmla="*/ 2199902 h 2323145"/>
              <a:gd name="connsiteX154" fmla="*/ 4401354 w 11269336"/>
              <a:gd name="connsiteY154" fmla="*/ 2194745 h 2323145"/>
              <a:gd name="connsiteX155" fmla="*/ 4383151 w 11269336"/>
              <a:gd name="connsiteY155" fmla="*/ 2201140 h 2323145"/>
              <a:gd name="connsiteX156" fmla="*/ 4366646 w 11269336"/>
              <a:gd name="connsiteY156" fmla="*/ 2198564 h 2323145"/>
              <a:gd name="connsiteX157" fmla="*/ 4354009 w 11269336"/>
              <a:gd name="connsiteY157" fmla="*/ 2204984 h 2323145"/>
              <a:gd name="connsiteX158" fmla="*/ 4348284 w 11269336"/>
              <a:gd name="connsiteY158" fmla="*/ 2205270 h 2323145"/>
              <a:gd name="connsiteX159" fmla="*/ 4333906 w 11269336"/>
              <a:gd name="connsiteY159" fmla="*/ 2205251 h 2323145"/>
              <a:gd name="connsiteX160" fmla="*/ 4308819 w 11269336"/>
              <a:gd name="connsiteY160" fmla="*/ 2203822 h 2323145"/>
              <a:gd name="connsiteX161" fmla="*/ 4301210 w 11269336"/>
              <a:gd name="connsiteY161" fmla="*/ 2204456 h 2323145"/>
              <a:gd name="connsiteX162" fmla="*/ 4283095 w 11269336"/>
              <a:gd name="connsiteY162" fmla="*/ 2198177 h 2323145"/>
              <a:gd name="connsiteX163" fmla="*/ 4250119 w 11269336"/>
              <a:gd name="connsiteY163" fmla="*/ 2196342 h 2323145"/>
              <a:gd name="connsiteX164" fmla="*/ 4189203 w 11269336"/>
              <a:gd name="connsiteY164" fmla="*/ 2178994 h 2323145"/>
              <a:gd name="connsiteX165" fmla="*/ 4154035 w 11269336"/>
              <a:gd name="connsiteY165" fmla="*/ 2171950 h 2323145"/>
              <a:gd name="connsiteX166" fmla="*/ 4129569 w 11269336"/>
              <a:gd name="connsiteY166" fmla="*/ 2163850 h 2323145"/>
              <a:gd name="connsiteX167" fmla="*/ 4061250 w 11269336"/>
              <a:gd name="connsiteY167" fmla="*/ 2159236 h 2323145"/>
              <a:gd name="connsiteX168" fmla="*/ 3945480 w 11269336"/>
              <a:gd name="connsiteY168" fmla="*/ 2158279 h 2323145"/>
              <a:gd name="connsiteX169" fmla="*/ 3921468 w 11269336"/>
              <a:gd name="connsiteY169" fmla="*/ 2156588 h 2323145"/>
              <a:gd name="connsiteX170" fmla="*/ 3903348 w 11269336"/>
              <a:gd name="connsiteY170" fmla="*/ 2149220 h 2323145"/>
              <a:gd name="connsiteX171" fmla="*/ 3901342 w 11269336"/>
              <a:gd name="connsiteY171" fmla="*/ 2142355 h 2323145"/>
              <a:gd name="connsiteX172" fmla="*/ 3888539 w 11269336"/>
              <a:gd name="connsiteY172" fmla="*/ 2140476 h 2323145"/>
              <a:gd name="connsiteX173" fmla="*/ 3885662 w 11269336"/>
              <a:gd name="connsiteY173" fmla="*/ 2138740 h 2323145"/>
              <a:gd name="connsiteX174" fmla="*/ 3868627 w 11269336"/>
              <a:gd name="connsiteY174" fmla="*/ 2130023 h 2323145"/>
              <a:gd name="connsiteX175" fmla="*/ 3819177 w 11269336"/>
              <a:gd name="connsiteY175" fmla="*/ 2142111 h 2323145"/>
              <a:gd name="connsiteX176" fmla="*/ 3769100 w 11269336"/>
              <a:gd name="connsiteY176" fmla="*/ 2131731 h 2323145"/>
              <a:gd name="connsiteX177" fmla="*/ 3562752 w 11269336"/>
              <a:gd name="connsiteY177" fmla="*/ 2131785 h 2323145"/>
              <a:gd name="connsiteX178" fmla="*/ 3541402 w 11269336"/>
              <a:gd name="connsiteY178" fmla="*/ 2106821 h 2323145"/>
              <a:gd name="connsiteX179" fmla="*/ 3365341 w 11269336"/>
              <a:gd name="connsiteY179" fmla="*/ 2077638 h 2323145"/>
              <a:gd name="connsiteX180" fmla="*/ 3170922 w 11269336"/>
              <a:gd name="connsiteY180" fmla="*/ 2115957 h 2323145"/>
              <a:gd name="connsiteX181" fmla="*/ 3156256 w 11269336"/>
              <a:gd name="connsiteY181" fmla="*/ 2124773 h 2323145"/>
              <a:gd name="connsiteX182" fmla="*/ 3140298 w 11269336"/>
              <a:gd name="connsiteY182" fmla="*/ 2129182 h 2323145"/>
              <a:gd name="connsiteX183" fmla="*/ 3138514 w 11269336"/>
              <a:gd name="connsiteY183" fmla="*/ 2128069 h 2323145"/>
              <a:gd name="connsiteX184" fmla="*/ 3120467 w 11269336"/>
              <a:gd name="connsiteY184" fmla="*/ 2128281 h 2323145"/>
              <a:gd name="connsiteX185" fmla="*/ 3116175 w 11269336"/>
              <a:gd name="connsiteY185" fmla="*/ 2131633 h 2323145"/>
              <a:gd name="connsiteX186" fmla="*/ 3103685 w 11269336"/>
              <a:gd name="connsiteY186" fmla="*/ 2132814 h 2323145"/>
              <a:gd name="connsiteX187" fmla="*/ 3078794 w 11269336"/>
              <a:gd name="connsiteY187" fmla="*/ 2137935 h 2323145"/>
              <a:gd name="connsiteX188" fmla="*/ 3074407 w 11269336"/>
              <a:gd name="connsiteY188" fmla="*/ 2136274 h 2323145"/>
              <a:gd name="connsiteX189" fmla="*/ 3037285 w 11269336"/>
              <a:gd name="connsiteY189" fmla="*/ 2139919 h 2323145"/>
              <a:gd name="connsiteX190" fmla="*/ 3036901 w 11269336"/>
              <a:gd name="connsiteY190" fmla="*/ 2138726 h 2323145"/>
              <a:gd name="connsiteX191" fmla="*/ 3026996 w 11269336"/>
              <a:gd name="connsiteY191" fmla="*/ 2134322 h 2323145"/>
              <a:gd name="connsiteX192" fmla="*/ 3007772 w 11269336"/>
              <a:gd name="connsiteY192" fmla="*/ 2128742 h 2323145"/>
              <a:gd name="connsiteX193" fmla="*/ 2965030 w 11269336"/>
              <a:gd name="connsiteY193" fmla="*/ 2100494 h 2323145"/>
              <a:gd name="connsiteX194" fmla="*/ 2926342 w 11269336"/>
              <a:gd name="connsiteY194" fmla="*/ 2104155 h 2323145"/>
              <a:gd name="connsiteX195" fmla="*/ 2918608 w 11269336"/>
              <a:gd name="connsiteY195" fmla="*/ 2104215 h 2323145"/>
              <a:gd name="connsiteX196" fmla="*/ 2918475 w 11269336"/>
              <a:gd name="connsiteY196" fmla="*/ 2103937 h 2323145"/>
              <a:gd name="connsiteX197" fmla="*/ 2910360 w 11269336"/>
              <a:gd name="connsiteY197" fmla="*/ 2103444 h 2323145"/>
              <a:gd name="connsiteX198" fmla="*/ 2904507 w 11269336"/>
              <a:gd name="connsiteY198" fmla="*/ 2104326 h 2323145"/>
              <a:gd name="connsiteX199" fmla="*/ 2889503 w 11269336"/>
              <a:gd name="connsiteY199" fmla="*/ 2104443 h 2323145"/>
              <a:gd name="connsiteX200" fmla="*/ 2884480 w 11269336"/>
              <a:gd name="connsiteY200" fmla="*/ 2102626 h 2323145"/>
              <a:gd name="connsiteX201" fmla="*/ 2882689 w 11269336"/>
              <a:gd name="connsiteY201" fmla="*/ 2099228 h 2323145"/>
              <a:gd name="connsiteX202" fmla="*/ 2881291 w 11269336"/>
              <a:gd name="connsiteY202" fmla="*/ 2099618 h 2323145"/>
              <a:gd name="connsiteX203" fmla="*/ 2853979 w 11269336"/>
              <a:gd name="connsiteY203" fmla="*/ 2090388 h 2323145"/>
              <a:gd name="connsiteX204" fmla="*/ 2791790 w 11269336"/>
              <a:gd name="connsiteY204" fmla="*/ 2080332 h 2323145"/>
              <a:gd name="connsiteX205" fmla="*/ 2755844 w 11269336"/>
              <a:gd name="connsiteY205" fmla="*/ 2078874 h 2323145"/>
              <a:gd name="connsiteX206" fmla="*/ 2657742 w 11269336"/>
              <a:gd name="connsiteY206" fmla="*/ 2070179 h 2323145"/>
              <a:gd name="connsiteX207" fmla="*/ 2559549 w 11269336"/>
              <a:gd name="connsiteY207" fmla="*/ 2057873 h 2323145"/>
              <a:gd name="connsiteX208" fmla="*/ 2512054 w 11269336"/>
              <a:gd name="connsiteY208" fmla="*/ 2031671 h 2323145"/>
              <a:gd name="connsiteX209" fmla="*/ 2506437 w 11269336"/>
              <a:gd name="connsiteY209" fmla="*/ 2030918 h 2323145"/>
              <a:gd name="connsiteX210" fmla="*/ 2491752 w 11269336"/>
              <a:gd name="connsiteY210" fmla="*/ 2033906 h 2323145"/>
              <a:gd name="connsiteX211" fmla="*/ 2486338 w 11269336"/>
              <a:gd name="connsiteY211" fmla="*/ 2035862 h 2323145"/>
              <a:gd name="connsiteX212" fmla="*/ 2478186 w 11269336"/>
              <a:gd name="connsiteY212" fmla="*/ 2036953 h 2323145"/>
              <a:gd name="connsiteX213" fmla="*/ 2477950 w 11269336"/>
              <a:gd name="connsiteY213" fmla="*/ 2036715 h 2323145"/>
              <a:gd name="connsiteX214" fmla="*/ 2470381 w 11269336"/>
              <a:gd name="connsiteY214" fmla="*/ 2038256 h 2323145"/>
              <a:gd name="connsiteX215" fmla="*/ 2433781 w 11269336"/>
              <a:gd name="connsiteY215" fmla="*/ 2049140 h 2323145"/>
              <a:gd name="connsiteX216" fmla="*/ 2381172 w 11269336"/>
              <a:gd name="connsiteY216" fmla="*/ 2030645 h 2323145"/>
              <a:gd name="connsiteX217" fmla="*/ 2360198 w 11269336"/>
              <a:gd name="connsiteY217" fmla="*/ 2029059 h 2323145"/>
              <a:gd name="connsiteX218" fmla="*/ 2348815 w 11269336"/>
              <a:gd name="connsiteY218" fmla="*/ 2026798 h 2323145"/>
              <a:gd name="connsiteX219" fmla="*/ 2347988 w 11269336"/>
              <a:gd name="connsiteY219" fmla="*/ 2025745 h 2323145"/>
              <a:gd name="connsiteX220" fmla="*/ 2312920 w 11269336"/>
              <a:gd name="connsiteY220" fmla="*/ 2036311 h 2323145"/>
              <a:gd name="connsiteX221" fmla="*/ 2307986 w 11269336"/>
              <a:gd name="connsiteY221" fmla="*/ 2035583 h 2323145"/>
              <a:gd name="connsiteX222" fmla="*/ 2285481 w 11269336"/>
              <a:gd name="connsiteY222" fmla="*/ 2045197 h 2323145"/>
              <a:gd name="connsiteX223" fmla="*/ 2273666 w 11269336"/>
              <a:gd name="connsiteY223" fmla="*/ 2048710 h 2323145"/>
              <a:gd name="connsiteX224" fmla="*/ 2270719 w 11269336"/>
              <a:gd name="connsiteY224" fmla="*/ 2052702 h 2323145"/>
              <a:gd name="connsiteX225" fmla="*/ 2253080 w 11269336"/>
              <a:gd name="connsiteY225" fmla="*/ 2056363 h 2323145"/>
              <a:gd name="connsiteX226" fmla="*/ 2250906 w 11269336"/>
              <a:gd name="connsiteY226" fmla="*/ 2055654 h 2323145"/>
              <a:gd name="connsiteX227" fmla="*/ 2236905 w 11269336"/>
              <a:gd name="connsiteY227" fmla="*/ 2062882 h 2323145"/>
              <a:gd name="connsiteX228" fmla="*/ 2225830 w 11269336"/>
              <a:gd name="connsiteY228" fmla="*/ 2074027 h 2323145"/>
              <a:gd name="connsiteX229" fmla="*/ 2073776 w 11269336"/>
              <a:gd name="connsiteY229" fmla="*/ 2089244 h 2323145"/>
              <a:gd name="connsiteX230" fmla="*/ 1948256 w 11269336"/>
              <a:gd name="connsiteY230" fmla="*/ 2146616 h 2323145"/>
              <a:gd name="connsiteX231" fmla="*/ 1865582 w 11269336"/>
              <a:gd name="connsiteY231" fmla="*/ 2153738 h 2323145"/>
              <a:gd name="connsiteX232" fmla="*/ 1835210 w 11269336"/>
              <a:gd name="connsiteY232" fmla="*/ 2134244 h 2323145"/>
              <a:gd name="connsiteX233" fmla="*/ 1632661 w 11269336"/>
              <a:gd name="connsiteY233" fmla="*/ 2173882 h 2323145"/>
              <a:gd name="connsiteX234" fmla="*/ 1579590 w 11269336"/>
              <a:gd name="connsiteY234" fmla="*/ 2173680 h 2323145"/>
              <a:gd name="connsiteX235" fmla="*/ 1535601 w 11269336"/>
              <a:gd name="connsiteY235" fmla="*/ 2194590 h 2323145"/>
              <a:gd name="connsiteX236" fmla="*/ 1515594 w 11269336"/>
              <a:gd name="connsiteY236" fmla="*/ 2189622 h 2323145"/>
              <a:gd name="connsiteX237" fmla="*/ 1512113 w 11269336"/>
              <a:gd name="connsiteY237" fmla="*/ 2188534 h 2323145"/>
              <a:gd name="connsiteX238" fmla="*/ 1498838 w 11269336"/>
              <a:gd name="connsiteY238" fmla="*/ 2189213 h 2323145"/>
              <a:gd name="connsiteX239" fmla="*/ 1494279 w 11269336"/>
              <a:gd name="connsiteY239" fmla="*/ 2183112 h 2323145"/>
              <a:gd name="connsiteX240" fmla="*/ 1473714 w 11269336"/>
              <a:gd name="connsiteY240" fmla="*/ 2179625 h 2323145"/>
              <a:gd name="connsiteX241" fmla="*/ 1449503 w 11269336"/>
              <a:gd name="connsiteY241" fmla="*/ 2182633 h 2323145"/>
              <a:gd name="connsiteX242" fmla="*/ 1266687 w 11269336"/>
              <a:gd name="connsiteY242" fmla="*/ 2212688 h 2323145"/>
              <a:gd name="connsiteX243" fmla="*/ 1239614 w 11269336"/>
              <a:gd name="connsiteY243" fmla="*/ 2209727 h 2323145"/>
              <a:gd name="connsiteX244" fmla="*/ 1202436 w 11269336"/>
              <a:gd name="connsiteY244" fmla="*/ 2209817 h 2323145"/>
              <a:gd name="connsiteX245" fmla="*/ 1136097 w 11269336"/>
              <a:gd name="connsiteY245" fmla="*/ 2205112 h 2323145"/>
              <a:gd name="connsiteX246" fmla="*/ 988232 w 11269336"/>
              <a:gd name="connsiteY246" fmla="*/ 2235635 h 2323145"/>
              <a:gd name="connsiteX247" fmla="*/ 981959 w 11269336"/>
              <a:gd name="connsiteY247" fmla="*/ 2231607 h 2323145"/>
              <a:gd name="connsiteX248" fmla="*/ 938600 w 11269336"/>
              <a:gd name="connsiteY248" fmla="*/ 2238113 h 2323145"/>
              <a:gd name="connsiteX249" fmla="*/ 791788 w 11269336"/>
              <a:gd name="connsiteY249" fmla="*/ 2293224 h 2323145"/>
              <a:gd name="connsiteX250" fmla="*/ 706914 w 11269336"/>
              <a:gd name="connsiteY250" fmla="*/ 2305046 h 2323145"/>
              <a:gd name="connsiteX251" fmla="*/ 675971 w 11269336"/>
              <a:gd name="connsiteY251" fmla="*/ 2304030 h 2323145"/>
              <a:gd name="connsiteX252" fmla="*/ 624180 w 11269336"/>
              <a:gd name="connsiteY252" fmla="*/ 2302650 h 2323145"/>
              <a:gd name="connsiteX253" fmla="*/ 583453 w 11269336"/>
              <a:gd name="connsiteY253" fmla="*/ 2288788 h 2323145"/>
              <a:gd name="connsiteX254" fmla="*/ 540946 w 11269336"/>
              <a:gd name="connsiteY254" fmla="*/ 2292721 h 2323145"/>
              <a:gd name="connsiteX255" fmla="*/ 533680 w 11269336"/>
              <a:gd name="connsiteY255" fmla="*/ 2310233 h 2323145"/>
              <a:gd name="connsiteX256" fmla="*/ 487366 w 11269336"/>
              <a:gd name="connsiteY256" fmla="*/ 2309053 h 2323145"/>
              <a:gd name="connsiteX257" fmla="*/ 416820 w 11269336"/>
              <a:gd name="connsiteY257" fmla="*/ 2305443 h 2323145"/>
              <a:gd name="connsiteX258" fmla="*/ 376805 w 11269336"/>
              <a:gd name="connsiteY258" fmla="*/ 2307647 h 2323145"/>
              <a:gd name="connsiteX259" fmla="*/ 266777 w 11269336"/>
              <a:gd name="connsiteY259" fmla="*/ 2309012 h 2323145"/>
              <a:gd name="connsiteX260" fmla="*/ 156013 w 11269336"/>
              <a:gd name="connsiteY260" fmla="*/ 2306832 h 2323145"/>
              <a:gd name="connsiteX261" fmla="*/ 87258 w 11269336"/>
              <a:gd name="connsiteY261" fmla="*/ 2285511 h 2323145"/>
              <a:gd name="connsiteX262" fmla="*/ 23798 w 11269336"/>
              <a:gd name="connsiteY262" fmla="*/ 2281822 h 2323145"/>
              <a:gd name="connsiteX263" fmla="*/ 0 w 11269336"/>
              <a:gd name="connsiteY263" fmla="*/ 2285369 h 2323145"/>
              <a:gd name="connsiteX264" fmla="*/ 0 w 11269336"/>
              <a:gd name="connsiteY264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8914746 w 11269336"/>
              <a:gd name="connsiteY23" fmla="*/ 826428 h 2323145"/>
              <a:gd name="connsiteX24" fmla="*/ 8917778 w 11269336"/>
              <a:gd name="connsiteY24" fmla="*/ 835198 h 2323145"/>
              <a:gd name="connsiteX25" fmla="*/ 8905560 w 11269336"/>
              <a:gd name="connsiteY25" fmla="*/ 838358 h 2323145"/>
              <a:gd name="connsiteX26" fmla="*/ 8897564 w 11269336"/>
              <a:gd name="connsiteY26" fmla="*/ 834287 h 2323145"/>
              <a:gd name="connsiteX27" fmla="*/ 8878040 w 11269336"/>
              <a:gd name="connsiteY27" fmla="*/ 844150 h 2323145"/>
              <a:gd name="connsiteX28" fmla="*/ 8795998 w 11269336"/>
              <a:gd name="connsiteY28" fmla="*/ 863337 h 2323145"/>
              <a:gd name="connsiteX29" fmla="*/ 8776970 w 11269336"/>
              <a:gd name="connsiteY29" fmla="*/ 885177 h 2323145"/>
              <a:gd name="connsiteX30" fmla="*/ 8755719 w 11269336"/>
              <a:gd name="connsiteY30" fmla="*/ 889754 h 2323145"/>
              <a:gd name="connsiteX31" fmla="*/ 8743257 w 11269336"/>
              <a:gd name="connsiteY31" fmla="*/ 904723 h 2323145"/>
              <a:gd name="connsiteX32" fmla="*/ 8721366 w 11269336"/>
              <a:gd name="connsiteY32" fmla="*/ 904711 h 2323145"/>
              <a:gd name="connsiteX33" fmla="*/ 8678353 w 11269336"/>
              <a:gd name="connsiteY33" fmla="*/ 926318 h 2323145"/>
              <a:gd name="connsiteX34" fmla="*/ 8636849 w 11269336"/>
              <a:gd name="connsiteY34" fmla="*/ 937900 h 2323145"/>
              <a:gd name="connsiteX35" fmla="*/ 8620213 w 11269336"/>
              <a:gd name="connsiteY35" fmla="*/ 943068 h 2323145"/>
              <a:gd name="connsiteX36" fmla="*/ 8612581 w 11269336"/>
              <a:gd name="connsiteY36" fmla="*/ 952695 h 2323145"/>
              <a:gd name="connsiteX37" fmla="*/ 8589038 w 11269336"/>
              <a:gd name="connsiteY37" fmla="*/ 963892 h 2323145"/>
              <a:gd name="connsiteX38" fmla="*/ 8579950 w 11269336"/>
              <a:gd name="connsiteY38" fmla="*/ 960899 h 2323145"/>
              <a:gd name="connsiteX39" fmla="*/ 8579319 w 11269336"/>
              <a:gd name="connsiteY39" fmla="*/ 965630 h 2323145"/>
              <a:gd name="connsiteX40" fmla="*/ 8547429 w 11269336"/>
              <a:gd name="connsiteY40" fmla="*/ 984506 h 2323145"/>
              <a:gd name="connsiteX41" fmla="*/ 8478704 w 11269336"/>
              <a:gd name="connsiteY41" fmla="*/ 1025490 h 2323145"/>
              <a:gd name="connsiteX42" fmla="*/ 8461421 w 11269336"/>
              <a:gd name="connsiteY42" fmla="*/ 1035512 h 2323145"/>
              <a:gd name="connsiteX43" fmla="*/ 8445003 w 11269336"/>
              <a:gd name="connsiteY43" fmla="*/ 1036851 h 2323145"/>
              <a:gd name="connsiteX44" fmla="*/ 8357350 w 11269336"/>
              <a:gd name="connsiteY44" fmla="*/ 1060213 h 2323145"/>
              <a:gd name="connsiteX45" fmla="*/ 8335565 w 11269336"/>
              <a:gd name="connsiteY45" fmla="*/ 1061151 h 2323145"/>
              <a:gd name="connsiteX46" fmla="*/ 8325267 w 11269336"/>
              <a:gd name="connsiteY46" fmla="*/ 1055919 h 2323145"/>
              <a:gd name="connsiteX47" fmla="*/ 8293586 w 11269336"/>
              <a:gd name="connsiteY47" fmla="*/ 1076144 h 2323145"/>
              <a:gd name="connsiteX48" fmla="*/ 8242405 w 11269336"/>
              <a:gd name="connsiteY48" fmla="*/ 1095960 h 2323145"/>
              <a:gd name="connsiteX49" fmla="*/ 8197391 w 11269336"/>
              <a:gd name="connsiteY49" fmla="*/ 1107746 h 2323145"/>
              <a:gd name="connsiteX50" fmla="*/ 8081474 w 11269336"/>
              <a:gd name="connsiteY50" fmla="*/ 1130125 h 2323145"/>
              <a:gd name="connsiteX51" fmla="*/ 8053585 w 11269336"/>
              <a:gd name="connsiteY51" fmla="*/ 1129169 h 2323145"/>
              <a:gd name="connsiteX52" fmla="*/ 8038422 w 11269336"/>
              <a:gd name="connsiteY52" fmla="*/ 1119092 h 2323145"/>
              <a:gd name="connsiteX53" fmla="*/ 8029450 w 11269336"/>
              <a:gd name="connsiteY53" fmla="*/ 1125592 h 2323145"/>
              <a:gd name="connsiteX54" fmla="*/ 7959552 w 11269336"/>
              <a:gd name="connsiteY54" fmla="*/ 1140188 h 2323145"/>
              <a:gd name="connsiteX55" fmla="*/ 7914188 w 11269336"/>
              <a:gd name="connsiteY55" fmla="*/ 1150862 h 2323145"/>
              <a:gd name="connsiteX56" fmla="*/ 7914918 w 11269336"/>
              <a:gd name="connsiteY56" fmla="*/ 1168758 h 2323145"/>
              <a:gd name="connsiteX57" fmla="*/ 7875510 w 11269336"/>
              <a:gd name="connsiteY57" fmla="*/ 1183153 h 2323145"/>
              <a:gd name="connsiteX58" fmla="*/ 7829932 w 11269336"/>
              <a:gd name="connsiteY58" fmla="*/ 1180782 h 2323145"/>
              <a:gd name="connsiteX59" fmla="*/ 7779182 w 11269336"/>
              <a:gd name="connsiteY59" fmla="*/ 1192665 h 2323145"/>
              <a:gd name="connsiteX60" fmla="*/ 7748774 w 11269336"/>
              <a:gd name="connsiteY60" fmla="*/ 1199586 h 2323145"/>
              <a:gd name="connsiteX61" fmla="*/ 7671846 w 11269336"/>
              <a:gd name="connsiteY61" fmla="*/ 1231966 h 2323145"/>
              <a:gd name="connsiteX62" fmla="*/ 7554146 w 11269336"/>
              <a:gd name="connsiteY62" fmla="*/ 1319748 h 2323145"/>
              <a:gd name="connsiteX63" fmla="*/ 7515052 w 11269336"/>
              <a:gd name="connsiteY63" fmla="*/ 1336718 h 2323145"/>
              <a:gd name="connsiteX64" fmla="*/ 7507193 w 11269336"/>
              <a:gd name="connsiteY64" fmla="*/ 1334617 h 2323145"/>
              <a:gd name="connsiteX65" fmla="*/ 7461694 w 11269336"/>
              <a:gd name="connsiteY65" fmla="*/ 1375866 h 2323145"/>
              <a:gd name="connsiteX66" fmla="*/ 7377571 w 11269336"/>
              <a:gd name="connsiteY66" fmla="*/ 1400128 h 2323145"/>
              <a:gd name="connsiteX67" fmla="*/ 7311261 w 11269336"/>
              <a:gd name="connsiteY67" fmla="*/ 1412652 h 2323145"/>
              <a:gd name="connsiteX68" fmla="*/ 7275307 w 11269336"/>
              <a:gd name="connsiteY68" fmla="*/ 1422171 h 2323145"/>
              <a:gd name="connsiteX69" fmla="*/ 7247783 w 11269336"/>
              <a:gd name="connsiteY69" fmla="*/ 1426330 h 2323145"/>
              <a:gd name="connsiteX70" fmla="*/ 7185047 w 11269336"/>
              <a:gd name="connsiteY70" fmla="*/ 1451812 h 2323145"/>
              <a:gd name="connsiteX71" fmla="*/ 7084117 w 11269336"/>
              <a:gd name="connsiteY71" fmla="*/ 1500281 h 2323145"/>
              <a:gd name="connsiteX72" fmla="*/ 7062011 w 11269336"/>
              <a:gd name="connsiteY72" fmla="*/ 1509183 h 2323145"/>
              <a:gd name="connsiteX73" fmla="*/ 7040555 w 11269336"/>
              <a:gd name="connsiteY73" fmla="*/ 1511207 h 2323145"/>
              <a:gd name="connsiteX74" fmla="*/ 7033438 w 11269336"/>
              <a:gd name="connsiteY74" fmla="*/ 1506772 h 2323145"/>
              <a:gd name="connsiteX75" fmla="*/ 7020886 w 11269336"/>
              <a:gd name="connsiteY75" fmla="*/ 1510764 h 2323145"/>
              <a:gd name="connsiteX76" fmla="*/ 7017033 w 11269336"/>
              <a:gd name="connsiteY76" fmla="*/ 1510650 h 2323145"/>
              <a:gd name="connsiteX77" fmla="*/ 6995460 w 11269336"/>
              <a:gd name="connsiteY77" fmla="*/ 1511173 h 2323145"/>
              <a:gd name="connsiteX78" fmla="*/ 6962144 w 11269336"/>
              <a:gd name="connsiteY78" fmla="*/ 1541508 h 2323145"/>
              <a:gd name="connsiteX79" fmla="*/ 6910674 w 11269336"/>
              <a:gd name="connsiteY79" fmla="*/ 1554793 h 2323145"/>
              <a:gd name="connsiteX80" fmla="*/ 6732152 w 11269336"/>
              <a:gd name="connsiteY80" fmla="*/ 1642538 h 2323145"/>
              <a:gd name="connsiteX81" fmla="*/ 6694106 w 11269336"/>
              <a:gd name="connsiteY81" fmla="*/ 1632377 h 2323145"/>
              <a:gd name="connsiteX82" fmla="*/ 6617223 w 11269336"/>
              <a:gd name="connsiteY82" fmla="*/ 1659889 h 2323145"/>
              <a:gd name="connsiteX83" fmla="*/ 6521138 w 11269336"/>
              <a:gd name="connsiteY83" fmla="*/ 1744340 h 2323145"/>
              <a:gd name="connsiteX84" fmla="*/ 6380677 w 11269336"/>
              <a:gd name="connsiteY84" fmla="*/ 1796883 h 2323145"/>
              <a:gd name="connsiteX85" fmla="*/ 6374897 w 11269336"/>
              <a:gd name="connsiteY85" fmla="*/ 1809910 h 2323145"/>
              <a:gd name="connsiteX86" fmla="*/ 6364545 w 11269336"/>
              <a:gd name="connsiteY86" fmla="*/ 1820090 h 2323145"/>
              <a:gd name="connsiteX87" fmla="*/ 6362126 w 11269336"/>
              <a:gd name="connsiteY87" fmla="*/ 1819991 h 2323145"/>
              <a:gd name="connsiteX88" fmla="*/ 6346673 w 11269336"/>
              <a:gd name="connsiteY88" fmla="*/ 1827824 h 2323145"/>
              <a:gd name="connsiteX89" fmla="*/ 6345588 w 11269336"/>
              <a:gd name="connsiteY89" fmla="*/ 1832232 h 2323145"/>
              <a:gd name="connsiteX90" fmla="*/ 6335708 w 11269336"/>
              <a:gd name="connsiteY90" fmla="*/ 1838451 h 2323145"/>
              <a:gd name="connsiteX91" fmla="*/ 6318182 w 11269336"/>
              <a:gd name="connsiteY91" fmla="*/ 1852975 h 2323145"/>
              <a:gd name="connsiteX92" fmla="*/ 6313084 w 11269336"/>
              <a:gd name="connsiteY92" fmla="*/ 1853561 h 2323145"/>
              <a:gd name="connsiteX93" fmla="*/ 6283816 w 11269336"/>
              <a:gd name="connsiteY93" fmla="*/ 1872148 h 2323145"/>
              <a:gd name="connsiteX94" fmla="*/ 6282550 w 11269336"/>
              <a:gd name="connsiteY94" fmla="*/ 1871392 h 2323145"/>
              <a:gd name="connsiteX95" fmla="*/ 6270527 w 11269336"/>
              <a:gd name="connsiteY95" fmla="*/ 1872208 h 2323145"/>
              <a:gd name="connsiteX96" fmla="*/ 6249518 w 11269336"/>
              <a:gd name="connsiteY96" fmla="*/ 1876079 h 2323145"/>
              <a:gd name="connsiteX97" fmla="*/ 6190386 w 11269336"/>
              <a:gd name="connsiteY97" fmla="*/ 1872478 h 2323145"/>
              <a:gd name="connsiteX98" fmla="*/ 6159777 w 11269336"/>
              <a:gd name="connsiteY98" fmla="*/ 1891745 h 2323145"/>
              <a:gd name="connsiteX99" fmla="*/ 6153131 w 11269336"/>
              <a:gd name="connsiteY99" fmla="*/ 1895079 h 2323145"/>
              <a:gd name="connsiteX100" fmla="*/ 6152798 w 11269336"/>
              <a:gd name="connsiteY100" fmla="*/ 1894920 h 2323145"/>
              <a:gd name="connsiteX101" fmla="*/ 6145388 w 11269336"/>
              <a:gd name="connsiteY101" fmla="*/ 1897990 h 2323145"/>
              <a:gd name="connsiteX102" fmla="*/ 6141014 w 11269336"/>
              <a:gd name="connsiteY102" fmla="*/ 1901155 h 2323145"/>
              <a:gd name="connsiteX103" fmla="*/ 6128122 w 11269336"/>
              <a:gd name="connsiteY103" fmla="*/ 1907623 h 2323145"/>
              <a:gd name="connsiteX104" fmla="*/ 6122351 w 11269336"/>
              <a:gd name="connsiteY104" fmla="*/ 1908359 h 2323145"/>
              <a:gd name="connsiteX105" fmla="*/ 6064750 w 11269336"/>
              <a:gd name="connsiteY105" fmla="*/ 1896394 h 2323145"/>
              <a:gd name="connsiteX106" fmla="*/ 5964230 w 11269336"/>
              <a:gd name="connsiteY106" fmla="*/ 1910038 h 2323145"/>
              <a:gd name="connsiteX107" fmla="*/ 5865399 w 11269336"/>
              <a:gd name="connsiteY107" fmla="*/ 1926966 h 2323145"/>
              <a:gd name="connsiteX108" fmla="*/ 5829951 w 11269336"/>
              <a:gd name="connsiteY108" fmla="*/ 1934755 h 2323145"/>
              <a:gd name="connsiteX109" fmla="*/ 5765285 w 11269336"/>
              <a:gd name="connsiteY109" fmla="*/ 1941322 h 2323145"/>
              <a:gd name="connsiteX110" fmla="*/ 5734750 w 11269336"/>
              <a:gd name="connsiteY110" fmla="*/ 1939793 h 2323145"/>
              <a:gd name="connsiteX111" fmla="*/ 5733569 w 11269336"/>
              <a:gd name="connsiteY111" fmla="*/ 1940505 h 2323145"/>
              <a:gd name="connsiteX112" fmla="*/ 5730329 w 11269336"/>
              <a:gd name="connsiteY112" fmla="*/ 1937845 h 2323145"/>
              <a:gd name="connsiteX113" fmla="*/ 5724661 w 11269336"/>
              <a:gd name="connsiteY113" fmla="*/ 1937455 h 2323145"/>
              <a:gd name="connsiteX114" fmla="*/ 5710186 w 11269336"/>
              <a:gd name="connsiteY114" fmla="*/ 1941370 h 2323145"/>
              <a:gd name="connsiteX115" fmla="*/ 5704910 w 11269336"/>
              <a:gd name="connsiteY115" fmla="*/ 1943663 h 2323145"/>
              <a:gd name="connsiteX116" fmla="*/ 5696836 w 11269336"/>
              <a:gd name="connsiteY116" fmla="*/ 1945271 h 2323145"/>
              <a:gd name="connsiteX117" fmla="*/ 5696583 w 11269336"/>
              <a:gd name="connsiteY117" fmla="*/ 1945050 h 2323145"/>
              <a:gd name="connsiteX118" fmla="*/ 5689123 w 11269336"/>
              <a:gd name="connsiteY118" fmla="*/ 1947067 h 2323145"/>
              <a:gd name="connsiteX119" fmla="*/ 5653291 w 11269336"/>
              <a:gd name="connsiteY119" fmla="*/ 1960245 h 2323145"/>
              <a:gd name="connsiteX120" fmla="*/ 5599385 w 11269336"/>
              <a:gd name="connsiteY120" fmla="*/ 1945198 h 2323145"/>
              <a:gd name="connsiteX121" fmla="*/ 5578300 w 11269336"/>
              <a:gd name="connsiteY121" fmla="*/ 1944963 h 2323145"/>
              <a:gd name="connsiteX122" fmla="*/ 5566758 w 11269336"/>
              <a:gd name="connsiteY122" fmla="*/ 1943441 h 2323145"/>
              <a:gd name="connsiteX123" fmla="*/ 5565857 w 11269336"/>
              <a:gd name="connsiteY123" fmla="*/ 1942445 h 2323145"/>
              <a:gd name="connsiteX124" fmla="*/ 5531534 w 11269336"/>
              <a:gd name="connsiteY124" fmla="*/ 1955208 h 2323145"/>
              <a:gd name="connsiteX125" fmla="*/ 5526552 w 11269336"/>
              <a:gd name="connsiteY125" fmla="*/ 1954799 h 2323145"/>
              <a:gd name="connsiteX126" fmla="*/ 5504723 w 11269336"/>
              <a:gd name="connsiteY126" fmla="*/ 1965811 h 2323145"/>
              <a:gd name="connsiteX127" fmla="*/ 5493156 w 11269336"/>
              <a:gd name="connsiteY127" fmla="*/ 1970063 h 2323145"/>
              <a:gd name="connsiteX128" fmla="*/ 5490486 w 11269336"/>
              <a:gd name="connsiteY128" fmla="*/ 1974227 h 2323145"/>
              <a:gd name="connsiteX129" fmla="*/ 5473107 w 11269336"/>
              <a:gd name="connsiteY129" fmla="*/ 1979001 h 2323145"/>
              <a:gd name="connsiteX130" fmla="*/ 5470885 w 11269336"/>
              <a:gd name="connsiteY130" fmla="*/ 1978432 h 2323145"/>
              <a:gd name="connsiteX131" fmla="*/ 5457393 w 11269336"/>
              <a:gd name="connsiteY131" fmla="*/ 1986525 h 2323145"/>
              <a:gd name="connsiteX132" fmla="*/ 5447102 w 11269336"/>
              <a:gd name="connsiteY132" fmla="*/ 1998329 h 2323145"/>
              <a:gd name="connsiteX133" fmla="*/ 5159151 w 11269336"/>
              <a:gd name="connsiteY133" fmla="*/ 2029640 h 2323145"/>
              <a:gd name="connsiteX134" fmla="*/ 5041688 w 11269336"/>
              <a:gd name="connsiteY134" fmla="*/ 2022334 h 2323145"/>
              <a:gd name="connsiteX135" fmla="*/ 4860988 w 11269336"/>
              <a:gd name="connsiteY135" fmla="*/ 2135698 h 2323145"/>
              <a:gd name="connsiteX136" fmla="*/ 4807902 w 11269336"/>
              <a:gd name="connsiteY136" fmla="*/ 2138894 h 2323145"/>
              <a:gd name="connsiteX137" fmla="*/ 4765388 w 11269336"/>
              <a:gd name="connsiteY137" fmla="*/ 2162525 h 2323145"/>
              <a:gd name="connsiteX138" fmla="*/ 4745033 w 11269336"/>
              <a:gd name="connsiteY138" fmla="*/ 2158859 h 2323145"/>
              <a:gd name="connsiteX139" fmla="*/ 4741475 w 11269336"/>
              <a:gd name="connsiteY139" fmla="*/ 2157998 h 2323145"/>
              <a:gd name="connsiteX140" fmla="*/ 4728247 w 11269336"/>
              <a:gd name="connsiteY140" fmla="*/ 2159526 h 2323145"/>
              <a:gd name="connsiteX141" fmla="*/ 4723263 w 11269336"/>
              <a:gd name="connsiteY141" fmla="*/ 2153742 h 2323145"/>
              <a:gd name="connsiteX142" fmla="*/ 4702453 w 11269336"/>
              <a:gd name="connsiteY142" fmla="*/ 2151586 h 2323145"/>
              <a:gd name="connsiteX143" fmla="*/ 4678455 w 11269336"/>
              <a:gd name="connsiteY143" fmla="*/ 2156131 h 2323145"/>
              <a:gd name="connsiteX144" fmla="*/ 4593061 w 11269336"/>
              <a:gd name="connsiteY144" fmla="*/ 2171597 h 2323145"/>
              <a:gd name="connsiteX145" fmla="*/ 4579902 w 11269336"/>
              <a:gd name="connsiteY145" fmla="*/ 2177927 h 2323145"/>
              <a:gd name="connsiteX146" fmla="*/ 4533444 w 11269336"/>
              <a:gd name="connsiteY146" fmla="*/ 2181200 h 2323145"/>
              <a:gd name="connsiteX147" fmla="*/ 4492832 w 11269336"/>
              <a:gd name="connsiteY147" fmla="*/ 2188033 h 2323145"/>
              <a:gd name="connsiteX148" fmla="*/ 4467257 w 11269336"/>
              <a:gd name="connsiteY148" fmla="*/ 2196121 h 2323145"/>
              <a:gd name="connsiteX149" fmla="*/ 4459937 w 11269336"/>
              <a:gd name="connsiteY149" fmla="*/ 2195182 h 2323145"/>
              <a:gd name="connsiteX150" fmla="*/ 4433312 w 11269336"/>
              <a:gd name="connsiteY150" fmla="*/ 2199004 h 2323145"/>
              <a:gd name="connsiteX151" fmla="*/ 4420601 w 11269336"/>
              <a:gd name="connsiteY151" fmla="*/ 2205158 h 2323145"/>
              <a:gd name="connsiteX152" fmla="*/ 4405765 w 11269336"/>
              <a:gd name="connsiteY152" fmla="*/ 2199902 h 2323145"/>
              <a:gd name="connsiteX153" fmla="*/ 4401354 w 11269336"/>
              <a:gd name="connsiteY153" fmla="*/ 2194745 h 2323145"/>
              <a:gd name="connsiteX154" fmla="*/ 4383151 w 11269336"/>
              <a:gd name="connsiteY154" fmla="*/ 2201140 h 2323145"/>
              <a:gd name="connsiteX155" fmla="*/ 4366646 w 11269336"/>
              <a:gd name="connsiteY155" fmla="*/ 2198564 h 2323145"/>
              <a:gd name="connsiteX156" fmla="*/ 4354009 w 11269336"/>
              <a:gd name="connsiteY156" fmla="*/ 2204984 h 2323145"/>
              <a:gd name="connsiteX157" fmla="*/ 4348284 w 11269336"/>
              <a:gd name="connsiteY157" fmla="*/ 2205270 h 2323145"/>
              <a:gd name="connsiteX158" fmla="*/ 4333906 w 11269336"/>
              <a:gd name="connsiteY158" fmla="*/ 2205251 h 2323145"/>
              <a:gd name="connsiteX159" fmla="*/ 4308819 w 11269336"/>
              <a:gd name="connsiteY159" fmla="*/ 2203822 h 2323145"/>
              <a:gd name="connsiteX160" fmla="*/ 4301210 w 11269336"/>
              <a:gd name="connsiteY160" fmla="*/ 2204456 h 2323145"/>
              <a:gd name="connsiteX161" fmla="*/ 4283095 w 11269336"/>
              <a:gd name="connsiteY161" fmla="*/ 2198177 h 2323145"/>
              <a:gd name="connsiteX162" fmla="*/ 4250119 w 11269336"/>
              <a:gd name="connsiteY162" fmla="*/ 2196342 h 2323145"/>
              <a:gd name="connsiteX163" fmla="*/ 4189203 w 11269336"/>
              <a:gd name="connsiteY163" fmla="*/ 2178994 h 2323145"/>
              <a:gd name="connsiteX164" fmla="*/ 4154035 w 11269336"/>
              <a:gd name="connsiteY164" fmla="*/ 2171950 h 2323145"/>
              <a:gd name="connsiteX165" fmla="*/ 4129569 w 11269336"/>
              <a:gd name="connsiteY165" fmla="*/ 2163850 h 2323145"/>
              <a:gd name="connsiteX166" fmla="*/ 4061250 w 11269336"/>
              <a:gd name="connsiteY166" fmla="*/ 2159236 h 2323145"/>
              <a:gd name="connsiteX167" fmla="*/ 3945480 w 11269336"/>
              <a:gd name="connsiteY167" fmla="*/ 2158279 h 2323145"/>
              <a:gd name="connsiteX168" fmla="*/ 3921468 w 11269336"/>
              <a:gd name="connsiteY168" fmla="*/ 2156588 h 2323145"/>
              <a:gd name="connsiteX169" fmla="*/ 3903348 w 11269336"/>
              <a:gd name="connsiteY169" fmla="*/ 2149220 h 2323145"/>
              <a:gd name="connsiteX170" fmla="*/ 3901342 w 11269336"/>
              <a:gd name="connsiteY170" fmla="*/ 2142355 h 2323145"/>
              <a:gd name="connsiteX171" fmla="*/ 3888539 w 11269336"/>
              <a:gd name="connsiteY171" fmla="*/ 2140476 h 2323145"/>
              <a:gd name="connsiteX172" fmla="*/ 3885662 w 11269336"/>
              <a:gd name="connsiteY172" fmla="*/ 2138740 h 2323145"/>
              <a:gd name="connsiteX173" fmla="*/ 3868627 w 11269336"/>
              <a:gd name="connsiteY173" fmla="*/ 2130023 h 2323145"/>
              <a:gd name="connsiteX174" fmla="*/ 3819177 w 11269336"/>
              <a:gd name="connsiteY174" fmla="*/ 2142111 h 2323145"/>
              <a:gd name="connsiteX175" fmla="*/ 3769100 w 11269336"/>
              <a:gd name="connsiteY175" fmla="*/ 2131731 h 2323145"/>
              <a:gd name="connsiteX176" fmla="*/ 3562752 w 11269336"/>
              <a:gd name="connsiteY176" fmla="*/ 2131785 h 2323145"/>
              <a:gd name="connsiteX177" fmla="*/ 3541402 w 11269336"/>
              <a:gd name="connsiteY177" fmla="*/ 2106821 h 2323145"/>
              <a:gd name="connsiteX178" fmla="*/ 3365341 w 11269336"/>
              <a:gd name="connsiteY178" fmla="*/ 2077638 h 2323145"/>
              <a:gd name="connsiteX179" fmla="*/ 3170922 w 11269336"/>
              <a:gd name="connsiteY179" fmla="*/ 2115957 h 2323145"/>
              <a:gd name="connsiteX180" fmla="*/ 3156256 w 11269336"/>
              <a:gd name="connsiteY180" fmla="*/ 2124773 h 2323145"/>
              <a:gd name="connsiteX181" fmla="*/ 3140298 w 11269336"/>
              <a:gd name="connsiteY181" fmla="*/ 2129182 h 2323145"/>
              <a:gd name="connsiteX182" fmla="*/ 3138514 w 11269336"/>
              <a:gd name="connsiteY182" fmla="*/ 2128069 h 2323145"/>
              <a:gd name="connsiteX183" fmla="*/ 3120467 w 11269336"/>
              <a:gd name="connsiteY183" fmla="*/ 2128281 h 2323145"/>
              <a:gd name="connsiteX184" fmla="*/ 3116175 w 11269336"/>
              <a:gd name="connsiteY184" fmla="*/ 2131633 h 2323145"/>
              <a:gd name="connsiteX185" fmla="*/ 3103685 w 11269336"/>
              <a:gd name="connsiteY185" fmla="*/ 2132814 h 2323145"/>
              <a:gd name="connsiteX186" fmla="*/ 3078794 w 11269336"/>
              <a:gd name="connsiteY186" fmla="*/ 2137935 h 2323145"/>
              <a:gd name="connsiteX187" fmla="*/ 3074407 w 11269336"/>
              <a:gd name="connsiteY187" fmla="*/ 2136274 h 2323145"/>
              <a:gd name="connsiteX188" fmla="*/ 3037285 w 11269336"/>
              <a:gd name="connsiteY188" fmla="*/ 2139919 h 2323145"/>
              <a:gd name="connsiteX189" fmla="*/ 3036901 w 11269336"/>
              <a:gd name="connsiteY189" fmla="*/ 2138726 h 2323145"/>
              <a:gd name="connsiteX190" fmla="*/ 3026996 w 11269336"/>
              <a:gd name="connsiteY190" fmla="*/ 2134322 h 2323145"/>
              <a:gd name="connsiteX191" fmla="*/ 3007772 w 11269336"/>
              <a:gd name="connsiteY191" fmla="*/ 2128742 h 2323145"/>
              <a:gd name="connsiteX192" fmla="*/ 2965030 w 11269336"/>
              <a:gd name="connsiteY192" fmla="*/ 2100494 h 2323145"/>
              <a:gd name="connsiteX193" fmla="*/ 2926342 w 11269336"/>
              <a:gd name="connsiteY193" fmla="*/ 2104155 h 2323145"/>
              <a:gd name="connsiteX194" fmla="*/ 2918608 w 11269336"/>
              <a:gd name="connsiteY194" fmla="*/ 2104215 h 2323145"/>
              <a:gd name="connsiteX195" fmla="*/ 2918475 w 11269336"/>
              <a:gd name="connsiteY195" fmla="*/ 2103937 h 2323145"/>
              <a:gd name="connsiteX196" fmla="*/ 2910360 w 11269336"/>
              <a:gd name="connsiteY196" fmla="*/ 2103444 h 2323145"/>
              <a:gd name="connsiteX197" fmla="*/ 2904507 w 11269336"/>
              <a:gd name="connsiteY197" fmla="*/ 2104326 h 2323145"/>
              <a:gd name="connsiteX198" fmla="*/ 2889503 w 11269336"/>
              <a:gd name="connsiteY198" fmla="*/ 2104443 h 2323145"/>
              <a:gd name="connsiteX199" fmla="*/ 2884480 w 11269336"/>
              <a:gd name="connsiteY199" fmla="*/ 2102626 h 2323145"/>
              <a:gd name="connsiteX200" fmla="*/ 2882689 w 11269336"/>
              <a:gd name="connsiteY200" fmla="*/ 2099228 h 2323145"/>
              <a:gd name="connsiteX201" fmla="*/ 2881291 w 11269336"/>
              <a:gd name="connsiteY201" fmla="*/ 2099618 h 2323145"/>
              <a:gd name="connsiteX202" fmla="*/ 2853979 w 11269336"/>
              <a:gd name="connsiteY202" fmla="*/ 2090388 h 2323145"/>
              <a:gd name="connsiteX203" fmla="*/ 2791790 w 11269336"/>
              <a:gd name="connsiteY203" fmla="*/ 2080332 h 2323145"/>
              <a:gd name="connsiteX204" fmla="*/ 2755844 w 11269336"/>
              <a:gd name="connsiteY204" fmla="*/ 2078874 h 2323145"/>
              <a:gd name="connsiteX205" fmla="*/ 2657742 w 11269336"/>
              <a:gd name="connsiteY205" fmla="*/ 2070179 h 2323145"/>
              <a:gd name="connsiteX206" fmla="*/ 2559549 w 11269336"/>
              <a:gd name="connsiteY206" fmla="*/ 2057873 h 2323145"/>
              <a:gd name="connsiteX207" fmla="*/ 2512054 w 11269336"/>
              <a:gd name="connsiteY207" fmla="*/ 2031671 h 2323145"/>
              <a:gd name="connsiteX208" fmla="*/ 2506437 w 11269336"/>
              <a:gd name="connsiteY208" fmla="*/ 2030918 h 2323145"/>
              <a:gd name="connsiteX209" fmla="*/ 2491752 w 11269336"/>
              <a:gd name="connsiteY209" fmla="*/ 2033906 h 2323145"/>
              <a:gd name="connsiteX210" fmla="*/ 2486338 w 11269336"/>
              <a:gd name="connsiteY210" fmla="*/ 2035862 h 2323145"/>
              <a:gd name="connsiteX211" fmla="*/ 2478186 w 11269336"/>
              <a:gd name="connsiteY211" fmla="*/ 2036953 h 2323145"/>
              <a:gd name="connsiteX212" fmla="*/ 2477950 w 11269336"/>
              <a:gd name="connsiteY212" fmla="*/ 2036715 h 2323145"/>
              <a:gd name="connsiteX213" fmla="*/ 2470381 w 11269336"/>
              <a:gd name="connsiteY213" fmla="*/ 2038256 h 2323145"/>
              <a:gd name="connsiteX214" fmla="*/ 2433781 w 11269336"/>
              <a:gd name="connsiteY214" fmla="*/ 2049140 h 2323145"/>
              <a:gd name="connsiteX215" fmla="*/ 2381172 w 11269336"/>
              <a:gd name="connsiteY215" fmla="*/ 2030645 h 2323145"/>
              <a:gd name="connsiteX216" fmla="*/ 2360198 w 11269336"/>
              <a:gd name="connsiteY216" fmla="*/ 2029059 h 2323145"/>
              <a:gd name="connsiteX217" fmla="*/ 2348815 w 11269336"/>
              <a:gd name="connsiteY217" fmla="*/ 2026798 h 2323145"/>
              <a:gd name="connsiteX218" fmla="*/ 2347988 w 11269336"/>
              <a:gd name="connsiteY218" fmla="*/ 2025745 h 2323145"/>
              <a:gd name="connsiteX219" fmla="*/ 2312920 w 11269336"/>
              <a:gd name="connsiteY219" fmla="*/ 2036311 h 2323145"/>
              <a:gd name="connsiteX220" fmla="*/ 2307986 w 11269336"/>
              <a:gd name="connsiteY220" fmla="*/ 2035583 h 2323145"/>
              <a:gd name="connsiteX221" fmla="*/ 2285481 w 11269336"/>
              <a:gd name="connsiteY221" fmla="*/ 2045197 h 2323145"/>
              <a:gd name="connsiteX222" fmla="*/ 2273666 w 11269336"/>
              <a:gd name="connsiteY222" fmla="*/ 2048710 h 2323145"/>
              <a:gd name="connsiteX223" fmla="*/ 2270719 w 11269336"/>
              <a:gd name="connsiteY223" fmla="*/ 2052702 h 2323145"/>
              <a:gd name="connsiteX224" fmla="*/ 2253080 w 11269336"/>
              <a:gd name="connsiteY224" fmla="*/ 2056363 h 2323145"/>
              <a:gd name="connsiteX225" fmla="*/ 2250906 w 11269336"/>
              <a:gd name="connsiteY225" fmla="*/ 2055654 h 2323145"/>
              <a:gd name="connsiteX226" fmla="*/ 2236905 w 11269336"/>
              <a:gd name="connsiteY226" fmla="*/ 2062882 h 2323145"/>
              <a:gd name="connsiteX227" fmla="*/ 2225830 w 11269336"/>
              <a:gd name="connsiteY227" fmla="*/ 2074027 h 2323145"/>
              <a:gd name="connsiteX228" fmla="*/ 2073776 w 11269336"/>
              <a:gd name="connsiteY228" fmla="*/ 2089244 h 2323145"/>
              <a:gd name="connsiteX229" fmla="*/ 1948256 w 11269336"/>
              <a:gd name="connsiteY229" fmla="*/ 2146616 h 2323145"/>
              <a:gd name="connsiteX230" fmla="*/ 1865582 w 11269336"/>
              <a:gd name="connsiteY230" fmla="*/ 2153738 h 2323145"/>
              <a:gd name="connsiteX231" fmla="*/ 1835210 w 11269336"/>
              <a:gd name="connsiteY231" fmla="*/ 2134244 h 2323145"/>
              <a:gd name="connsiteX232" fmla="*/ 1632661 w 11269336"/>
              <a:gd name="connsiteY232" fmla="*/ 2173882 h 2323145"/>
              <a:gd name="connsiteX233" fmla="*/ 1579590 w 11269336"/>
              <a:gd name="connsiteY233" fmla="*/ 2173680 h 2323145"/>
              <a:gd name="connsiteX234" fmla="*/ 1535601 w 11269336"/>
              <a:gd name="connsiteY234" fmla="*/ 2194590 h 2323145"/>
              <a:gd name="connsiteX235" fmla="*/ 1515594 w 11269336"/>
              <a:gd name="connsiteY235" fmla="*/ 2189622 h 2323145"/>
              <a:gd name="connsiteX236" fmla="*/ 1512113 w 11269336"/>
              <a:gd name="connsiteY236" fmla="*/ 2188534 h 2323145"/>
              <a:gd name="connsiteX237" fmla="*/ 1498838 w 11269336"/>
              <a:gd name="connsiteY237" fmla="*/ 2189213 h 2323145"/>
              <a:gd name="connsiteX238" fmla="*/ 1494279 w 11269336"/>
              <a:gd name="connsiteY238" fmla="*/ 2183112 h 2323145"/>
              <a:gd name="connsiteX239" fmla="*/ 1473714 w 11269336"/>
              <a:gd name="connsiteY239" fmla="*/ 2179625 h 2323145"/>
              <a:gd name="connsiteX240" fmla="*/ 1449503 w 11269336"/>
              <a:gd name="connsiteY240" fmla="*/ 2182633 h 2323145"/>
              <a:gd name="connsiteX241" fmla="*/ 1266687 w 11269336"/>
              <a:gd name="connsiteY241" fmla="*/ 2212688 h 2323145"/>
              <a:gd name="connsiteX242" fmla="*/ 1239614 w 11269336"/>
              <a:gd name="connsiteY242" fmla="*/ 2209727 h 2323145"/>
              <a:gd name="connsiteX243" fmla="*/ 1202436 w 11269336"/>
              <a:gd name="connsiteY243" fmla="*/ 2209817 h 2323145"/>
              <a:gd name="connsiteX244" fmla="*/ 1136097 w 11269336"/>
              <a:gd name="connsiteY244" fmla="*/ 2205112 h 2323145"/>
              <a:gd name="connsiteX245" fmla="*/ 988232 w 11269336"/>
              <a:gd name="connsiteY245" fmla="*/ 2235635 h 2323145"/>
              <a:gd name="connsiteX246" fmla="*/ 981959 w 11269336"/>
              <a:gd name="connsiteY246" fmla="*/ 2231607 h 2323145"/>
              <a:gd name="connsiteX247" fmla="*/ 938600 w 11269336"/>
              <a:gd name="connsiteY247" fmla="*/ 2238113 h 2323145"/>
              <a:gd name="connsiteX248" fmla="*/ 791788 w 11269336"/>
              <a:gd name="connsiteY248" fmla="*/ 2293224 h 2323145"/>
              <a:gd name="connsiteX249" fmla="*/ 706914 w 11269336"/>
              <a:gd name="connsiteY249" fmla="*/ 2305046 h 2323145"/>
              <a:gd name="connsiteX250" fmla="*/ 675971 w 11269336"/>
              <a:gd name="connsiteY250" fmla="*/ 2304030 h 2323145"/>
              <a:gd name="connsiteX251" fmla="*/ 624180 w 11269336"/>
              <a:gd name="connsiteY251" fmla="*/ 2302650 h 2323145"/>
              <a:gd name="connsiteX252" fmla="*/ 583453 w 11269336"/>
              <a:gd name="connsiteY252" fmla="*/ 2288788 h 2323145"/>
              <a:gd name="connsiteX253" fmla="*/ 540946 w 11269336"/>
              <a:gd name="connsiteY253" fmla="*/ 2292721 h 2323145"/>
              <a:gd name="connsiteX254" fmla="*/ 533680 w 11269336"/>
              <a:gd name="connsiteY254" fmla="*/ 2310233 h 2323145"/>
              <a:gd name="connsiteX255" fmla="*/ 487366 w 11269336"/>
              <a:gd name="connsiteY255" fmla="*/ 2309053 h 2323145"/>
              <a:gd name="connsiteX256" fmla="*/ 416820 w 11269336"/>
              <a:gd name="connsiteY256" fmla="*/ 2305443 h 2323145"/>
              <a:gd name="connsiteX257" fmla="*/ 376805 w 11269336"/>
              <a:gd name="connsiteY257" fmla="*/ 2307647 h 2323145"/>
              <a:gd name="connsiteX258" fmla="*/ 266777 w 11269336"/>
              <a:gd name="connsiteY258" fmla="*/ 2309012 h 2323145"/>
              <a:gd name="connsiteX259" fmla="*/ 156013 w 11269336"/>
              <a:gd name="connsiteY259" fmla="*/ 2306832 h 2323145"/>
              <a:gd name="connsiteX260" fmla="*/ 87258 w 11269336"/>
              <a:gd name="connsiteY260" fmla="*/ 2285511 h 2323145"/>
              <a:gd name="connsiteX261" fmla="*/ 23798 w 11269336"/>
              <a:gd name="connsiteY261" fmla="*/ 2281822 h 2323145"/>
              <a:gd name="connsiteX262" fmla="*/ 0 w 11269336"/>
              <a:gd name="connsiteY262" fmla="*/ 2285369 h 2323145"/>
              <a:gd name="connsiteX263" fmla="*/ 0 w 11269336"/>
              <a:gd name="connsiteY26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9062863 w 11269336"/>
              <a:gd name="connsiteY22" fmla="*/ 754656 h 2323145"/>
              <a:gd name="connsiteX23" fmla="*/ 8914746 w 11269336"/>
              <a:gd name="connsiteY23" fmla="*/ 826428 h 2323145"/>
              <a:gd name="connsiteX24" fmla="*/ 8917778 w 11269336"/>
              <a:gd name="connsiteY24" fmla="*/ 835198 h 2323145"/>
              <a:gd name="connsiteX25" fmla="*/ 8905560 w 11269336"/>
              <a:gd name="connsiteY25" fmla="*/ 838358 h 2323145"/>
              <a:gd name="connsiteX26" fmla="*/ 8897564 w 11269336"/>
              <a:gd name="connsiteY26" fmla="*/ 834287 h 2323145"/>
              <a:gd name="connsiteX27" fmla="*/ 8878040 w 11269336"/>
              <a:gd name="connsiteY27" fmla="*/ 844150 h 2323145"/>
              <a:gd name="connsiteX28" fmla="*/ 8795998 w 11269336"/>
              <a:gd name="connsiteY28" fmla="*/ 863337 h 2323145"/>
              <a:gd name="connsiteX29" fmla="*/ 8776970 w 11269336"/>
              <a:gd name="connsiteY29" fmla="*/ 885177 h 2323145"/>
              <a:gd name="connsiteX30" fmla="*/ 8755719 w 11269336"/>
              <a:gd name="connsiteY30" fmla="*/ 889754 h 2323145"/>
              <a:gd name="connsiteX31" fmla="*/ 8743257 w 11269336"/>
              <a:gd name="connsiteY31" fmla="*/ 904723 h 2323145"/>
              <a:gd name="connsiteX32" fmla="*/ 8721366 w 11269336"/>
              <a:gd name="connsiteY32" fmla="*/ 904711 h 2323145"/>
              <a:gd name="connsiteX33" fmla="*/ 8678353 w 11269336"/>
              <a:gd name="connsiteY33" fmla="*/ 926318 h 2323145"/>
              <a:gd name="connsiteX34" fmla="*/ 8636849 w 11269336"/>
              <a:gd name="connsiteY34" fmla="*/ 937900 h 2323145"/>
              <a:gd name="connsiteX35" fmla="*/ 8620213 w 11269336"/>
              <a:gd name="connsiteY35" fmla="*/ 943068 h 2323145"/>
              <a:gd name="connsiteX36" fmla="*/ 8612581 w 11269336"/>
              <a:gd name="connsiteY36" fmla="*/ 952695 h 2323145"/>
              <a:gd name="connsiteX37" fmla="*/ 8589038 w 11269336"/>
              <a:gd name="connsiteY37" fmla="*/ 963892 h 2323145"/>
              <a:gd name="connsiteX38" fmla="*/ 8579950 w 11269336"/>
              <a:gd name="connsiteY38" fmla="*/ 960899 h 2323145"/>
              <a:gd name="connsiteX39" fmla="*/ 8579319 w 11269336"/>
              <a:gd name="connsiteY39" fmla="*/ 965630 h 2323145"/>
              <a:gd name="connsiteX40" fmla="*/ 8547429 w 11269336"/>
              <a:gd name="connsiteY40" fmla="*/ 984506 h 2323145"/>
              <a:gd name="connsiteX41" fmla="*/ 8478704 w 11269336"/>
              <a:gd name="connsiteY41" fmla="*/ 1025490 h 2323145"/>
              <a:gd name="connsiteX42" fmla="*/ 8461421 w 11269336"/>
              <a:gd name="connsiteY42" fmla="*/ 1035512 h 2323145"/>
              <a:gd name="connsiteX43" fmla="*/ 8445003 w 11269336"/>
              <a:gd name="connsiteY43" fmla="*/ 1036851 h 2323145"/>
              <a:gd name="connsiteX44" fmla="*/ 8357350 w 11269336"/>
              <a:gd name="connsiteY44" fmla="*/ 1060213 h 2323145"/>
              <a:gd name="connsiteX45" fmla="*/ 8335565 w 11269336"/>
              <a:gd name="connsiteY45" fmla="*/ 1061151 h 2323145"/>
              <a:gd name="connsiteX46" fmla="*/ 8325267 w 11269336"/>
              <a:gd name="connsiteY46" fmla="*/ 1055919 h 2323145"/>
              <a:gd name="connsiteX47" fmla="*/ 8293586 w 11269336"/>
              <a:gd name="connsiteY47" fmla="*/ 1076144 h 2323145"/>
              <a:gd name="connsiteX48" fmla="*/ 8242405 w 11269336"/>
              <a:gd name="connsiteY48" fmla="*/ 1095960 h 2323145"/>
              <a:gd name="connsiteX49" fmla="*/ 8197391 w 11269336"/>
              <a:gd name="connsiteY49" fmla="*/ 1107746 h 2323145"/>
              <a:gd name="connsiteX50" fmla="*/ 8081474 w 11269336"/>
              <a:gd name="connsiteY50" fmla="*/ 1130125 h 2323145"/>
              <a:gd name="connsiteX51" fmla="*/ 8053585 w 11269336"/>
              <a:gd name="connsiteY51" fmla="*/ 1129169 h 2323145"/>
              <a:gd name="connsiteX52" fmla="*/ 8038422 w 11269336"/>
              <a:gd name="connsiteY52" fmla="*/ 1119092 h 2323145"/>
              <a:gd name="connsiteX53" fmla="*/ 8029450 w 11269336"/>
              <a:gd name="connsiteY53" fmla="*/ 1125592 h 2323145"/>
              <a:gd name="connsiteX54" fmla="*/ 7959552 w 11269336"/>
              <a:gd name="connsiteY54" fmla="*/ 1140188 h 2323145"/>
              <a:gd name="connsiteX55" fmla="*/ 7914188 w 11269336"/>
              <a:gd name="connsiteY55" fmla="*/ 1150862 h 2323145"/>
              <a:gd name="connsiteX56" fmla="*/ 7914918 w 11269336"/>
              <a:gd name="connsiteY56" fmla="*/ 1168758 h 2323145"/>
              <a:gd name="connsiteX57" fmla="*/ 7875510 w 11269336"/>
              <a:gd name="connsiteY57" fmla="*/ 1183153 h 2323145"/>
              <a:gd name="connsiteX58" fmla="*/ 7829932 w 11269336"/>
              <a:gd name="connsiteY58" fmla="*/ 1180782 h 2323145"/>
              <a:gd name="connsiteX59" fmla="*/ 7779182 w 11269336"/>
              <a:gd name="connsiteY59" fmla="*/ 1192665 h 2323145"/>
              <a:gd name="connsiteX60" fmla="*/ 7748774 w 11269336"/>
              <a:gd name="connsiteY60" fmla="*/ 1199586 h 2323145"/>
              <a:gd name="connsiteX61" fmla="*/ 7671846 w 11269336"/>
              <a:gd name="connsiteY61" fmla="*/ 1231966 h 2323145"/>
              <a:gd name="connsiteX62" fmla="*/ 7554146 w 11269336"/>
              <a:gd name="connsiteY62" fmla="*/ 1319748 h 2323145"/>
              <a:gd name="connsiteX63" fmla="*/ 7515052 w 11269336"/>
              <a:gd name="connsiteY63" fmla="*/ 1336718 h 2323145"/>
              <a:gd name="connsiteX64" fmla="*/ 7507193 w 11269336"/>
              <a:gd name="connsiteY64" fmla="*/ 1334617 h 2323145"/>
              <a:gd name="connsiteX65" fmla="*/ 7461694 w 11269336"/>
              <a:gd name="connsiteY65" fmla="*/ 1375866 h 2323145"/>
              <a:gd name="connsiteX66" fmla="*/ 7377571 w 11269336"/>
              <a:gd name="connsiteY66" fmla="*/ 1400128 h 2323145"/>
              <a:gd name="connsiteX67" fmla="*/ 7311261 w 11269336"/>
              <a:gd name="connsiteY67" fmla="*/ 1412652 h 2323145"/>
              <a:gd name="connsiteX68" fmla="*/ 7275307 w 11269336"/>
              <a:gd name="connsiteY68" fmla="*/ 1422171 h 2323145"/>
              <a:gd name="connsiteX69" fmla="*/ 7247783 w 11269336"/>
              <a:gd name="connsiteY69" fmla="*/ 1426330 h 2323145"/>
              <a:gd name="connsiteX70" fmla="*/ 7185047 w 11269336"/>
              <a:gd name="connsiteY70" fmla="*/ 1451812 h 2323145"/>
              <a:gd name="connsiteX71" fmla="*/ 7084117 w 11269336"/>
              <a:gd name="connsiteY71" fmla="*/ 1500281 h 2323145"/>
              <a:gd name="connsiteX72" fmla="*/ 7062011 w 11269336"/>
              <a:gd name="connsiteY72" fmla="*/ 1509183 h 2323145"/>
              <a:gd name="connsiteX73" fmla="*/ 7040555 w 11269336"/>
              <a:gd name="connsiteY73" fmla="*/ 1511207 h 2323145"/>
              <a:gd name="connsiteX74" fmla="*/ 7033438 w 11269336"/>
              <a:gd name="connsiteY74" fmla="*/ 1506772 h 2323145"/>
              <a:gd name="connsiteX75" fmla="*/ 7020886 w 11269336"/>
              <a:gd name="connsiteY75" fmla="*/ 1510764 h 2323145"/>
              <a:gd name="connsiteX76" fmla="*/ 7017033 w 11269336"/>
              <a:gd name="connsiteY76" fmla="*/ 1510650 h 2323145"/>
              <a:gd name="connsiteX77" fmla="*/ 6995460 w 11269336"/>
              <a:gd name="connsiteY77" fmla="*/ 1511173 h 2323145"/>
              <a:gd name="connsiteX78" fmla="*/ 6962144 w 11269336"/>
              <a:gd name="connsiteY78" fmla="*/ 1541508 h 2323145"/>
              <a:gd name="connsiteX79" fmla="*/ 6910674 w 11269336"/>
              <a:gd name="connsiteY79" fmla="*/ 1554793 h 2323145"/>
              <a:gd name="connsiteX80" fmla="*/ 6732152 w 11269336"/>
              <a:gd name="connsiteY80" fmla="*/ 1642538 h 2323145"/>
              <a:gd name="connsiteX81" fmla="*/ 6694106 w 11269336"/>
              <a:gd name="connsiteY81" fmla="*/ 1632377 h 2323145"/>
              <a:gd name="connsiteX82" fmla="*/ 6617223 w 11269336"/>
              <a:gd name="connsiteY82" fmla="*/ 1659889 h 2323145"/>
              <a:gd name="connsiteX83" fmla="*/ 6521138 w 11269336"/>
              <a:gd name="connsiteY83" fmla="*/ 1744340 h 2323145"/>
              <a:gd name="connsiteX84" fmla="*/ 6380677 w 11269336"/>
              <a:gd name="connsiteY84" fmla="*/ 1796883 h 2323145"/>
              <a:gd name="connsiteX85" fmla="*/ 6374897 w 11269336"/>
              <a:gd name="connsiteY85" fmla="*/ 1809910 h 2323145"/>
              <a:gd name="connsiteX86" fmla="*/ 6364545 w 11269336"/>
              <a:gd name="connsiteY86" fmla="*/ 1820090 h 2323145"/>
              <a:gd name="connsiteX87" fmla="*/ 6362126 w 11269336"/>
              <a:gd name="connsiteY87" fmla="*/ 1819991 h 2323145"/>
              <a:gd name="connsiteX88" fmla="*/ 6346673 w 11269336"/>
              <a:gd name="connsiteY88" fmla="*/ 1827824 h 2323145"/>
              <a:gd name="connsiteX89" fmla="*/ 6345588 w 11269336"/>
              <a:gd name="connsiteY89" fmla="*/ 1832232 h 2323145"/>
              <a:gd name="connsiteX90" fmla="*/ 6335708 w 11269336"/>
              <a:gd name="connsiteY90" fmla="*/ 1838451 h 2323145"/>
              <a:gd name="connsiteX91" fmla="*/ 6318182 w 11269336"/>
              <a:gd name="connsiteY91" fmla="*/ 1852975 h 2323145"/>
              <a:gd name="connsiteX92" fmla="*/ 6313084 w 11269336"/>
              <a:gd name="connsiteY92" fmla="*/ 1853561 h 2323145"/>
              <a:gd name="connsiteX93" fmla="*/ 6283816 w 11269336"/>
              <a:gd name="connsiteY93" fmla="*/ 1872148 h 2323145"/>
              <a:gd name="connsiteX94" fmla="*/ 6282550 w 11269336"/>
              <a:gd name="connsiteY94" fmla="*/ 1871392 h 2323145"/>
              <a:gd name="connsiteX95" fmla="*/ 6270527 w 11269336"/>
              <a:gd name="connsiteY95" fmla="*/ 1872208 h 2323145"/>
              <a:gd name="connsiteX96" fmla="*/ 6249518 w 11269336"/>
              <a:gd name="connsiteY96" fmla="*/ 1876079 h 2323145"/>
              <a:gd name="connsiteX97" fmla="*/ 6190386 w 11269336"/>
              <a:gd name="connsiteY97" fmla="*/ 1872478 h 2323145"/>
              <a:gd name="connsiteX98" fmla="*/ 6159777 w 11269336"/>
              <a:gd name="connsiteY98" fmla="*/ 1891745 h 2323145"/>
              <a:gd name="connsiteX99" fmla="*/ 6153131 w 11269336"/>
              <a:gd name="connsiteY99" fmla="*/ 1895079 h 2323145"/>
              <a:gd name="connsiteX100" fmla="*/ 6152798 w 11269336"/>
              <a:gd name="connsiteY100" fmla="*/ 1894920 h 2323145"/>
              <a:gd name="connsiteX101" fmla="*/ 6145388 w 11269336"/>
              <a:gd name="connsiteY101" fmla="*/ 1897990 h 2323145"/>
              <a:gd name="connsiteX102" fmla="*/ 6141014 w 11269336"/>
              <a:gd name="connsiteY102" fmla="*/ 1901155 h 2323145"/>
              <a:gd name="connsiteX103" fmla="*/ 6128122 w 11269336"/>
              <a:gd name="connsiteY103" fmla="*/ 1907623 h 2323145"/>
              <a:gd name="connsiteX104" fmla="*/ 6122351 w 11269336"/>
              <a:gd name="connsiteY104" fmla="*/ 1908359 h 2323145"/>
              <a:gd name="connsiteX105" fmla="*/ 6064750 w 11269336"/>
              <a:gd name="connsiteY105" fmla="*/ 1896394 h 2323145"/>
              <a:gd name="connsiteX106" fmla="*/ 5964230 w 11269336"/>
              <a:gd name="connsiteY106" fmla="*/ 1910038 h 2323145"/>
              <a:gd name="connsiteX107" fmla="*/ 5865399 w 11269336"/>
              <a:gd name="connsiteY107" fmla="*/ 1926966 h 2323145"/>
              <a:gd name="connsiteX108" fmla="*/ 5829951 w 11269336"/>
              <a:gd name="connsiteY108" fmla="*/ 1934755 h 2323145"/>
              <a:gd name="connsiteX109" fmla="*/ 5765285 w 11269336"/>
              <a:gd name="connsiteY109" fmla="*/ 1941322 h 2323145"/>
              <a:gd name="connsiteX110" fmla="*/ 5734750 w 11269336"/>
              <a:gd name="connsiteY110" fmla="*/ 1939793 h 2323145"/>
              <a:gd name="connsiteX111" fmla="*/ 5733569 w 11269336"/>
              <a:gd name="connsiteY111" fmla="*/ 1940505 h 2323145"/>
              <a:gd name="connsiteX112" fmla="*/ 5730329 w 11269336"/>
              <a:gd name="connsiteY112" fmla="*/ 1937845 h 2323145"/>
              <a:gd name="connsiteX113" fmla="*/ 5724661 w 11269336"/>
              <a:gd name="connsiteY113" fmla="*/ 1937455 h 2323145"/>
              <a:gd name="connsiteX114" fmla="*/ 5710186 w 11269336"/>
              <a:gd name="connsiteY114" fmla="*/ 1941370 h 2323145"/>
              <a:gd name="connsiteX115" fmla="*/ 5704910 w 11269336"/>
              <a:gd name="connsiteY115" fmla="*/ 1943663 h 2323145"/>
              <a:gd name="connsiteX116" fmla="*/ 5696836 w 11269336"/>
              <a:gd name="connsiteY116" fmla="*/ 1945271 h 2323145"/>
              <a:gd name="connsiteX117" fmla="*/ 5696583 w 11269336"/>
              <a:gd name="connsiteY117" fmla="*/ 1945050 h 2323145"/>
              <a:gd name="connsiteX118" fmla="*/ 5689123 w 11269336"/>
              <a:gd name="connsiteY118" fmla="*/ 1947067 h 2323145"/>
              <a:gd name="connsiteX119" fmla="*/ 5653291 w 11269336"/>
              <a:gd name="connsiteY119" fmla="*/ 1960245 h 2323145"/>
              <a:gd name="connsiteX120" fmla="*/ 5599385 w 11269336"/>
              <a:gd name="connsiteY120" fmla="*/ 1945198 h 2323145"/>
              <a:gd name="connsiteX121" fmla="*/ 5578300 w 11269336"/>
              <a:gd name="connsiteY121" fmla="*/ 1944963 h 2323145"/>
              <a:gd name="connsiteX122" fmla="*/ 5566758 w 11269336"/>
              <a:gd name="connsiteY122" fmla="*/ 1943441 h 2323145"/>
              <a:gd name="connsiteX123" fmla="*/ 5565857 w 11269336"/>
              <a:gd name="connsiteY123" fmla="*/ 1942445 h 2323145"/>
              <a:gd name="connsiteX124" fmla="*/ 5531534 w 11269336"/>
              <a:gd name="connsiteY124" fmla="*/ 1955208 h 2323145"/>
              <a:gd name="connsiteX125" fmla="*/ 5526552 w 11269336"/>
              <a:gd name="connsiteY125" fmla="*/ 1954799 h 2323145"/>
              <a:gd name="connsiteX126" fmla="*/ 5504723 w 11269336"/>
              <a:gd name="connsiteY126" fmla="*/ 1965811 h 2323145"/>
              <a:gd name="connsiteX127" fmla="*/ 5493156 w 11269336"/>
              <a:gd name="connsiteY127" fmla="*/ 1970063 h 2323145"/>
              <a:gd name="connsiteX128" fmla="*/ 5490486 w 11269336"/>
              <a:gd name="connsiteY128" fmla="*/ 1974227 h 2323145"/>
              <a:gd name="connsiteX129" fmla="*/ 5473107 w 11269336"/>
              <a:gd name="connsiteY129" fmla="*/ 1979001 h 2323145"/>
              <a:gd name="connsiteX130" fmla="*/ 5470885 w 11269336"/>
              <a:gd name="connsiteY130" fmla="*/ 1978432 h 2323145"/>
              <a:gd name="connsiteX131" fmla="*/ 5457393 w 11269336"/>
              <a:gd name="connsiteY131" fmla="*/ 1986525 h 2323145"/>
              <a:gd name="connsiteX132" fmla="*/ 5447102 w 11269336"/>
              <a:gd name="connsiteY132" fmla="*/ 1998329 h 2323145"/>
              <a:gd name="connsiteX133" fmla="*/ 5159151 w 11269336"/>
              <a:gd name="connsiteY133" fmla="*/ 2029640 h 2323145"/>
              <a:gd name="connsiteX134" fmla="*/ 5041688 w 11269336"/>
              <a:gd name="connsiteY134" fmla="*/ 2022334 h 2323145"/>
              <a:gd name="connsiteX135" fmla="*/ 4860988 w 11269336"/>
              <a:gd name="connsiteY135" fmla="*/ 2135698 h 2323145"/>
              <a:gd name="connsiteX136" fmla="*/ 4807902 w 11269336"/>
              <a:gd name="connsiteY136" fmla="*/ 2138894 h 2323145"/>
              <a:gd name="connsiteX137" fmla="*/ 4765388 w 11269336"/>
              <a:gd name="connsiteY137" fmla="*/ 2162525 h 2323145"/>
              <a:gd name="connsiteX138" fmla="*/ 4745033 w 11269336"/>
              <a:gd name="connsiteY138" fmla="*/ 2158859 h 2323145"/>
              <a:gd name="connsiteX139" fmla="*/ 4741475 w 11269336"/>
              <a:gd name="connsiteY139" fmla="*/ 2157998 h 2323145"/>
              <a:gd name="connsiteX140" fmla="*/ 4728247 w 11269336"/>
              <a:gd name="connsiteY140" fmla="*/ 2159526 h 2323145"/>
              <a:gd name="connsiteX141" fmla="*/ 4723263 w 11269336"/>
              <a:gd name="connsiteY141" fmla="*/ 2153742 h 2323145"/>
              <a:gd name="connsiteX142" fmla="*/ 4702453 w 11269336"/>
              <a:gd name="connsiteY142" fmla="*/ 2151586 h 2323145"/>
              <a:gd name="connsiteX143" fmla="*/ 4678455 w 11269336"/>
              <a:gd name="connsiteY143" fmla="*/ 2156131 h 2323145"/>
              <a:gd name="connsiteX144" fmla="*/ 4593061 w 11269336"/>
              <a:gd name="connsiteY144" fmla="*/ 2171597 h 2323145"/>
              <a:gd name="connsiteX145" fmla="*/ 4579902 w 11269336"/>
              <a:gd name="connsiteY145" fmla="*/ 2177927 h 2323145"/>
              <a:gd name="connsiteX146" fmla="*/ 4533444 w 11269336"/>
              <a:gd name="connsiteY146" fmla="*/ 2181200 h 2323145"/>
              <a:gd name="connsiteX147" fmla="*/ 4492832 w 11269336"/>
              <a:gd name="connsiteY147" fmla="*/ 2188033 h 2323145"/>
              <a:gd name="connsiteX148" fmla="*/ 4467257 w 11269336"/>
              <a:gd name="connsiteY148" fmla="*/ 2196121 h 2323145"/>
              <a:gd name="connsiteX149" fmla="*/ 4459937 w 11269336"/>
              <a:gd name="connsiteY149" fmla="*/ 2195182 h 2323145"/>
              <a:gd name="connsiteX150" fmla="*/ 4433312 w 11269336"/>
              <a:gd name="connsiteY150" fmla="*/ 2199004 h 2323145"/>
              <a:gd name="connsiteX151" fmla="*/ 4420601 w 11269336"/>
              <a:gd name="connsiteY151" fmla="*/ 2205158 h 2323145"/>
              <a:gd name="connsiteX152" fmla="*/ 4405765 w 11269336"/>
              <a:gd name="connsiteY152" fmla="*/ 2199902 h 2323145"/>
              <a:gd name="connsiteX153" fmla="*/ 4401354 w 11269336"/>
              <a:gd name="connsiteY153" fmla="*/ 2194745 h 2323145"/>
              <a:gd name="connsiteX154" fmla="*/ 4383151 w 11269336"/>
              <a:gd name="connsiteY154" fmla="*/ 2201140 h 2323145"/>
              <a:gd name="connsiteX155" fmla="*/ 4366646 w 11269336"/>
              <a:gd name="connsiteY155" fmla="*/ 2198564 h 2323145"/>
              <a:gd name="connsiteX156" fmla="*/ 4354009 w 11269336"/>
              <a:gd name="connsiteY156" fmla="*/ 2204984 h 2323145"/>
              <a:gd name="connsiteX157" fmla="*/ 4348284 w 11269336"/>
              <a:gd name="connsiteY157" fmla="*/ 2205270 h 2323145"/>
              <a:gd name="connsiteX158" fmla="*/ 4333906 w 11269336"/>
              <a:gd name="connsiteY158" fmla="*/ 2205251 h 2323145"/>
              <a:gd name="connsiteX159" fmla="*/ 4308819 w 11269336"/>
              <a:gd name="connsiteY159" fmla="*/ 2203822 h 2323145"/>
              <a:gd name="connsiteX160" fmla="*/ 4301210 w 11269336"/>
              <a:gd name="connsiteY160" fmla="*/ 2204456 h 2323145"/>
              <a:gd name="connsiteX161" fmla="*/ 4283095 w 11269336"/>
              <a:gd name="connsiteY161" fmla="*/ 2198177 h 2323145"/>
              <a:gd name="connsiteX162" fmla="*/ 4250119 w 11269336"/>
              <a:gd name="connsiteY162" fmla="*/ 2196342 h 2323145"/>
              <a:gd name="connsiteX163" fmla="*/ 4189203 w 11269336"/>
              <a:gd name="connsiteY163" fmla="*/ 2178994 h 2323145"/>
              <a:gd name="connsiteX164" fmla="*/ 4154035 w 11269336"/>
              <a:gd name="connsiteY164" fmla="*/ 2171950 h 2323145"/>
              <a:gd name="connsiteX165" fmla="*/ 4129569 w 11269336"/>
              <a:gd name="connsiteY165" fmla="*/ 2163850 h 2323145"/>
              <a:gd name="connsiteX166" fmla="*/ 4061250 w 11269336"/>
              <a:gd name="connsiteY166" fmla="*/ 2159236 h 2323145"/>
              <a:gd name="connsiteX167" fmla="*/ 3945480 w 11269336"/>
              <a:gd name="connsiteY167" fmla="*/ 2158279 h 2323145"/>
              <a:gd name="connsiteX168" fmla="*/ 3921468 w 11269336"/>
              <a:gd name="connsiteY168" fmla="*/ 2156588 h 2323145"/>
              <a:gd name="connsiteX169" fmla="*/ 3903348 w 11269336"/>
              <a:gd name="connsiteY169" fmla="*/ 2149220 h 2323145"/>
              <a:gd name="connsiteX170" fmla="*/ 3901342 w 11269336"/>
              <a:gd name="connsiteY170" fmla="*/ 2142355 h 2323145"/>
              <a:gd name="connsiteX171" fmla="*/ 3888539 w 11269336"/>
              <a:gd name="connsiteY171" fmla="*/ 2140476 h 2323145"/>
              <a:gd name="connsiteX172" fmla="*/ 3885662 w 11269336"/>
              <a:gd name="connsiteY172" fmla="*/ 2138740 h 2323145"/>
              <a:gd name="connsiteX173" fmla="*/ 3868627 w 11269336"/>
              <a:gd name="connsiteY173" fmla="*/ 2130023 h 2323145"/>
              <a:gd name="connsiteX174" fmla="*/ 3819177 w 11269336"/>
              <a:gd name="connsiteY174" fmla="*/ 2142111 h 2323145"/>
              <a:gd name="connsiteX175" fmla="*/ 3769100 w 11269336"/>
              <a:gd name="connsiteY175" fmla="*/ 2131731 h 2323145"/>
              <a:gd name="connsiteX176" fmla="*/ 3562752 w 11269336"/>
              <a:gd name="connsiteY176" fmla="*/ 2131785 h 2323145"/>
              <a:gd name="connsiteX177" fmla="*/ 3541402 w 11269336"/>
              <a:gd name="connsiteY177" fmla="*/ 2106821 h 2323145"/>
              <a:gd name="connsiteX178" fmla="*/ 3365341 w 11269336"/>
              <a:gd name="connsiteY178" fmla="*/ 2077638 h 2323145"/>
              <a:gd name="connsiteX179" fmla="*/ 3170922 w 11269336"/>
              <a:gd name="connsiteY179" fmla="*/ 2115957 h 2323145"/>
              <a:gd name="connsiteX180" fmla="*/ 3156256 w 11269336"/>
              <a:gd name="connsiteY180" fmla="*/ 2124773 h 2323145"/>
              <a:gd name="connsiteX181" fmla="*/ 3140298 w 11269336"/>
              <a:gd name="connsiteY181" fmla="*/ 2129182 h 2323145"/>
              <a:gd name="connsiteX182" fmla="*/ 3138514 w 11269336"/>
              <a:gd name="connsiteY182" fmla="*/ 2128069 h 2323145"/>
              <a:gd name="connsiteX183" fmla="*/ 3120467 w 11269336"/>
              <a:gd name="connsiteY183" fmla="*/ 2128281 h 2323145"/>
              <a:gd name="connsiteX184" fmla="*/ 3116175 w 11269336"/>
              <a:gd name="connsiteY184" fmla="*/ 2131633 h 2323145"/>
              <a:gd name="connsiteX185" fmla="*/ 3103685 w 11269336"/>
              <a:gd name="connsiteY185" fmla="*/ 2132814 h 2323145"/>
              <a:gd name="connsiteX186" fmla="*/ 3078794 w 11269336"/>
              <a:gd name="connsiteY186" fmla="*/ 2137935 h 2323145"/>
              <a:gd name="connsiteX187" fmla="*/ 3074407 w 11269336"/>
              <a:gd name="connsiteY187" fmla="*/ 2136274 h 2323145"/>
              <a:gd name="connsiteX188" fmla="*/ 3037285 w 11269336"/>
              <a:gd name="connsiteY188" fmla="*/ 2139919 h 2323145"/>
              <a:gd name="connsiteX189" fmla="*/ 3036901 w 11269336"/>
              <a:gd name="connsiteY189" fmla="*/ 2138726 h 2323145"/>
              <a:gd name="connsiteX190" fmla="*/ 3026996 w 11269336"/>
              <a:gd name="connsiteY190" fmla="*/ 2134322 h 2323145"/>
              <a:gd name="connsiteX191" fmla="*/ 3007772 w 11269336"/>
              <a:gd name="connsiteY191" fmla="*/ 2128742 h 2323145"/>
              <a:gd name="connsiteX192" fmla="*/ 2965030 w 11269336"/>
              <a:gd name="connsiteY192" fmla="*/ 2100494 h 2323145"/>
              <a:gd name="connsiteX193" fmla="*/ 2926342 w 11269336"/>
              <a:gd name="connsiteY193" fmla="*/ 2104155 h 2323145"/>
              <a:gd name="connsiteX194" fmla="*/ 2918608 w 11269336"/>
              <a:gd name="connsiteY194" fmla="*/ 2104215 h 2323145"/>
              <a:gd name="connsiteX195" fmla="*/ 2918475 w 11269336"/>
              <a:gd name="connsiteY195" fmla="*/ 2103937 h 2323145"/>
              <a:gd name="connsiteX196" fmla="*/ 2910360 w 11269336"/>
              <a:gd name="connsiteY196" fmla="*/ 2103444 h 2323145"/>
              <a:gd name="connsiteX197" fmla="*/ 2904507 w 11269336"/>
              <a:gd name="connsiteY197" fmla="*/ 2104326 h 2323145"/>
              <a:gd name="connsiteX198" fmla="*/ 2889503 w 11269336"/>
              <a:gd name="connsiteY198" fmla="*/ 2104443 h 2323145"/>
              <a:gd name="connsiteX199" fmla="*/ 2884480 w 11269336"/>
              <a:gd name="connsiteY199" fmla="*/ 2102626 h 2323145"/>
              <a:gd name="connsiteX200" fmla="*/ 2882689 w 11269336"/>
              <a:gd name="connsiteY200" fmla="*/ 2099228 h 2323145"/>
              <a:gd name="connsiteX201" fmla="*/ 2881291 w 11269336"/>
              <a:gd name="connsiteY201" fmla="*/ 2099618 h 2323145"/>
              <a:gd name="connsiteX202" fmla="*/ 2853979 w 11269336"/>
              <a:gd name="connsiteY202" fmla="*/ 2090388 h 2323145"/>
              <a:gd name="connsiteX203" fmla="*/ 2791790 w 11269336"/>
              <a:gd name="connsiteY203" fmla="*/ 2080332 h 2323145"/>
              <a:gd name="connsiteX204" fmla="*/ 2755844 w 11269336"/>
              <a:gd name="connsiteY204" fmla="*/ 2078874 h 2323145"/>
              <a:gd name="connsiteX205" fmla="*/ 2657742 w 11269336"/>
              <a:gd name="connsiteY205" fmla="*/ 2070179 h 2323145"/>
              <a:gd name="connsiteX206" fmla="*/ 2559549 w 11269336"/>
              <a:gd name="connsiteY206" fmla="*/ 2057873 h 2323145"/>
              <a:gd name="connsiteX207" fmla="*/ 2512054 w 11269336"/>
              <a:gd name="connsiteY207" fmla="*/ 2031671 h 2323145"/>
              <a:gd name="connsiteX208" fmla="*/ 2506437 w 11269336"/>
              <a:gd name="connsiteY208" fmla="*/ 2030918 h 2323145"/>
              <a:gd name="connsiteX209" fmla="*/ 2491752 w 11269336"/>
              <a:gd name="connsiteY209" fmla="*/ 2033906 h 2323145"/>
              <a:gd name="connsiteX210" fmla="*/ 2486338 w 11269336"/>
              <a:gd name="connsiteY210" fmla="*/ 2035862 h 2323145"/>
              <a:gd name="connsiteX211" fmla="*/ 2478186 w 11269336"/>
              <a:gd name="connsiteY211" fmla="*/ 2036953 h 2323145"/>
              <a:gd name="connsiteX212" fmla="*/ 2477950 w 11269336"/>
              <a:gd name="connsiteY212" fmla="*/ 2036715 h 2323145"/>
              <a:gd name="connsiteX213" fmla="*/ 2470381 w 11269336"/>
              <a:gd name="connsiteY213" fmla="*/ 2038256 h 2323145"/>
              <a:gd name="connsiteX214" fmla="*/ 2433781 w 11269336"/>
              <a:gd name="connsiteY214" fmla="*/ 2049140 h 2323145"/>
              <a:gd name="connsiteX215" fmla="*/ 2381172 w 11269336"/>
              <a:gd name="connsiteY215" fmla="*/ 2030645 h 2323145"/>
              <a:gd name="connsiteX216" fmla="*/ 2360198 w 11269336"/>
              <a:gd name="connsiteY216" fmla="*/ 2029059 h 2323145"/>
              <a:gd name="connsiteX217" fmla="*/ 2348815 w 11269336"/>
              <a:gd name="connsiteY217" fmla="*/ 2026798 h 2323145"/>
              <a:gd name="connsiteX218" fmla="*/ 2347988 w 11269336"/>
              <a:gd name="connsiteY218" fmla="*/ 2025745 h 2323145"/>
              <a:gd name="connsiteX219" fmla="*/ 2312920 w 11269336"/>
              <a:gd name="connsiteY219" fmla="*/ 2036311 h 2323145"/>
              <a:gd name="connsiteX220" fmla="*/ 2307986 w 11269336"/>
              <a:gd name="connsiteY220" fmla="*/ 2035583 h 2323145"/>
              <a:gd name="connsiteX221" fmla="*/ 2285481 w 11269336"/>
              <a:gd name="connsiteY221" fmla="*/ 2045197 h 2323145"/>
              <a:gd name="connsiteX222" fmla="*/ 2273666 w 11269336"/>
              <a:gd name="connsiteY222" fmla="*/ 2048710 h 2323145"/>
              <a:gd name="connsiteX223" fmla="*/ 2270719 w 11269336"/>
              <a:gd name="connsiteY223" fmla="*/ 2052702 h 2323145"/>
              <a:gd name="connsiteX224" fmla="*/ 2253080 w 11269336"/>
              <a:gd name="connsiteY224" fmla="*/ 2056363 h 2323145"/>
              <a:gd name="connsiteX225" fmla="*/ 2250906 w 11269336"/>
              <a:gd name="connsiteY225" fmla="*/ 2055654 h 2323145"/>
              <a:gd name="connsiteX226" fmla="*/ 2236905 w 11269336"/>
              <a:gd name="connsiteY226" fmla="*/ 2062882 h 2323145"/>
              <a:gd name="connsiteX227" fmla="*/ 2225830 w 11269336"/>
              <a:gd name="connsiteY227" fmla="*/ 2074027 h 2323145"/>
              <a:gd name="connsiteX228" fmla="*/ 2073776 w 11269336"/>
              <a:gd name="connsiteY228" fmla="*/ 2089244 h 2323145"/>
              <a:gd name="connsiteX229" fmla="*/ 1948256 w 11269336"/>
              <a:gd name="connsiteY229" fmla="*/ 2146616 h 2323145"/>
              <a:gd name="connsiteX230" fmla="*/ 1865582 w 11269336"/>
              <a:gd name="connsiteY230" fmla="*/ 2153738 h 2323145"/>
              <a:gd name="connsiteX231" fmla="*/ 1835210 w 11269336"/>
              <a:gd name="connsiteY231" fmla="*/ 2134244 h 2323145"/>
              <a:gd name="connsiteX232" fmla="*/ 1632661 w 11269336"/>
              <a:gd name="connsiteY232" fmla="*/ 2173882 h 2323145"/>
              <a:gd name="connsiteX233" fmla="*/ 1579590 w 11269336"/>
              <a:gd name="connsiteY233" fmla="*/ 2173680 h 2323145"/>
              <a:gd name="connsiteX234" fmla="*/ 1535601 w 11269336"/>
              <a:gd name="connsiteY234" fmla="*/ 2194590 h 2323145"/>
              <a:gd name="connsiteX235" fmla="*/ 1515594 w 11269336"/>
              <a:gd name="connsiteY235" fmla="*/ 2189622 h 2323145"/>
              <a:gd name="connsiteX236" fmla="*/ 1512113 w 11269336"/>
              <a:gd name="connsiteY236" fmla="*/ 2188534 h 2323145"/>
              <a:gd name="connsiteX237" fmla="*/ 1498838 w 11269336"/>
              <a:gd name="connsiteY237" fmla="*/ 2189213 h 2323145"/>
              <a:gd name="connsiteX238" fmla="*/ 1494279 w 11269336"/>
              <a:gd name="connsiteY238" fmla="*/ 2183112 h 2323145"/>
              <a:gd name="connsiteX239" fmla="*/ 1473714 w 11269336"/>
              <a:gd name="connsiteY239" fmla="*/ 2179625 h 2323145"/>
              <a:gd name="connsiteX240" fmla="*/ 1449503 w 11269336"/>
              <a:gd name="connsiteY240" fmla="*/ 2182633 h 2323145"/>
              <a:gd name="connsiteX241" fmla="*/ 1266687 w 11269336"/>
              <a:gd name="connsiteY241" fmla="*/ 2212688 h 2323145"/>
              <a:gd name="connsiteX242" fmla="*/ 1239614 w 11269336"/>
              <a:gd name="connsiteY242" fmla="*/ 2209727 h 2323145"/>
              <a:gd name="connsiteX243" fmla="*/ 1202436 w 11269336"/>
              <a:gd name="connsiteY243" fmla="*/ 2209817 h 2323145"/>
              <a:gd name="connsiteX244" fmla="*/ 1136097 w 11269336"/>
              <a:gd name="connsiteY244" fmla="*/ 2205112 h 2323145"/>
              <a:gd name="connsiteX245" fmla="*/ 988232 w 11269336"/>
              <a:gd name="connsiteY245" fmla="*/ 2235635 h 2323145"/>
              <a:gd name="connsiteX246" fmla="*/ 981959 w 11269336"/>
              <a:gd name="connsiteY246" fmla="*/ 2231607 h 2323145"/>
              <a:gd name="connsiteX247" fmla="*/ 938600 w 11269336"/>
              <a:gd name="connsiteY247" fmla="*/ 2238113 h 2323145"/>
              <a:gd name="connsiteX248" fmla="*/ 791788 w 11269336"/>
              <a:gd name="connsiteY248" fmla="*/ 2293224 h 2323145"/>
              <a:gd name="connsiteX249" fmla="*/ 706914 w 11269336"/>
              <a:gd name="connsiteY249" fmla="*/ 2305046 h 2323145"/>
              <a:gd name="connsiteX250" fmla="*/ 675971 w 11269336"/>
              <a:gd name="connsiteY250" fmla="*/ 2304030 h 2323145"/>
              <a:gd name="connsiteX251" fmla="*/ 624180 w 11269336"/>
              <a:gd name="connsiteY251" fmla="*/ 2302650 h 2323145"/>
              <a:gd name="connsiteX252" fmla="*/ 583453 w 11269336"/>
              <a:gd name="connsiteY252" fmla="*/ 2288788 h 2323145"/>
              <a:gd name="connsiteX253" fmla="*/ 540946 w 11269336"/>
              <a:gd name="connsiteY253" fmla="*/ 2292721 h 2323145"/>
              <a:gd name="connsiteX254" fmla="*/ 533680 w 11269336"/>
              <a:gd name="connsiteY254" fmla="*/ 2310233 h 2323145"/>
              <a:gd name="connsiteX255" fmla="*/ 487366 w 11269336"/>
              <a:gd name="connsiteY255" fmla="*/ 2309053 h 2323145"/>
              <a:gd name="connsiteX256" fmla="*/ 416820 w 11269336"/>
              <a:gd name="connsiteY256" fmla="*/ 2305443 h 2323145"/>
              <a:gd name="connsiteX257" fmla="*/ 376805 w 11269336"/>
              <a:gd name="connsiteY257" fmla="*/ 2307647 h 2323145"/>
              <a:gd name="connsiteX258" fmla="*/ 266777 w 11269336"/>
              <a:gd name="connsiteY258" fmla="*/ 2309012 h 2323145"/>
              <a:gd name="connsiteX259" fmla="*/ 156013 w 11269336"/>
              <a:gd name="connsiteY259" fmla="*/ 2306832 h 2323145"/>
              <a:gd name="connsiteX260" fmla="*/ 87258 w 11269336"/>
              <a:gd name="connsiteY260" fmla="*/ 2285511 h 2323145"/>
              <a:gd name="connsiteX261" fmla="*/ 23798 w 11269336"/>
              <a:gd name="connsiteY261" fmla="*/ 2281822 h 2323145"/>
              <a:gd name="connsiteX262" fmla="*/ 0 w 11269336"/>
              <a:gd name="connsiteY262" fmla="*/ 2285369 h 2323145"/>
              <a:gd name="connsiteX263" fmla="*/ 0 w 11269336"/>
              <a:gd name="connsiteY26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41688 w 11269336"/>
              <a:gd name="connsiteY133" fmla="*/ 2022334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41688 w 11269336"/>
              <a:gd name="connsiteY133" fmla="*/ 2022334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33444 w 11269336"/>
              <a:gd name="connsiteY144" fmla="*/ 2181200 h 2323145"/>
              <a:gd name="connsiteX145" fmla="*/ 4492832 w 11269336"/>
              <a:gd name="connsiteY145" fmla="*/ 2188033 h 2323145"/>
              <a:gd name="connsiteX146" fmla="*/ 4467257 w 11269336"/>
              <a:gd name="connsiteY146" fmla="*/ 2196121 h 2323145"/>
              <a:gd name="connsiteX147" fmla="*/ 4459937 w 11269336"/>
              <a:gd name="connsiteY147" fmla="*/ 2195182 h 2323145"/>
              <a:gd name="connsiteX148" fmla="*/ 4433312 w 11269336"/>
              <a:gd name="connsiteY148" fmla="*/ 2199004 h 2323145"/>
              <a:gd name="connsiteX149" fmla="*/ 4420601 w 11269336"/>
              <a:gd name="connsiteY149" fmla="*/ 2205158 h 2323145"/>
              <a:gd name="connsiteX150" fmla="*/ 4405765 w 11269336"/>
              <a:gd name="connsiteY150" fmla="*/ 2199902 h 2323145"/>
              <a:gd name="connsiteX151" fmla="*/ 4401354 w 11269336"/>
              <a:gd name="connsiteY151" fmla="*/ 2194745 h 2323145"/>
              <a:gd name="connsiteX152" fmla="*/ 4383151 w 11269336"/>
              <a:gd name="connsiteY152" fmla="*/ 2201140 h 2323145"/>
              <a:gd name="connsiteX153" fmla="*/ 4366646 w 11269336"/>
              <a:gd name="connsiteY153" fmla="*/ 2198564 h 2323145"/>
              <a:gd name="connsiteX154" fmla="*/ 4354009 w 11269336"/>
              <a:gd name="connsiteY154" fmla="*/ 2204984 h 2323145"/>
              <a:gd name="connsiteX155" fmla="*/ 4348284 w 11269336"/>
              <a:gd name="connsiteY155" fmla="*/ 2205270 h 2323145"/>
              <a:gd name="connsiteX156" fmla="*/ 4333906 w 11269336"/>
              <a:gd name="connsiteY156" fmla="*/ 2205251 h 2323145"/>
              <a:gd name="connsiteX157" fmla="*/ 4308819 w 11269336"/>
              <a:gd name="connsiteY157" fmla="*/ 2203822 h 2323145"/>
              <a:gd name="connsiteX158" fmla="*/ 4301210 w 11269336"/>
              <a:gd name="connsiteY158" fmla="*/ 2204456 h 2323145"/>
              <a:gd name="connsiteX159" fmla="*/ 4283095 w 11269336"/>
              <a:gd name="connsiteY159" fmla="*/ 2198177 h 2323145"/>
              <a:gd name="connsiteX160" fmla="*/ 4250119 w 11269336"/>
              <a:gd name="connsiteY160" fmla="*/ 2196342 h 2323145"/>
              <a:gd name="connsiteX161" fmla="*/ 4189203 w 11269336"/>
              <a:gd name="connsiteY161" fmla="*/ 2178994 h 2323145"/>
              <a:gd name="connsiteX162" fmla="*/ 4154035 w 11269336"/>
              <a:gd name="connsiteY162" fmla="*/ 2171950 h 2323145"/>
              <a:gd name="connsiteX163" fmla="*/ 4129569 w 11269336"/>
              <a:gd name="connsiteY163" fmla="*/ 2163850 h 2323145"/>
              <a:gd name="connsiteX164" fmla="*/ 4061250 w 11269336"/>
              <a:gd name="connsiteY164" fmla="*/ 2159236 h 2323145"/>
              <a:gd name="connsiteX165" fmla="*/ 3945480 w 11269336"/>
              <a:gd name="connsiteY165" fmla="*/ 2158279 h 2323145"/>
              <a:gd name="connsiteX166" fmla="*/ 3921468 w 11269336"/>
              <a:gd name="connsiteY166" fmla="*/ 2156588 h 2323145"/>
              <a:gd name="connsiteX167" fmla="*/ 3903348 w 11269336"/>
              <a:gd name="connsiteY167" fmla="*/ 2149220 h 2323145"/>
              <a:gd name="connsiteX168" fmla="*/ 3901342 w 11269336"/>
              <a:gd name="connsiteY168" fmla="*/ 2142355 h 2323145"/>
              <a:gd name="connsiteX169" fmla="*/ 3888539 w 11269336"/>
              <a:gd name="connsiteY169" fmla="*/ 2140476 h 2323145"/>
              <a:gd name="connsiteX170" fmla="*/ 3885662 w 11269336"/>
              <a:gd name="connsiteY170" fmla="*/ 2138740 h 2323145"/>
              <a:gd name="connsiteX171" fmla="*/ 3868627 w 11269336"/>
              <a:gd name="connsiteY171" fmla="*/ 2130023 h 2323145"/>
              <a:gd name="connsiteX172" fmla="*/ 3819177 w 11269336"/>
              <a:gd name="connsiteY172" fmla="*/ 2142111 h 2323145"/>
              <a:gd name="connsiteX173" fmla="*/ 3769100 w 11269336"/>
              <a:gd name="connsiteY173" fmla="*/ 2131731 h 2323145"/>
              <a:gd name="connsiteX174" fmla="*/ 3562752 w 11269336"/>
              <a:gd name="connsiteY174" fmla="*/ 2131785 h 2323145"/>
              <a:gd name="connsiteX175" fmla="*/ 3541402 w 11269336"/>
              <a:gd name="connsiteY175" fmla="*/ 2106821 h 2323145"/>
              <a:gd name="connsiteX176" fmla="*/ 3365341 w 11269336"/>
              <a:gd name="connsiteY176" fmla="*/ 2077638 h 2323145"/>
              <a:gd name="connsiteX177" fmla="*/ 3170922 w 11269336"/>
              <a:gd name="connsiteY177" fmla="*/ 2115957 h 2323145"/>
              <a:gd name="connsiteX178" fmla="*/ 3156256 w 11269336"/>
              <a:gd name="connsiteY178" fmla="*/ 2124773 h 2323145"/>
              <a:gd name="connsiteX179" fmla="*/ 3140298 w 11269336"/>
              <a:gd name="connsiteY179" fmla="*/ 2129182 h 2323145"/>
              <a:gd name="connsiteX180" fmla="*/ 3138514 w 11269336"/>
              <a:gd name="connsiteY180" fmla="*/ 2128069 h 2323145"/>
              <a:gd name="connsiteX181" fmla="*/ 3120467 w 11269336"/>
              <a:gd name="connsiteY181" fmla="*/ 2128281 h 2323145"/>
              <a:gd name="connsiteX182" fmla="*/ 3116175 w 11269336"/>
              <a:gd name="connsiteY182" fmla="*/ 2131633 h 2323145"/>
              <a:gd name="connsiteX183" fmla="*/ 3103685 w 11269336"/>
              <a:gd name="connsiteY183" fmla="*/ 2132814 h 2323145"/>
              <a:gd name="connsiteX184" fmla="*/ 3078794 w 11269336"/>
              <a:gd name="connsiteY184" fmla="*/ 2137935 h 2323145"/>
              <a:gd name="connsiteX185" fmla="*/ 3074407 w 11269336"/>
              <a:gd name="connsiteY185" fmla="*/ 2136274 h 2323145"/>
              <a:gd name="connsiteX186" fmla="*/ 3037285 w 11269336"/>
              <a:gd name="connsiteY186" fmla="*/ 2139919 h 2323145"/>
              <a:gd name="connsiteX187" fmla="*/ 3036901 w 11269336"/>
              <a:gd name="connsiteY187" fmla="*/ 2138726 h 2323145"/>
              <a:gd name="connsiteX188" fmla="*/ 3026996 w 11269336"/>
              <a:gd name="connsiteY188" fmla="*/ 2134322 h 2323145"/>
              <a:gd name="connsiteX189" fmla="*/ 3007772 w 11269336"/>
              <a:gd name="connsiteY189" fmla="*/ 2128742 h 2323145"/>
              <a:gd name="connsiteX190" fmla="*/ 2965030 w 11269336"/>
              <a:gd name="connsiteY190" fmla="*/ 2100494 h 2323145"/>
              <a:gd name="connsiteX191" fmla="*/ 2926342 w 11269336"/>
              <a:gd name="connsiteY191" fmla="*/ 2104155 h 2323145"/>
              <a:gd name="connsiteX192" fmla="*/ 2918608 w 11269336"/>
              <a:gd name="connsiteY192" fmla="*/ 2104215 h 2323145"/>
              <a:gd name="connsiteX193" fmla="*/ 2918475 w 11269336"/>
              <a:gd name="connsiteY193" fmla="*/ 2103937 h 2323145"/>
              <a:gd name="connsiteX194" fmla="*/ 2910360 w 11269336"/>
              <a:gd name="connsiteY194" fmla="*/ 2103444 h 2323145"/>
              <a:gd name="connsiteX195" fmla="*/ 2904507 w 11269336"/>
              <a:gd name="connsiteY195" fmla="*/ 2104326 h 2323145"/>
              <a:gd name="connsiteX196" fmla="*/ 2889503 w 11269336"/>
              <a:gd name="connsiteY196" fmla="*/ 2104443 h 2323145"/>
              <a:gd name="connsiteX197" fmla="*/ 2884480 w 11269336"/>
              <a:gd name="connsiteY197" fmla="*/ 2102626 h 2323145"/>
              <a:gd name="connsiteX198" fmla="*/ 2882689 w 11269336"/>
              <a:gd name="connsiteY198" fmla="*/ 2099228 h 2323145"/>
              <a:gd name="connsiteX199" fmla="*/ 2881291 w 11269336"/>
              <a:gd name="connsiteY199" fmla="*/ 2099618 h 2323145"/>
              <a:gd name="connsiteX200" fmla="*/ 2853979 w 11269336"/>
              <a:gd name="connsiteY200" fmla="*/ 2090388 h 2323145"/>
              <a:gd name="connsiteX201" fmla="*/ 2791790 w 11269336"/>
              <a:gd name="connsiteY201" fmla="*/ 2080332 h 2323145"/>
              <a:gd name="connsiteX202" fmla="*/ 2755844 w 11269336"/>
              <a:gd name="connsiteY202" fmla="*/ 2078874 h 2323145"/>
              <a:gd name="connsiteX203" fmla="*/ 2657742 w 11269336"/>
              <a:gd name="connsiteY203" fmla="*/ 2070179 h 2323145"/>
              <a:gd name="connsiteX204" fmla="*/ 2559549 w 11269336"/>
              <a:gd name="connsiteY204" fmla="*/ 2057873 h 2323145"/>
              <a:gd name="connsiteX205" fmla="*/ 2512054 w 11269336"/>
              <a:gd name="connsiteY205" fmla="*/ 2031671 h 2323145"/>
              <a:gd name="connsiteX206" fmla="*/ 2506437 w 11269336"/>
              <a:gd name="connsiteY206" fmla="*/ 2030918 h 2323145"/>
              <a:gd name="connsiteX207" fmla="*/ 2491752 w 11269336"/>
              <a:gd name="connsiteY207" fmla="*/ 2033906 h 2323145"/>
              <a:gd name="connsiteX208" fmla="*/ 2486338 w 11269336"/>
              <a:gd name="connsiteY208" fmla="*/ 2035862 h 2323145"/>
              <a:gd name="connsiteX209" fmla="*/ 2478186 w 11269336"/>
              <a:gd name="connsiteY209" fmla="*/ 2036953 h 2323145"/>
              <a:gd name="connsiteX210" fmla="*/ 2477950 w 11269336"/>
              <a:gd name="connsiteY210" fmla="*/ 2036715 h 2323145"/>
              <a:gd name="connsiteX211" fmla="*/ 2470381 w 11269336"/>
              <a:gd name="connsiteY211" fmla="*/ 2038256 h 2323145"/>
              <a:gd name="connsiteX212" fmla="*/ 2433781 w 11269336"/>
              <a:gd name="connsiteY212" fmla="*/ 2049140 h 2323145"/>
              <a:gd name="connsiteX213" fmla="*/ 2381172 w 11269336"/>
              <a:gd name="connsiteY213" fmla="*/ 2030645 h 2323145"/>
              <a:gd name="connsiteX214" fmla="*/ 2360198 w 11269336"/>
              <a:gd name="connsiteY214" fmla="*/ 2029059 h 2323145"/>
              <a:gd name="connsiteX215" fmla="*/ 2348815 w 11269336"/>
              <a:gd name="connsiteY215" fmla="*/ 2026798 h 2323145"/>
              <a:gd name="connsiteX216" fmla="*/ 2347988 w 11269336"/>
              <a:gd name="connsiteY216" fmla="*/ 2025745 h 2323145"/>
              <a:gd name="connsiteX217" fmla="*/ 2312920 w 11269336"/>
              <a:gd name="connsiteY217" fmla="*/ 2036311 h 2323145"/>
              <a:gd name="connsiteX218" fmla="*/ 2307986 w 11269336"/>
              <a:gd name="connsiteY218" fmla="*/ 2035583 h 2323145"/>
              <a:gd name="connsiteX219" fmla="*/ 2285481 w 11269336"/>
              <a:gd name="connsiteY219" fmla="*/ 2045197 h 2323145"/>
              <a:gd name="connsiteX220" fmla="*/ 2273666 w 11269336"/>
              <a:gd name="connsiteY220" fmla="*/ 2048710 h 2323145"/>
              <a:gd name="connsiteX221" fmla="*/ 2270719 w 11269336"/>
              <a:gd name="connsiteY221" fmla="*/ 2052702 h 2323145"/>
              <a:gd name="connsiteX222" fmla="*/ 2253080 w 11269336"/>
              <a:gd name="connsiteY222" fmla="*/ 2056363 h 2323145"/>
              <a:gd name="connsiteX223" fmla="*/ 2250906 w 11269336"/>
              <a:gd name="connsiteY223" fmla="*/ 2055654 h 2323145"/>
              <a:gd name="connsiteX224" fmla="*/ 2236905 w 11269336"/>
              <a:gd name="connsiteY224" fmla="*/ 2062882 h 2323145"/>
              <a:gd name="connsiteX225" fmla="*/ 2225830 w 11269336"/>
              <a:gd name="connsiteY225" fmla="*/ 2074027 h 2323145"/>
              <a:gd name="connsiteX226" fmla="*/ 2073776 w 11269336"/>
              <a:gd name="connsiteY226" fmla="*/ 2089244 h 2323145"/>
              <a:gd name="connsiteX227" fmla="*/ 1948256 w 11269336"/>
              <a:gd name="connsiteY227" fmla="*/ 2146616 h 2323145"/>
              <a:gd name="connsiteX228" fmla="*/ 1865582 w 11269336"/>
              <a:gd name="connsiteY228" fmla="*/ 2153738 h 2323145"/>
              <a:gd name="connsiteX229" fmla="*/ 1835210 w 11269336"/>
              <a:gd name="connsiteY229" fmla="*/ 2134244 h 2323145"/>
              <a:gd name="connsiteX230" fmla="*/ 1632661 w 11269336"/>
              <a:gd name="connsiteY230" fmla="*/ 2173882 h 2323145"/>
              <a:gd name="connsiteX231" fmla="*/ 1579590 w 11269336"/>
              <a:gd name="connsiteY231" fmla="*/ 2173680 h 2323145"/>
              <a:gd name="connsiteX232" fmla="*/ 1535601 w 11269336"/>
              <a:gd name="connsiteY232" fmla="*/ 2194590 h 2323145"/>
              <a:gd name="connsiteX233" fmla="*/ 1515594 w 11269336"/>
              <a:gd name="connsiteY233" fmla="*/ 2189622 h 2323145"/>
              <a:gd name="connsiteX234" fmla="*/ 1512113 w 11269336"/>
              <a:gd name="connsiteY234" fmla="*/ 2188534 h 2323145"/>
              <a:gd name="connsiteX235" fmla="*/ 1498838 w 11269336"/>
              <a:gd name="connsiteY235" fmla="*/ 2189213 h 2323145"/>
              <a:gd name="connsiteX236" fmla="*/ 1494279 w 11269336"/>
              <a:gd name="connsiteY236" fmla="*/ 2183112 h 2323145"/>
              <a:gd name="connsiteX237" fmla="*/ 1473714 w 11269336"/>
              <a:gd name="connsiteY237" fmla="*/ 2179625 h 2323145"/>
              <a:gd name="connsiteX238" fmla="*/ 1449503 w 11269336"/>
              <a:gd name="connsiteY238" fmla="*/ 2182633 h 2323145"/>
              <a:gd name="connsiteX239" fmla="*/ 1266687 w 11269336"/>
              <a:gd name="connsiteY239" fmla="*/ 2212688 h 2323145"/>
              <a:gd name="connsiteX240" fmla="*/ 1239614 w 11269336"/>
              <a:gd name="connsiteY240" fmla="*/ 2209727 h 2323145"/>
              <a:gd name="connsiteX241" fmla="*/ 1202436 w 11269336"/>
              <a:gd name="connsiteY241" fmla="*/ 2209817 h 2323145"/>
              <a:gd name="connsiteX242" fmla="*/ 1136097 w 11269336"/>
              <a:gd name="connsiteY242" fmla="*/ 2205112 h 2323145"/>
              <a:gd name="connsiteX243" fmla="*/ 988232 w 11269336"/>
              <a:gd name="connsiteY243" fmla="*/ 2235635 h 2323145"/>
              <a:gd name="connsiteX244" fmla="*/ 981959 w 11269336"/>
              <a:gd name="connsiteY244" fmla="*/ 2231607 h 2323145"/>
              <a:gd name="connsiteX245" fmla="*/ 938600 w 11269336"/>
              <a:gd name="connsiteY245" fmla="*/ 2238113 h 2323145"/>
              <a:gd name="connsiteX246" fmla="*/ 791788 w 11269336"/>
              <a:gd name="connsiteY246" fmla="*/ 2293224 h 2323145"/>
              <a:gd name="connsiteX247" fmla="*/ 706914 w 11269336"/>
              <a:gd name="connsiteY247" fmla="*/ 2305046 h 2323145"/>
              <a:gd name="connsiteX248" fmla="*/ 675971 w 11269336"/>
              <a:gd name="connsiteY248" fmla="*/ 2304030 h 2323145"/>
              <a:gd name="connsiteX249" fmla="*/ 624180 w 11269336"/>
              <a:gd name="connsiteY249" fmla="*/ 2302650 h 2323145"/>
              <a:gd name="connsiteX250" fmla="*/ 583453 w 11269336"/>
              <a:gd name="connsiteY250" fmla="*/ 2288788 h 2323145"/>
              <a:gd name="connsiteX251" fmla="*/ 540946 w 11269336"/>
              <a:gd name="connsiteY251" fmla="*/ 2292721 h 2323145"/>
              <a:gd name="connsiteX252" fmla="*/ 533680 w 11269336"/>
              <a:gd name="connsiteY252" fmla="*/ 2310233 h 2323145"/>
              <a:gd name="connsiteX253" fmla="*/ 487366 w 11269336"/>
              <a:gd name="connsiteY253" fmla="*/ 2309053 h 2323145"/>
              <a:gd name="connsiteX254" fmla="*/ 416820 w 11269336"/>
              <a:gd name="connsiteY254" fmla="*/ 2305443 h 2323145"/>
              <a:gd name="connsiteX255" fmla="*/ 376805 w 11269336"/>
              <a:gd name="connsiteY255" fmla="*/ 2307647 h 2323145"/>
              <a:gd name="connsiteX256" fmla="*/ 266777 w 11269336"/>
              <a:gd name="connsiteY256" fmla="*/ 2309012 h 2323145"/>
              <a:gd name="connsiteX257" fmla="*/ 156013 w 11269336"/>
              <a:gd name="connsiteY257" fmla="*/ 2306832 h 2323145"/>
              <a:gd name="connsiteX258" fmla="*/ 87258 w 11269336"/>
              <a:gd name="connsiteY258" fmla="*/ 2285511 h 2323145"/>
              <a:gd name="connsiteX259" fmla="*/ 23798 w 11269336"/>
              <a:gd name="connsiteY259" fmla="*/ 2281822 h 2323145"/>
              <a:gd name="connsiteX260" fmla="*/ 0 w 11269336"/>
              <a:gd name="connsiteY260" fmla="*/ 2285369 h 2323145"/>
              <a:gd name="connsiteX261" fmla="*/ 0 w 11269336"/>
              <a:gd name="connsiteY26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593061 w 11269336"/>
              <a:gd name="connsiteY142" fmla="*/ 2171597 h 2323145"/>
              <a:gd name="connsiteX143" fmla="*/ 4533444 w 11269336"/>
              <a:gd name="connsiteY143" fmla="*/ 2181200 h 2323145"/>
              <a:gd name="connsiteX144" fmla="*/ 4492832 w 11269336"/>
              <a:gd name="connsiteY144" fmla="*/ 2188033 h 2323145"/>
              <a:gd name="connsiteX145" fmla="*/ 4467257 w 11269336"/>
              <a:gd name="connsiteY145" fmla="*/ 2196121 h 2323145"/>
              <a:gd name="connsiteX146" fmla="*/ 4459937 w 11269336"/>
              <a:gd name="connsiteY146" fmla="*/ 2195182 h 2323145"/>
              <a:gd name="connsiteX147" fmla="*/ 4433312 w 11269336"/>
              <a:gd name="connsiteY147" fmla="*/ 2199004 h 2323145"/>
              <a:gd name="connsiteX148" fmla="*/ 4420601 w 11269336"/>
              <a:gd name="connsiteY148" fmla="*/ 2205158 h 2323145"/>
              <a:gd name="connsiteX149" fmla="*/ 4405765 w 11269336"/>
              <a:gd name="connsiteY149" fmla="*/ 2199902 h 2323145"/>
              <a:gd name="connsiteX150" fmla="*/ 4401354 w 11269336"/>
              <a:gd name="connsiteY150" fmla="*/ 2194745 h 2323145"/>
              <a:gd name="connsiteX151" fmla="*/ 4383151 w 11269336"/>
              <a:gd name="connsiteY151" fmla="*/ 2201140 h 2323145"/>
              <a:gd name="connsiteX152" fmla="*/ 4366646 w 11269336"/>
              <a:gd name="connsiteY152" fmla="*/ 2198564 h 2323145"/>
              <a:gd name="connsiteX153" fmla="*/ 4354009 w 11269336"/>
              <a:gd name="connsiteY153" fmla="*/ 2204984 h 2323145"/>
              <a:gd name="connsiteX154" fmla="*/ 4348284 w 11269336"/>
              <a:gd name="connsiteY154" fmla="*/ 2205270 h 2323145"/>
              <a:gd name="connsiteX155" fmla="*/ 4333906 w 11269336"/>
              <a:gd name="connsiteY155" fmla="*/ 2205251 h 2323145"/>
              <a:gd name="connsiteX156" fmla="*/ 4308819 w 11269336"/>
              <a:gd name="connsiteY156" fmla="*/ 2203822 h 2323145"/>
              <a:gd name="connsiteX157" fmla="*/ 4301210 w 11269336"/>
              <a:gd name="connsiteY157" fmla="*/ 2204456 h 2323145"/>
              <a:gd name="connsiteX158" fmla="*/ 4283095 w 11269336"/>
              <a:gd name="connsiteY158" fmla="*/ 2198177 h 2323145"/>
              <a:gd name="connsiteX159" fmla="*/ 4250119 w 11269336"/>
              <a:gd name="connsiteY159" fmla="*/ 2196342 h 2323145"/>
              <a:gd name="connsiteX160" fmla="*/ 4189203 w 11269336"/>
              <a:gd name="connsiteY160" fmla="*/ 2178994 h 2323145"/>
              <a:gd name="connsiteX161" fmla="*/ 4154035 w 11269336"/>
              <a:gd name="connsiteY161" fmla="*/ 2171950 h 2323145"/>
              <a:gd name="connsiteX162" fmla="*/ 4129569 w 11269336"/>
              <a:gd name="connsiteY162" fmla="*/ 2163850 h 2323145"/>
              <a:gd name="connsiteX163" fmla="*/ 4061250 w 11269336"/>
              <a:gd name="connsiteY163" fmla="*/ 2159236 h 2323145"/>
              <a:gd name="connsiteX164" fmla="*/ 3945480 w 11269336"/>
              <a:gd name="connsiteY164" fmla="*/ 2158279 h 2323145"/>
              <a:gd name="connsiteX165" fmla="*/ 3921468 w 11269336"/>
              <a:gd name="connsiteY165" fmla="*/ 2156588 h 2323145"/>
              <a:gd name="connsiteX166" fmla="*/ 3903348 w 11269336"/>
              <a:gd name="connsiteY166" fmla="*/ 2149220 h 2323145"/>
              <a:gd name="connsiteX167" fmla="*/ 3901342 w 11269336"/>
              <a:gd name="connsiteY167" fmla="*/ 2142355 h 2323145"/>
              <a:gd name="connsiteX168" fmla="*/ 3888539 w 11269336"/>
              <a:gd name="connsiteY168" fmla="*/ 2140476 h 2323145"/>
              <a:gd name="connsiteX169" fmla="*/ 3885662 w 11269336"/>
              <a:gd name="connsiteY169" fmla="*/ 2138740 h 2323145"/>
              <a:gd name="connsiteX170" fmla="*/ 3868627 w 11269336"/>
              <a:gd name="connsiteY170" fmla="*/ 2130023 h 2323145"/>
              <a:gd name="connsiteX171" fmla="*/ 3819177 w 11269336"/>
              <a:gd name="connsiteY171" fmla="*/ 2142111 h 2323145"/>
              <a:gd name="connsiteX172" fmla="*/ 3769100 w 11269336"/>
              <a:gd name="connsiteY172" fmla="*/ 2131731 h 2323145"/>
              <a:gd name="connsiteX173" fmla="*/ 3562752 w 11269336"/>
              <a:gd name="connsiteY173" fmla="*/ 2131785 h 2323145"/>
              <a:gd name="connsiteX174" fmla="*/ 3541402 w 11269336"/>
              <a:gd name="connsiteY174" fmla="*/ 2106821 h 2323145"/>
              <a:gd name="connsiteX175" fmla="*/ 3365341 w 11269336"/>
              <a:gd name="connsiteY175" fmla="*/ 2077638 h 2323145"/>
              <a:gd name="connsiteX176" fmla="*/ 3170922 w 11269336"/>
              <a:gd name="connsiteY176" fmla="*/ 2115957 h 2323145"/>
              <a:gd name="connsiteX177" fmla="*/ 3156256 w 11269336"/>
              <a:gd name="connsiteY177" fmla="*/ 2124773 h 2323145"/>
              <a:gd name="connsiteX178" fmla="*/ 3140298 w 11269336"/>
              <a:gd name="connsiteY178" fmla="*/ 2129182 h 2323145"/>
              <a:gd name="connsiteX179" fmla="*/ 3138514 w 11269336"/>
              <a:gd name="connsiteY179" fmla="*/ 2128069 h 2323145"/>
              <a:gd name="connsiteX180" fmla="*/ 3120467 w 11269336"/>
              <a:gd name="connsiteY180" fmla="*/ 2128281 h 2323145"/>
              <a:gd name="connsiteX181" fmla="*/ 3116175 w 11269336"/>
              <a:gd name="connsiteY181" fmla="*/ 2131633 h 2323145"/>
              <a:gd name="connsiteX182" fmla="*/ 3103685 w 11269336"/>
              <a:gd name="connsiteY182" fmla="*/ 2132814 h 2323145"/>
              <a:gd name="connsiteX183" fmla="*/ 3078794 w 11269336"/>
              <a:gd name="connsiteY183" fmla="*/ 2137935 h 2323145"/>
              <a:gd name="connsiteX184" fmla="*/ 3074407 w 11269336"/>
              <a:gd name="connsiteY184" fmla="*/ 2136274 h 2323145"/>
              <a:gd name="connsiteX185" fmla="*/ 3037285 w 11269336"/>
              <a:gd name="connsiteY185" fmla="*/ 2139919 h 2323145"/>
              <a:gd name="connsiteX186" fmla="*/ 3036901 w 11269336"/>
              <a:gd name="connsiteY186" fmla="*/ 2138726 h 2323145"/>
              <a:gd name="connsiteX187" fmla="*/ 3026996 w 11269336"/>
              <a:gd name="connsiteY187" fmla="*/ 2134322 h 2323145"/>
              <a:gd name="connsiteX188" fmla="*/ 3007772 w 11269336"/>
              <a:gd name="connsiteY188" fmla="*/ 2128742 h 2323145"/>
              <a:gd name="connsiteX189" fmla="*/ 2965030 w 11269336"/>
              <a:gd name="connsiteY189" fmla="*/ 2100494 h 2323145"/>
              <a:gd name="connsiteX190" fmla="*/ 2926342 w 11269336"/>
              <a:gd name="connsiteY190" fmla="*/ 2104155 h 2323145"/>
              <a:gd name="connsiteX191" fmla="*/ 2918608 w 11269336"/>
              <a:gd name="connsiteY191" fmla="*/ 2104215 h 2323145"/>
              <a:gd name="connsiteX192" fmla="*/ 2918475 w 11269336"/>
              <a:gd name="connsiteY192" fmla="*/ 2103937 h 2323145"/>
              <a:gd name="connsiteX193" fmla="*/ 2910360 w 11269336"/>
              <a:gd name="connsiteY193" fmla="*/ 2103444 h 2323145"/>
              <a:gd name="connsiteX194" fmla="*/ 2904507 w 11269336"/>
              <a:gd name="connsiteY194" fmla="*/ 2104326 h 2323145"/>
              <a:gd name="connsiteX195" fmla="*/ 2889503 w 11269336"/>
              <a:gd name="connsiteY195" fmla="*/ 2104443 h 2323145"/>
              <a:gd name="connsiteX196" fmla="*/ 2884480 w 11269336"/>
              <a:gd name="connsiteY196" fmla="*/ 2102626 h 2323145"/>
              <a:gd name="connsiteX197" fmla="*/ 2882689 w 11269336"/>
              <a:gd name="connsiteY197" fmla="*/ 2099228 h 2323145"/>
              <a:gd name="connsiteX198" fmla="*/ 2881291 w 11269336"/>
              <a:gd name="connsiteY198" fmla="*/ 2099618 h 2323145"/>
              <a:gd name="connsiteX199" fmla="*/ 2853979 w 11269336"/>
              <a:gd name="connsiteY199" fmla="*/ 2090388 h 2323145"/>
              <a:gd name="connsiteX200" fmla="*/ 2791790 w 11269336"/>
              <a:gd name="connsiteY200" fmla="*/ 2080332 h 2323145"/>
              <a:gd name="connsiteX201" fmla="*/ 2755844 w 11269336"/>
              <a:gd name="connsiteY201" fmla="*/ 2078874 h 2323145"/>
              <a:gd name="connsiteX202" fmla="*/ 2657742 w 11269336"/>
              <a:gd name="connsiteY202" fmla="*/ 2070179 h 2323145"/>
              <a:gd name="connsiteX203" fmla="*/ 2559549 w 11269336"/>
              <a:gd name="connsiteY203" fmla="*/ 2057873 h 2323145"/>
              <a:gd name="connsiteX204" fmla="*/ 2512054 w 11269336"/>
              <a:gd name="connsiteY204" fmla="*/ 2031671 h 2323145"/>
              <a:gd name="connsiteX205" fmla="*/ 2506437 w 11269336"/>
              <a:gd name="connsiteY205" fmla="*/ 2030918 h 2323145"/>
              <a:gd name="connsiteX206" fmla="*/ 2491752 w 11269336"/>
              <a:gd name="connsiteY206" fmla="*/ 2033906 h 2323145"/>
              <a:gd name="connsiteX207" fmla="*/ 2486338 w 11269336"/>
              <a:gd name="connsiteY207" fmla="*/ 2035862 h 2323145"/>
              <a:gd name="connsiteX208" fmla="*/ 2478186 w 11269336"/>
              <a:gd name="connsiteY208" fmla="*/ 2036953 h 2323145"/>
              <a:gd name="connsiteX209" fmla="*/ 2477950 w 11269336"/>
              <a:gd name="connsiteY209" fmla="*/ 2036715 h 2323145"/>
              <a:gd name="connsiteX210" fmla="*/ 2470381 w 11269336"/>
              <a:gd name="connsiteY210" fmla="*/ 2038256 h 2323145"/>
              <a:gd name="connsiteX211" fmla="*/ 2433781 w 11269336"/>
              <a:gd name="connsiteY211" fmla="*/ 2049140 h 2323145"/>
              <a:gd name="connsiteX212" fmla="*/ 2381172 w 11269336"/>
              <a:gd name="connsiteY212" fmla="*/ 2030645 h 2323145"/>
              <a:gd name="connsiteX213" fmla="*/ 2360198 w 11269336"/>
              <a:gd name="connsiteY213" fmla="*/ 2029059 h 2323145"/>
              <a:gd name="connsiteX214" fmla="*/ 2348815 w 11269336"/>
              <a:gd name="connsiteY214" fmla="*/ 2026798 h 2323145"/>
              <a:gd name="connsiteX215" fmla="*/ 2347988 w 11269336"/>
              <a:gd name="connsiteY215" fmla="*/ 2025745 h 2323145"/>
              <a:gd name="connsiteX216" fmla="*/ 2312920 w 11269336"/>
              <a:gd name="connsiteY216" fmla="*/ 2036311 h 2323145"/>
              <a:gd name="connsiteX217" fmla="*/ 2307986 w 11269336"/>
              <a:gd name="connsiteY217" fmla="*/ 2035583 h 2323145"/>
              <a:gd name="connsiteX218" fmla="*/ 2285481 w 11269336"/>
              <a:gd name="connsiteY218" fmla="*/ 2045197 h 2323145"/>
              <a:gd name="connsiteX219" fmla="*/ 2273666 w 11269336"/>
              <a:gd name="connsiteY219" fmla="*/ 2048710 h 2323145"/>
              <a:gd name="connsiteX220" fmla="*/ 2270719 w 11269336"/>
              <a:gd name="connsiteY220" fmla="*/ 2052702 h 2323145"/>
              <a:gd name="connsiteX221" fmla="*/ 2253080 w 11269336"/>
              <a:gd name="connsiteY221" fmla="*/ 2056363 h 2323145"/>
              <a:gd name="connsiteX222" fmla="*/ 2250906 w 11269336"/>
              <a:gd name="connsiteY222" fmla="*/ 2055654 h 2323145"/>
              <a:gd name="connsiteX223" fmla="*/ 2236905 w 11269336"/>
              <a:gd name="connsiteY223" fmla="*/ 2062882 h 2323145"/>
              <a:gd name="connsiteX224" fmla="*/ 2225830 w 11269336"/>
              <a:gd name="connsiteY224" fmla="*/ 2074027 h 2323145"/>
              <a:gd name="connsiteX225" fmla="*/ 2073776 w 11269336"/>
              <a:gd name="connsiteY225" fmla="*/ 2089244 h 2323145"/>
              <a:gd name="connsiteX226" fmla="*/ 1948256 w 11269336"/>
              <a:gd name="connsiteY226" fmla="*/ 2146616 h 2323145"/>
              <a:gd name="connsiteX227" fmla="*/ 1865582 w 11269336"/>
              <a:gd name="connsiteY227" fmla="*/ 2153738 h 2323145"/>
              <a:gd name="connsiteX228" fmla="*/ 1835210 w 11269336"/>
              <a:gd name="connsiteY228" fmla="*/ 2134244 h 2323145"/>
              <a:gd name="connsiteX229" fmla="*/ 1632661 w 11269336"/>
              <a:gd name="connsiteY229" fmla="*/ 2173882 h 2323145"/>
              <a:gd name="connsiteX230" fmla="*/ 1579590 w 11269336"/>
              <a:gd name="connsiteY230" fmla="*/ 2173680 h 2323145"/>
              <a:gd name="connsiteX231" fmla="*/ 1535601 w 11269336"/>
              <a:gd name="connsiteY231" fmla="*/ 2194590 h 2323145"/>
              <a:gd name="connsiteX232" fmla="*/ 1515594 w 11269336"/>
              <a:gd name="connsiteY232" fmla="*/ 2189622 h 2323145"/>
              <a:gd name="connsiteX233" fmla="*/ 1512113 w 11269336"/>
              <a:gd name="connsiteY233" fmla="*/ 2188534 h 2323145"/>
              <a:gd name="connsiteX234" fmla="*/ 1498838 w 11269336"/>
              <a:gd name="connsiteY234" fmla="*/ 2189213 h 2323145"/>
              <a:gd name="connsiteX235" fmla="*/ 1494279 w 11269336"/>
              <a:gd name="connsiteY235" fmla="*/ 2183112 h 2323145"/>
              <a:gd name="connsiteX236" fmla="*/ 1473714 w 11269336"/>
              <a:gd name="connsiteY236" fmla="*/ 2179625 h 2323145"/>
              <a:gd name="connsiteX237" fmla="*/ 1449503 w 11269336"/>
              <a:gd name="connsiteY237" fmla="*/ 2182633 h 2323145"/>
              <a:gd name="connsiteX238" fmla="*/ 1266687 w 11269336"/>
              <a:gd name="connsiteY238" fmla="*/ 2212688 h 2323145"/>
              <a:gd name="connsiteX239" fmla="*/ 1239614 w 11269336"/>
              <a:gd name="connsiteY239" fmla="*/ 2209727 h 2323145"/>
              <a:gd name="connsiteX240" fmla="*/ 1202436 w 11269336"/>
              <a:gd name="connsiteY240" fmla="*/ 2209817 h 2323145"/>
              <a:gd name="connsiteX241" fmla="*/ 1136097 w 11269336"/>
              <a:gd name="connsiteY241" fmla="*/ 2205112 h 2323145"/>
              <a:gd name="connsiteX242" fmla="*/ 988232 w 11269336"/>
              <a:gd name="connsiteY242" fmla="*/ 2235635 h 2323145"/>
              <a:gd name="connsiteX243" fmla="*/ 981959 w 11269336"/>
              <a:gd name="connsiteY243" fmla="*/ 2231607 h 2323145"/>
              <a:gd name="connsiteX244" fmla="*/ 938600 w 11269336"/>
              <a:gd name="connsiteY244" fmla="*/ 2238113 h 2323145"/>
              <a:gd name="connsiteX245" fmla="*/ 791788 w 11269336"/>
              <a:gd name="connsiteY245" fmla="*/ 2293224 h 2323145"/>
              <a:gd name="connsiteX246" fmla="*/ 706914 w 11269336"/>
              <a:gd name="connsiteY246" fmla="*/ 2305046 h 2323145"/>
              <a:gd name="connsiteX247" fmla="*/ 675971 w 11269336"/>
              <a:gd name="connsiteY247" fmla="*/ 2304030 h 2323145"/>
              <a:gd name="connsiteX248" fmla="*/ 624180 w 11269336"/>
              <a:gd name="connsiteY248" fmla="*/ 2302650 h 2323145"/>
              <a:gd name="connsiteX249" fmla="*/ 583453 w 11269336"/>
              <a:gd name="connsiteY249" fmla="*/ 2288788 h 2323145"/>
              <a:gd name="connsiteX250" fmla="*/ 540946 w 11269336"/>
              <a:gd name="connsiteY250" fmla="*/ 2292721 h 2323145"/>
              <a:gd name="connsiteX251" fmla="*/ 533680 w 11269336"/>
              <a:gd name="connsiteY251" fmla="*/ 2310233 h 2323145"/>
              <a:gd name="connsiteX252" fmla="*/ 487366 w 11269336"/>
              <a:gd name="connsiteY252" fmla="*/ 2309053 h 2323145"/>
              <a:gd name="connsiteX253" fmla="*/ 416820 w 11269336"/>
              <a:gd name="connsiteY253" fmla="*/ 2305443 h 2323145"/>
              <a:gd name="connsiteX254" fmla="*/ 376805 w 11269336"/>
              <a:gd name="connsiteY254" fmla="*/ 2307647 h 2323145"/>
              <a:gd name="connsiteX255" fmla="*/ 266777 w 11269336"/>
              <a:gd name="connsiteY255" fmla="*/ 2309012 h 2323145"/>
              <a:gd name="connsiteX256" fmla="*/ 156013 w 11269336"/>
              <a:gd name="connsiteY256" fmla="*/ 2306832 h 2323145"/>
              <a:gd name="connsiteX257" fmla="*/ 87258 w 11269336"/>
              <a:gd name="connsiteY257" fmla="*/ 2285511 h 2323145"/>
              <a:gd name="connsiteX258" fmla="*/ 23798 w 11269336"/>
              <a:gd name="connsiteY258" fmla="*/ 2281822 h 2323145"/>
              <a:gd name="connsiteX259" fmla="*/ 0 w 11269336"/>
              <a:gd name="connsiteY259" fmla="*/ 2285369 h 2323145"/>
              <a:gd name="connsiteX260" fmla="*/ 0 w 11269336"/>
              <a:gd name="connsiteY260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593061 w 11269336"/>
              <a:gd name="connsiteY141" fmla="*/ 2171597 h 2323145"/>
              <a:gd name="connsiteX142" fmla="*/ 4533444 w 11269336"/>
              <a:gd name="connsiteY142" fmla="*/ 2181200 h 2323145"/>
              <a:gd name="connsiteX143" fmla="*/ 4492832 w 11269336"/>
              <a:gd name="connsiteY143" fmla="*/ 2188033 h 2323145"/>
              <a:gd name="connsiteX144" fmla="*/ 4467257 w 11269336"/>
              <a:gd name="connsiteY144" fmla="*/ 2196121 h 2323145"/>
              <a:gd name="connsiteX145" fmla="*/ 4459937 w 11269336"/>
              <a:gd name="connsiteY145" fmla="*/ 2195182 h 2323145"/>
              <a:gd name="connsiteX146" fmla="*/ 4433312 w 11269336"/>
              <a:gd name="connsiteY146" fmla="*/ 2199004 h 2323145"/>
              <a:gd name="connsiteX147" fmla="*/ 4420601 w 11269336"/>
              <a:gd name="connsiteY147" fmla="*/ 2205158 h 2323145"/>
              <a:gd name="connsiteX148" fmla="*/ 4405765 w 11269336"/>
              <a:gd name="connsiteY148" fmla="*/ 2199902 h 2323145"/>
              <a:gd name="connsiteX149" fmla="*/ 4401354 w 11269336"/>
              <a:gd name="connsiteY149" fmla="*/ 2194745 h 2323145"/>
              <a:gd name="connsiteX150" fmla="*/ 4383151 w 11269336"/>
              <a:gd name="connsiteY150" fmla="*/ 2201140 h 2323145"/>
              <a:gd name="connsiteX151" fmla="*/ 4366646 w 11269336"/>
              <a:gd name="connsiteY151" fmla="*/ 2198564 h 2323145"/>
              <a:gd name="connsiteX152" fmla="*/ 4354009 w 11269336"/>
              <a:gd name="connsiteY152" fmla="*/ 2204984 h 2323145"/>
              <a:gd name="connsiteX153" fmla="*/ 4348284 w 11269336"/>
              <a:gd name="connsiteY153" fmla="*/ 2205270 h 2323145"/>
              <a:gd name="connsiteX154" fmla="*/ 4333906 w 11269336"/>
              <a:gd name="connsiteY154" fmla="*/ 2205251 h 2323145"/>
              <a:gd name="connsiteX155" fmla="*/ 4308819 w 11269336"/>
              <a:gd name="connsiteY155" fmla="*/ 2203822 h 2323145"/>
              <a:gd name="connsiteX156" fmla="*/ 4301210 w 11269336"/>
              <a:gd name="connsiteY156" fmla="*/ 2204456 h 2323145"/>
              <a:gd name="connsiteX157" fmla="*/ 4283095 w 11269336"/>
              <a:gd name="connsiteY157" fmla="*/ 2198177 h 2323145"/>
              <a:gd name="connsiteX158" fmla="*/ 4250119 w 11269336"/>
              <a:gd name="connsiteY158" fmla="*/ 2196342 h 2323145"/>
              <a:gd name="connsiteX159" fmla="*/ 4189203 w 11269336"/>
              <a:gd name="connsiteY159" fmla="*/ 2178994 h 2323145"/>
              <a:gd name="connsiteX160" fmla="*/ 4154035 w 11269336"/>
              <a:gd name="connsiteY160" fmla="*/ 2171950 h 2323145"/>
              <a:gd name="connsiteX161" fmla="*/ 4129569 w 11269336"/>
              <a:gd name="connsiteY161" fmla="*/ 2163850 h 2323145"/>
              <a:gd name="connsiteX162" fmla="*/ 4061250 w 11269336"/>
              <a:gd name="connsiteY162" fmla="*/ 2159236 h 2323145"/>
              <a:gd name="connsiteX163" fmla="*/ 3945480 w 11269336"/>
              <a:gd name="connsiteY163" fmla="*/ 2158279 h 2323145"/>
              <a:gd name="connsiteX164" fmla="*/ 3921468 w 11269336"/>
              <a:gd name="connsiteY164" fmla="*/ 2156588 h 2323145"/>
              <a:gd name="connsiteX165" fmla="*/ 3903348 w 11269336"/>
              <a:gd name="connsiteY165" fmla="*/ 2149220 h 2323145"/>
              <a:gd name="connsiteX166" fmla="*/ 3901342 w 11269336"/>
              <a:gd name="connsiteY166" fmla="*/ 2142355 h 2323145"/>
              <a:gd name="connsiteX167" fmla="*/ 3888539 w 11269336"/>
              <a:gd name="connsiteY167" fmla="*/ 2140476 h 2323145"/>
              <a:gd name="connsiteX168" fmla="*/ 3885662 w 11269336"/>
              <a:gd name="connsiteY168" fmla="*/ 2138740 h 2323145"/>
              <a:gd name="connsiteX169" fmla="*/ 3868627 w 11269336"/>
              <a:gd name="connsiteY169" fmla="*/ 2130023 h 2323145"/>
              <a:gd name="connsiteX170" fmla="*/ 3819177 w 11269336"/>
              <a:gd name="connsiteY170" fmla="*/ 2142111 h 2323145"/>
              <a:gd name="connsiteX171" fmla="*/ 3769100 w 11269336"/>
              <a:gd name="connsiteY171" fmla="*/ 2131731 h 2323145"/>
              <a:gd name="connsiteX172" fmla="*/ 3562752 w 11269336"/>
              <a:gd name="connsiteY172" fmla="*/ 2131785 h 2323145"/>
              <a:gd name="connsiteX173" fmla="*/ 3541402 w 11269336"/>
              <a:gd name="connsiteY173" fmla="*/ 2106821 h 2323145"/>
              <a:gd name="connsiteX174" fmla="*/ 3365341 w 11269336"/>
              <a:gd name="connsiteY174" fmla="*/ 2077638 h 2323145"/>
              <a:gd name="connsiteX175" fmla="*/ 3170922 w 11269336"/>
              <a:gd name="connsiteY175" fmla="*/ 2115957 h 2323145"/>
              <a:gd name="connsiteX176" fmla="*/ 3156256 w 11269336"/>
              <a:gd name="connsiteY176" fmla="*/ 2124773 h 2323145"/>
              <a:gd name="connsiteX177" fmla="*/ 3140298 w 11269336"/>
              <a:gd name="connsiteY177" fmla="*/ 2129182 h 2323145"/>
              <a:gd name="connsiteX178" fmla="*/ 3138514 w 11269336"/>
              <a:gd name="connsiteY178" fmla="*/ 2128069 h 2323145"/>
              <a:gd name="connsiteX179" fmla="*/ 3120467 w 11269336"/>
              <a:gd name="connsiteY179" fmla="*/ 2128281 h 2323145"/>
              <a:gd name="connsiteX180" fmla="*/ 3116175 w 11269336"/>
              <a:gd name="connsiteY180" fmla="*/ 2131633 h 2323145"/>
              <a:gd name="connsiteX181" fmla="*/ 3103685 w 11269336"/>
              <a:gd name="connsiteY181" fmla="*/ 2132814 h 2323145"/>
              <a:gd name="connsiteX182" fmla="*/ 3078794 w 11269336"/>
              <a:gd name="connsiteY182" fmla="*/ 2137935 h 2323145"/>
              <a:gd name="connsiteX183" fmla="*/ 3074407 w 11269336"/>
              <a:gd name="connsiteY183" fmla="*/ 2136274 h 2323145"/>
              <a:gd name="connsiteX184" fmla="*/ 3037285 w 11269336"/>
              <a:gd name="connsiteY184" fmla="*/ 2139919 h 2323145"/>
              <a:gd name="connsiteX185" fmla="*/ 3036901 w 11269336"/>
              <a:gd name="connsiteY185" fmla="*/ 2138726 h 2323145"/>
              <a:gd name="connsiteX186" fmla="*/ 3026996 w 11269336"/>
              <a:gd name="connsiteY186" fmla="*/ 2134322 h 2323145"/>
              <a:gd name="connsiteX187" fmla="*/ 3007772 w 11269336"/>
              <a:gd name="connsiteY187" fmla="*/ 2128742 h 2323145"/>
              <a:gd name="connsiteX188" fmla="*/ 2965030 w 11269336"/>
              <a:gd name="connsiteY188" fmla="*/ 2100494 h 2323145"/>
              <a:gd name="connsiteX189" fmla="*/ 2926342 w 11269336"/>
              <a:gd name="connsiteY189" fmla="*/ 2104155 h 2323145"/>
              <a:gd name="connsiteX190" fmla="*/ 2918608 w 11269336"/>
              <a:gd name="connsiteY190" fmla="*/ 2104215 h 2323145"/>
              <a:gd name="connsiteX191" fmla="*/ 2918475 w 11269336"/>
              <a:gd name="connsiteY191" fmla="*/ 2103937 h 2323145"/>
              <a:gd name="connsiteX192" fmla="*/ 2910360 w 11269336"/>
              <a:gd name="connsiteY192" fmla="*/ 2103444 h 2323145"/>
              <a:gd name="connsiteX193" fmla="*/ 2904507 w 11269336"/>
              <a:gd name="connsiteY193" fmla="*/ 2104326 h 2323145"/>
              <a:gd name="connsiteX194" fmla="*/ 2889503 w 11269336"/>
              <a:gd name="connsiteY194" fmla="*/ 2104443 h 2323145"/>
              <a:gd name="connsiteX195" fmla="*/ 2884480 w 11269336"/>
              <a:gd name="connsiteY195" fmla="*/ 2102626 h 2323145"/>
              <a:gd name="connsiteX196" fmla="*/ 2882689 w 11269336"/>
              <a:gd name="connsiteY196" fmla="*/ 2099228 h 2323145"/>
              <a:gd name="connsiteX197" fmla="*/ 2881291 w 11269336"/>
              <a:gd name="connsiteY197" fmla="*/ 2099618 h 2323145"/>
              <a:gd name="connsiteX198" fmla="*/ 2853979 w 11269336"/>
              <a:gd name="connsiteY198" fmla="*/ 2090388 h 2323145"/>
              <a:gd name="connsiteX199" fmla="*/ 2791790 w 11269336"/>
              <a:gd name="connsiteY199" fmla="*/ 2080332 h 2323145"/>
              <a:gd name="connsiteX200" fmla="*/ 2755844 w 11269336"/>
              <a:gd name="connsiteY200" fmla="*/ 2078874 h 2323145"/>
              <a:gd name="connsiteX201" fmla="*/ 2657742 w 11269336"/>
              <a:gd name="connsiteY201" fmla="*/ 2070179 h 2323145"/>
              <a:gd name="connsiteX202" fmla="*/ 2559549 w 11269336"/>
              <a:gd name="connsiteY202" fmla="*/ 2057873 h 2323145"/>
              <a:gd name="connsiteX203" fmla="*/ 2512054 w 11269336"/>
              <a:gd name="connsiteY203" fmla="*/ 2031671 h 2323145"/>
              <a:gd name="connsiteX204" fmla="*/ 2506437 w 11269336"/>
              <a:gd name="connsiteY204" fmla="*/ 2030918 h 2323145"/>
              <a:gd name="connsiteX205" fmla="*/ 2491752 w 11269336"/>
              <a:gd name="connsiteY205" fmla="*/ 2033906 h 2323145"/>
              <a:gd name="connsiteX206" fmla="*/ 2486338 w 11269336"/>
              <a:gd name="connsiteY206" fmla="*/ 2035862 h 2323145"/>
              <a:gd name="connsiteX207" fmla="*/ 2478186 w 11269336"/>
              <a:gd name="connsiteY207" fmla="*/ 2036953 h 2323145"/>
              <a:gd name="connsiteX208" fmla="*/ 2477950 w 11269336"/>
              <a:gd name="connsiteY208" fmla="*/ 2036715 h 2323145"/>
              <a:gd name="connsiteX209" fmla="*/ 2470381 w 11269336"/>
              <a:gd name="connsiteY209" fmla="*/ 2038256 h 2323145"/>
              <a:gd name="connsiteX210" fmla="*/ 2433781 w 11269336"/>
              <a:gd name="connsiteY210" fmla="*/ 2049140 h 2323145"/>
              <a:gd name="connsiteX211" fmla="*/ 2381172 w 11269336"/>
              <a:gd name="connsiteY211" fmla="*/ 2030645 h 2323145"/>
              <a:gd name="connsiteX212" fmla="*/ 2360198 w 11269336"/>
              <a:gd name="connsiteY212" fmla="*/ 2029059 h 2323145"/>
              <a:gd name="connsiteX213" fmla="*/ 2348815 w 11269336"/>
              <a:gd name="connsiteY213" fmla="*/ 2026798 h 2323145"/>
              <a:gd name="connsiteX214" fmla="*/ 2347988 w 11269336"/>
              <a:gd name="connsiteY214" fmla="*/ 2025745 h 2323145"/>
              <a:gd name="connsiteX215" fmla="*/ 2312920 w 11269336"/>
              <a:gd name="connsiteY215" fmla="*/ 2036311 h 2323145"/>
              <a:gd name="connsiteX216" fmla="*/ 2307986 w 11269336"/>
              <a:gd name="connsiteY216" fmla="*/ 2035583 h 2323145"/>
              <a:gd name="connsiteX217" fmla="*/ 2285481 w 11269336"/>
              <a:gd name="connsiteY217" fmla="*/ 2045197 h 2323145"/>
              <a:gd name="connsiteX218" fmla="*/ 2273666 w 11269336"/>
              <a:gd name="connsiteY218" fmla="*/ 2048710 h 2323145"/>
              <a:gd name="connsiteX219" fmla="*/ 2270719 w 11269336"/>
              <a:gd name="connsiteY219" fmla="*/ 2052702 h 2323145"/>
              <a:gd name="connsiteX220" fmla="*/ 2253080 w 11269336"/>
              <a:gd name="connsiteY220" fmla="*/ 2056363 h 2323145"/>
              <a:gd name="connsiteX221" fmla="*/ 2250906 w 11269336"/>
              <a:gd name="connsiteY221" fmla="*/ 2055654 h 2323145"/>
              <a:gd name="connsiteX222" fmla="*/ 2236905 w 11269336"/>
              <a:gd name="connsiteY222" fmla="*/ 2062882 h 2323145"/>
              <a:gd name="connsiteX223" fmla="*/ 2225830 w 11269336"/>
              <a:gd name="connsiteY223" fmla="*/ 2074027 h 2323145"/>
              <a:gd name="connsiteX224" fmla="*/ 2073776 w 11269336"/>
              <a:gd name="connsiteY224" fmla="*/ 2089244 h 2323145"/>
              <a:gd name="connsiteX225" fmla="*/ 1948256 w 11269336"/>
              <a:gd name="connsiteY225" fmla="*/ 2146616 h 2323145"/>
              <a:gd name="connsiteX226" fmla="*/ 1865582 w 11269336"/>
              <a:gd name="connsiteY226" fmla="*/ 2153738 h 2323145"/>
              <a:gd name="connsiteX227" fmla="*/ 1835210 w 11269336"/>
              <a:gd name="connsiteY227" fmla="*/ 2134244 h 2323145"/>
              <a:gd name="connsiteX228" fmla="*/ 1632661 w 11269336"/>
              <a:gd name="connsiteY228" fmla="*/ 2173882 h 2323145"/>
              <a:gd name="connsiteX229" fmla="*/ 1579590 w 11269336"/>
              <a:gd name="connsiteY229" fmla="*/ 2173680 h 2323145"/>
              <a:gd name="connsiteX230" fmla="*/ 1535601 w 11269336"/>
              <a:gd name="connsiteY230" fmla="*/ 2194590 h 2323145"/>
              <a:gd name="connsiteX231" fmla="*/ 1515594 w 11269336"/>
              <a:gd name="connsiteY231" fmla="*/ 2189622 h 2323145"/>
              <a:gd name="connsiteX232" fmla="*/ 1512113 w 11269336"/>
              <a:gd name="connsiteY232" fmla="*/ 2188534 h 2323145"/>
              <a:gd name="connsiteX233" fmla="*/ 1498838 w 11269336"/>
              <a:gd name="connsiteY233" fmla="*/ 2189213 h 2323145"/>
              <a:gd name="connsiteX234" fmla="*/ 1494279 w 11269336"/>
              <a:gd name="connsiteY234" fmla="*/ 2183112 h 2323145"/>
              <a:gd name="connsiteX235" fmla="*/ 1473714 w 11269336"/>
              <a:gd name="connsiteY235" fmla="*/ 2179625 h 2323145"/>
              <a:gd name="connsiteX236" fmla="*/ 1449503 w 11269336"/>
              <a:gd name="connsiteY236" fmla="*/ 2182633 h 2323145"/>
              <a:gd name="connsiteX237" fmla="*/ 1266687 w 11269336"/>
              <a:gd name="connsiteY237" fmla="*/ 2212688 h 2323145"/>
              <a:gd name="connsiteX238" fmla="*/ 1239614 w 11269336"/>
              <a:gd name="connsiteY238" fmla="*/ 2209727 h 2323145"/>
              <a:gd name="connsiteX239" fmla="*/ 1202436 w 11269336"/>
              <a:gd name="connsiteY239" fmla="*/ 2209817 h 2323145"/>
              <a:gd name="connsiteX240" fmla="*/ 1136097 w 11269336"/>
              <a:gd name="connsiteY240" fmla="*/ 2205112 h 2323145"/>
              <a:gd name="connsiteX241" fmla="*/ 988232 w 11269336"/>
              <a:gd name="connsiteY241" fmla="*/ 2235635 h 2323145"/>
              <a:gd name="connsiteX242" fmla="*/ 981959 w 11269336"/>
              <a:gd name="connsiteY242" fmla="*/ 2231607 h 2323145"/>
              <a:gd name="connsiteX243" fmla="*/ 938600 w 11269336"/>
              <a:gd name="connsiteY243" fmla="*/ 2238113 h 2323145"/>
              <a:gd name="connsiteX244" fmla="*/ 791788 w 11269336"/>
              <a:gd name="connsiteY244" fmla="*/ 2293224 h 2323145"/>
              <a:gd name="connsiteX245" fmla="*/ 706914 w 11269336"/>
              <a:gd name="connsiteY245" fmla="*/ 2305046 h 2323145"/>
              <a:gd name="connsiteX246" fmla="*/ 675971 w 11269336"/>
              <a:gd name="connsiteY246" fmla="*/ 2304030 h 2323145"/>
              <a:gd name="connsiteX247" fmla="*/ 624180 w 11269336"/>
              <a:gd name="connsiteY247" fmla="*/ 2302650 h 2323145"/>
              <a:gd name="connsiteX248" fmla="*/ 583453 w 11269336"/>
              <a:gd name="connsiteY248" fmla="*/ 2288788 h 2323145"/>
              <a:gd name="connsiteX249" fmla="*/ 540946 w 11269336"/>
              <a:gd name="connsiteY249" fmla="*/ 2292721 h 2323145"/>
              <a:gd name="connsiteX250" fmla="*/ 533680 w 11269336"/>
              <a:gd name="connsiteY250" fmla="*/ 2310233 h 2323145"/>
              <a:gd name="connsiteX251" fmla="*/ 487366 w 11269336"/>
              <a:gd name="connsiteY251" fmla="*/ 2309053 h 2323145"/>
              <a:gd name="connsiteX252" fmla="*/ 416820 w 11269336"/>
              <a:gd name="connsiteY252" fmla="*/ 2305443 h 2323145"/>
              <a:gd name="connsiteX253" fmla="*/ 376805 w 11269336"/>
              <a:gd name="connsiteY253" fmla="*/ 2307647 h 2323145"/>
              <a:gd name="connsiteX254" fmla="*/ 266777 w 11269336"/>
              <a:gd name="connsiteY254" fmla="*/ 2309012 h 2323145"/>
              <a:gd name="connsiteX255" fmla="*/ 156013 w 11269336"/>
              <a:gd name="connsiteY255" fmla="*/ 2306832 h 2323145"/>
              <a:gd name="connsiteX256" fmla="*/ 87258 w 11269336"/>
              <a:gd name="connsiteY256" fmla="*/ 2285511 h 2323145"/>
              <a:gd name="connsiteX257" fmla="*/ 23798 w 11269336"/>
              <a:gd name="connsiteY257" fmla="*/ 2281822 h 2323145"/>
              <a:gd name="connsiteX258" fmla="*/ 0 w 11269336"/>
              <a:gd name="connsiteY258" fmla="*/ 2285369 h 2323145"/>
              <a:gd name="connsiteX259" fmla="*/ 0 w 11269336"/>
              <a:gd name="connsiteY259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20601 w 11269336"/>
              <a:gd name="connsiteY146" fmla="*/ 2205158 h 2323145"/>
              <a:gd name="connsiteX147" fmla="*/ 4405765 w 11269336"/>
              <a:gd name="connsiteY147" fmla="*/ 2199902 h 2323145"/>
              <a:gd name="connsiteX148" fmla="*/ 4401354 w 11269336"/>
              <a:gd name="connsiteY148" fmla="*/ 2194745 h 2323145"/>
              <a:gd name="connsiteX149" fmla="*/ 4383151 w 11269336"/>
              <a:gd name="connsiteY149" fmla="*/ 2201140 h 2323145"/>
              <a:gd name="connsiteX150" fmla="*/ 4366646 w 11269336"/>
              <a:gd name="connsiteY150" fmla="*/ 2198564 h 2323145"/>
              <a:gd name="connsiteX151" fmla="*/ 4354009 w 11269336"/>
              <a:gd name="connsiteY151" fmla="*/ 2204984 h 2323145"/>
              <a:gd name="connsiteX152" fmla="*/ 4348284 w 11269336"/>
              <a:gd name="connsiteY152" fmla="*/ 2205270 h 2323145"/>
              <a:gd name="connsiteX153" fmla="*/ 4333906 w 11269336"/>
              <a:gd name="connsiteY153" fmla="*/ 2205251 h 2323145"/>
              <a:gd name="connsiteX154" fmla="*/ 4308819 w 11269336"/>
              <a:gd name="connsiteY154" fmla="*/ 2203822 h 2323145"/>
              <a:gd name="connsiteX155" fmla="*/ 4301210 w 11269336"/>
              <a:gd name="connsiteY155" fmla="*/ 2204456 h 2323145"/>
              <a:gd name="connsiteX156" fmla="*/ 4283095 w 11269336"/>
              <a:gd name="connsiteY156" fmla="*/ 2198177 h 2323145"/>
              <a:gd name="connsiteX157" fmla="*/ 4250119 w 11269336"/>
              <a:gd name="connsiteY157" fmla="*/ 2196342 h 2323145"/>
              <a:gd name="connsiteX158" fmla="*/ 4189203 w 11269336"/>
              <a:gd name="connsiteY158" fmla="*/ 2178994 h 2323145"/>
              <a:gd name="connsiteX159" fmla="*/ 4154035 w 11269336"/>
              <a:gd name="connsiteY159" fmla="*/ 2171950 h 2323145"/>
              <a:gd name="connsiteX160" fmla="*/ 4129569 w 11269336"/>
              <a:gd name="connsiteY160" fmla="*/ 2163850 h 2323145"/>
              <a:gd name="connsiteX161" fmla="*/ 4061250 w 11269336"/>
              <a:gd name="connsiteY161" fmla="*/ 2159236 h 2323145"/>
              <a:gd name="connsiteX162" fmla="*/ 3945480 w 11269336"/>
              <a:gd name="connsiteY162" fmla="*/ 2158279 h 2323145"/>
              <a:gd name="connsiteX163" fmla="*/ 3921468 w 11269336"/>
              <a:gd name="connsiteY163" fmla="*/ 2156588 h 2323145"/>
              <a:gd name="connsiteX164" fmla="*/ 3903348 w 11269336"/>
              <a:gd name="connsiteY164" fmla="*/ 2149220 h 2323145"/>
              <a:gd name="connsiteX165" fmla="*/ 3901342 w 11269336"/>
              <a:gd name="connsiteY165" fmla="*/ 2142355 h 2323145"/>
              <a:gd name="connsiteX166" fmla="*/ 3888539 w 11269336"/>
              <a:gd name="connsiteY166" fmla="*/ 2140476 h 2323145"/>
              <a:gd name="connsiteX167" fmla="*/ 3885662 w 11269336"/>
              <a:gd name="connsiteY167" fmla="*/ 2138740 h 2323145"/>
              <a:gd name="connsiteX168" fmla="*/ 3868627 w 11269336"/>
              <a:gd name="connsiteY168" fmla="*/ 2130023 h 2323145"/>
              <a:gd name="connsiteX169" fmla="*/ 3819177 w 11269336"/>
              <a:gd name="connsiteY169" fmla="*/ 2142111 h 2323145"/>
              <a:gd name="connsiteX170" fmla="*/ 3769100 w 11269336"/>
              <a:gd name="connsiteY170" fmla="*/ 2131731 h 2323145"/>
              <a:gd name="connsiteX171" fmla="*/ 3562752 w 11269336"/>
              <a:gd name="connsiteY171" fmla="*/ 2131785 h 2323145"/>
              <a:gd name="connsiteX172" fmla="*/ 3541402 w 11269336"/>
              <a:gd name="connsiteY172" fmla="*/ 2106821 h 2323145"/>
              <a:gd name="connsiteX173" fmla="*/ 3365341 w 11269336"/>
              <a:gd name="connsiteY173" fmla="*/ 2077638 h 2323145"/>
              <a:gd name="connsiteX174" fmla="*/ 3170922 w 11269336"/>
              <a:gd name="connsiteY174" fmla="*/ 2115957 h 2323145"/>
              <a:gd name="connsiteX175" fmla="*/ 3156256 w 11269336"/>
              <a:gd name="connsiteY175" fmla="*/ 2124773 h 2323145"/>
              <a:gd name="connsiteX176" fmla="*/ 3140298 w 11269336"/>
              <a:gd name="connsiteY176" fmla="*/ 2129182 h 2323145"/>
              <a:gd name="connsiteX177" fmla="*/ 3138514 w 11269336"/>
              <a:gd name="connsiteY177" fmla="*/ 2128069 h 2323145"/>
              <a:gd name="connsiteX178" fmla="*/ 3120467 w 11269336"/>
              <a:gd name="connsiteY178" fmla="*/ 2128281 h 2323145"/>
              <a:gd name="connsiteX179" fmla="*/ 3116175 w 11269336"/>
              <a:gd name="connsiteY179" fmla="*/ 2131633 h 2323145"/>
              <a:gd name="connsiteX180" fmla="*/ 3103685 w 11269336"/>
              <a:gd name="connsiteY180" fmla="*/ 2132814 h 2323145"/>
              <a:gd name="connsiteX181" fmla="*/ 3078794 w 11269336"/>
              <a:gd name="connsiteY181" fmla="*/ 2137935 h 2323145"/>
              <a:gd name="connsiteX182" fmla="*/ 3074407 w 11269336"/>
              <a:gd name="connsiteY182" fmla="*/ 2136274 h 2323145"/>
              <a:gd name="connsiteX183" fmla="*/ 3037285 w 11269336"/>
              <a:gd name="connsiteY183" fmla="*/ 2139919 h 2323145"/>
              <a:gd name="connsiteX184" fmla="*/ 3036901 w 11269336"/>
              <a:gd name="connsiteY184" fmla="*/ 2138726 h 2323145"/>
              <a:gd name="connsiteX185" fmla="*/ 3026996 w 11269336"/>
              <a:gd name="connsiteY185" fmla="*/ 2134322 h 2323145"/>
              <a:gd name="connsiteX186" fmla="*/ 3007772 w 11269336"/>
              <a:gd name="connsiteY186" fmla="*/ 2128742 h 2323145"/>
              <a:gd name="connsiteX187" fmla="*/ 2965030 w 11269336"/>
              <a:gd name="connsiteY187" fmla="*/ 2100494 h 2323145"/>
              <a:gd name="connsiteX188" fmla="*/ 2926342 w 11269336"/>
              <a:gd name="connsiteY188" fmla="*/ 2104155 h 2323145"/>
              <a:gd name="connsiteX189" fmla="*/ 2918608 w 11269336"/>
              <a:gd name="connsiteY189" fmla="*/ 2104215 h 2323145"/>
              <a:gd name="connsiteX190" fmla="*/ 2918475 w 11269336"/>
              <a:gd name="connsiteY190" fmla="*/ 2103937 h 2323145"/>
              <a:gd name="connsiteX191" fmla="*/ 2910360 w 11269336"/>
              <a:gd name="connsiteY191" fmla="*/ 2103444 h 2323145"/>
              <a:gd name="connsiteX192" fmla="*/ 2904507 w 11269336"/>
              <a:gd name="connsiteY192" fmla="*/ 2104326 h 2323145"/>
              <a:gd name="connsiteX193" fmla="*/ 2889503 w 11269336"/>
              <a:gd name="connsiteY193" fmla="*/ 2104443 h 2323145"/>
              <a:gd name="connsiteX194" fmla="*/ 2884480 w 11269336"/>
              <a:gd name="connsiteY194" fmla="*/ 2102626 h 2323145"/>
              <a:gd name="connsiteX195" fmla="*/ 2882689 w 11269336"/>
              <a:gd name="connsiteY195" fmla="*/ 2099228 h 2323145"/>
              <a:gd name="connsiteX196" fmla="*/ 2881291 w 11269336"/>
              <a:gd name="connsiteY196" fmla="*/ 2099618 h 2323145"/>
              <a:gd name="connsiteX197" fmla="*/ 2853979 w 11269336"/>
              <a:gd name="connsiteY197" fmla="*/ 2090388 h 2323145"/>
              <a:gd name="connsiteX198" fmla="*/ 2791790 w 11269336"/>
              <a:gd name="connsiteY198" fmla="*/ 2080332 h 2323145"/>
              <a:gd name="connsiteX199" fmla="*/ 2755844 w 11269336"/>
              <a:gd name="connsiteY199" fmla="*/ 2078874 h 2323145"/>
              <a:gd name="connsiteX200" fmla="*/ 2657742 w 11269336"/>
              <a:gd name="connsiteY200" fmla="*/ 2070179 h 2323145"/>
              <a:gd name="connsiteX201" fmla="*/ 2559549 w 11269336"/>
              <a:gd name="connsiteY201" fmla="*/ 2057873 h 2323145"/>
              <a:gd name="connsiteX202" fmla="*/ 2512054 w 11269336"/>
              <a:gd name="connsiteY202" fmla="*/ 2031671 h 2323145"/>
              <a:gd name="connsiteX203" fmla="*/ 2506437 w 11269336"/>
              <a:gd name="connsiteY203" fmla="*/ 2030918 h 2323145"/>
              <a:gd name="connsiteX204" fmla="*/ 2491752 w 11269336"/>
              <a:gd name="connsiteY204" fmla="*/ 2033906 h 2323145"/>
              <a:gd name="connsiteX205" fmla="*/ 2486338 w 11269336"/>
              <a:gd name="connsiteY205" fmla="*/ 2035862 h 2323145"/>
              <a:gd name="connsiteX206" fmla="*/ 2478186 w 11269336"/>
              <a:gd name="connsiteY206" fmla="*/ 2036953 h 2323145"/>
              <a:gd name="connsiteX207" fmla="*/ 2477950 w 11269336"/>
              <a:gd name="connsiteY207" fmla="*/ 2036715 h 2323145"/>
              <a:gd name="connsiteX208" fmla="*/ 2470381 w 11269336"/>
              <a:gd name="connsiteY208" fmla="*/ 2038256 h 2323145"/>
              <a:gd name="connsiteX209" fmla="*/ 2433781 w 11269336"/>
              <a:gd name="connsiteY209" fmla="*/ 2049140 h 2323145"/>
              <a:gd name="connsiteX210" fmla="*/ 2381172 w 11269336"/>
              <a:gd name="connsiteY210" fmla="*/ 2030645 h 2323145"/>
              <a:gd name="connsiteX211" fmla="*/ 2360198 w 11269336"/>
              <a:gd name="connsiteY211" fmla="*/ 2029059 h 2323145"/>
              <a:gd name="connsiteX212" fmla="*/ 2348815 w 11269336"/>
              <a:gd name="connsiteY212" fmla="*/ 2026798 h 2323145"/>
              <a:gd name="connsiteX213" fmla="*/ 2347988 w 11269336"/>
              <a:gd name="connsiteY213" fmla="*/ 2025745 h 2323145"/>
              <a:gd name="connsiteX214" fmla="*/ 2312920 w 11269336"/>
              <a:gd name="connsiteY214" fmla="*/ 2036311 h 2323145"/>
              <a:gd name="connsiteX215" fmla="*/ 2307986 w 11269336"/>
              <a:gd name="connsiteY215" fmla="*/ 2035583 h 2323145"/>
              <a:gd name="connsiteX216" fmla="*/ 2285481 w 11269336"/>
              <a:gd name="connsiteY216" fmla="*/ 2045197 h 2323145"/>
              <a:gd name="connsiteX217" fmla="*/ 2273666 w 11269336"/>
              <a:gd name="connsiteY217" fmla="*/ 2048710 h 2323145"/>
              <a:gd name="connsiteX218" fmla="*/ 2270719 w 11269336"/>
              <a:gd name="connsiteY218" fmla="*/ 2052702 h 2323145"/>
              <a:gd name="connsiteX219" fmla="*/ 2253080 w 11269336"/>
              <a:gd name="connsiteY219" fmla="*/ 2056363 h 2323145"/>
              <a:gd name="connsiteX220" fmla="*/ 2250906 w 11269336"/>
              <a:gd name="connsiteY220" fmla="*/ 2055654 h 2323145"/>
              <a:gd name="connsiteX221" fmla="*/ 2236905 w 11269336"/>
              <a:gd name="connsiteY221" fmla="*/ 2062882 h 2323145"/>
              <a:gd name="connsiteX222" fmla="*/ 2225830 w 11269336"/>
              <a:gd name="connsiteY222" fmla="*/ 2074027 h 2323145"/>
              <a:gd name="connsiteX223" fmla="*/ 2073776 w 11269336"/>
              <a:gd name="connsiteY223" fmla="*/ 2089244 h 2323145"/>
              <a:gd name="connsiteX224" fmla="*/ 1948256 w 11269336"/>
              <a:gd name="connsiteY224" fmla="*/ 2146616 h 2323145"/>
              <a:gd name="connsiteX225" fmla="*/ 1865582 w 11269336"/>
              <a:gd name="connsiteY225" fmla="*/ 2153738 h 2323145"/>
              <a:gd name="connsiteX226" fmla="*/ 1835210 w 11269336"/>
              <a:gd name="connsiteY226" fmla="*/ 2134244 h 2323145"/>
              <a:gd name="connsiteX227" fmla="*/ 1632661 w 11269336"/>
              <a:gd name="connsiteY227" fmla="*/ 2173882 h 2323145"/>
              <a:gd name="connsiteX228" fmla="*/ 1579590 w 11269336"/>
              <a:gd name="connsiteY228" fmla="*/ 2173680 h 2323145"/>
              <a:gd name="connsiteX229" fmla="*/ 1535601 w 11269336"/>
              <a:gd name="connsiteY229" fmla="*/ 2194590 h 2323145"/>
              <a:gd name="connsiteX230" fmla="*/ 1515594 w 11269336"/>
              <a:gd name="connsiteY230" fmla="*/ 2189622 h 2323145"/>
              <a:gd name="connsiteX231" fmla="*/ 1512113 w 11269336"/>
              <a:gd name="connsiteY231" fmla="*/ 2188534 h 2323145"/>
              <a:gd name="connsiteX232" fmla="*/ 1498838 w 11269336"/>
              <a:gd name="connsiteY232" fmla="*/ 2189213 h 2323145"/>
              <a:gd name="connsiteX233" fmla="*/ 1494279 w 11269336"/>
              <a:gd name="connsiteY233" fmla="*/ 2183112 h 2323145"/>
              <a:gd name="connsiteX234" fmla="*/ 1473714 w 11269336"/>
              <a:gd name="connsiteY234" fmla="*/ 2179625 h 2323145"/>
              <a:gd name="connsiteX235" fmla="*/ 1449503 w 11269336"/>
              <a:gd name="connsiteY235" fmla="*/ 2182633 h 2323145"/>
              <a:gd name="connsiteX236" fmla="*/ 1266687 w 11269336"/>
              <a:gd name="connsiteY236" fmla="*/ 2212688 h 2323145"/>
              <a:gd name="connsiteX237" fmla="*/ 1239614 w 11269336"/>
              <a:gd name="connsiteY237" fmla="*/ 2209727 h 2323145"/>
              <a:gd name="connsiteX238" fmla="*/ 1202436 w 11269336"/>
              <a:gd name="connsiteY238" fmla="*/ 2209817 h 2323145"/>
              <a:gd name="connsiteX239" fmla="*/ 1136097 w 11269336"/>
              <a:gd name="connsiteY239" fmla="*/ 2205112 h 2323145"/>
              <a:gd name="connsiteX240" fmla="*/ 988232 w 11269336"/>
              <a:gd name="connsiteY240" fmla="*/ 2235635 h 2323145"/>
              <a:gd name="connsiteX241" fmla="*/ 981959 w 11269336"/>
              <a:gd name="connsiteY241" fmla="*/ 2231607 h 2323145"/>
              <a:gd name="connsiteX242" fmla="*/ 938600 w 11269336"/>
              <a:gd name="connsiteY242" fmla="*/ 2238113 h 2323145"/>
              <a:gd name="connsiteX243" fmla="*/ 791788 w 11269336"/>
              <a:gd name="connsiteY243" fmla="*/ 2293224 h 2323145"/>
              <a:gd name="connsiteX244" fmla="*/ 706914 w 11269336"/>
              <a:gd name="connsiteY244" fmla="*/ 2305046 h 2323145"/>
              <a:gd name="connsiteX245" fmla="*/ 675971 w 11269336"/>
              <a:gd name="connsiteY245" fmla="*/ 2304030 h 2323145"/>
              <a:gd name="connsiteX246" fmla="*/ 624180 w 11269336"/>
              <a:gd name="connsiteY246" fmla="*/ 2302650 h 2323145"/>
              <a:gd name="connsiteX247" fmla="*/ 583453 w 11269336"/>
              <a:gd name="connsiteY247" fmla="*/ 2288788 h 2323145"/>
              <a:gd name="connsiteX248" fmla="*/ 540946 w 11269336"/>
              <a:gd name="connsiteY248" fmla="*/ 2292721 h 2323145"/>
              <a:gd name="connsiteX249" fmla="*/ 533680 w 11269336"/>
              <a:gd name="connsiteY249" fmla="*/ 2310233 h 2323145"/>
              <a:gd name="connsiteX250" fmla="*/ 487366 w 11269336"/>
              <a:gd name="connsiteY250" fmla="*/ 2309053 h 2323145"/>
              <a:gd name="connsiteX251" fmla="*/ 416820 w 11269336"/>
              <a:gd name="connsiteY251" fmla="*/ 2305443 h 2323145"/>
              <a:gd name="connsiteX252" fmla="*/ 376805 w 11269336"/>
              <a:gd name="connsiteY252" fmla="*/ 2307647 h 2323145"/>
              <a:gd name="connsiteX253" fmla="*/ 266777 w 11269336"/>
              <a:gd name="connsiteY253" fmla="*/ 2309012 h 2323145"/>
              <a:gd name="connsiteX254" fmla="*/ 156013 w 11269336"/>
              <a:gd name="connsiteY254" fmla="*/ 2306832 h 2323145"/>
              <a:gd name="connsiteX255" fmla="*/ 87258 w 11269336"/>
              <a:gd name="connsiteY255" fmla="*/ 2285511 h 2323145"/>
              <a:gd name="connsiteX256" fmla="*/ 23798 w 11269336"/>
              <a:gd name="connsiteY256" fmla="*/ 2281822 h 2323145"/>
              <a:gd name="connsiteX257" fmla="*/ 0 w 11269336"/>
              <a:gd name="connsiteY257" fmla="*/ 2285369 h 2323145"/>
              <a:gd name="connsiteX258" fmla="*/ 0 w 11269336"/>
              <a:gd name="connsiteY258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20601 w 11269336"/>
              <a:gd name="connsiteY146" fmla="*/ 2205158 h 2323145"/>
              <a:gd name="connsiteX147" fmla="*/ 4405765 w 11269336"/>
              <a:gd name="connsiteY147" fmla="*/ 2199902 h 2323145"/>
              <a:gd name="connsiteX148" fmla="*/ 4401354 w 11269336"/>
              <a:gd name="connsiteY148" fmla="*/ 2194745 h 2323145"/>
              <a:gd name="connsiteX149" fmla="*/ 4366646 w 11269336"/>
              <a:gd name="connsiteY149" fmla="*/ 2198564 h 2323145"/>
              <a:gd name="connsiteX150" fmla="*/ 4354009 w 11269336"/>
              <a:gd name="connsiteY150" fmla="*/ 2204984 h 2323145"/>
              <a:gd name="connsiteX151" fmla="*/ 4348284 w 11269336"/>
              <a:gd name="connsiteY151" fmla="*/ 2205270 h 2323145"/>
              <a:gd name="connsiteX152" fmla="*/ 4333906 w 11269336"/>
              <a:gd name="connsiteY152" fmla="*/ 2205251 h 2323145"/>
              <a:gd name="connsiteX153" fmla="*/ 4308819 w 11269336"/>
              <a:gd name="connsiteY153" fmla="*/ 2203822 h 2323145"/>
              <a:gd name="connsiteX154" fmla="*/ 4301210 w 11269336"/>
              <a:gd name="connsiteY154" fmla="*/ 2204456 h 2323145"/>
              <a:gd name="connsiteX155" fmla="*/ 4283095 w 11269336"/>
              <a:gd name="connsiteY155" fmla="*/ 2198177 h 2323145"/>
              <a:gd name="connsiteX156" fmla="*/ 4250119 w 11269336"/>
              <a:gd name="connsiteY156" fmla="*/ 2196342 h 2323145"/>
              <a:gd name="connsiteX157" fmla="*/ 4189203 w 11269336"/>
              <a:gd name="connsiteY157" fmla="*/ 2178994 h 2323145"/>
              <a:gd name="connsiteX158" fmla="*/ 4154035 w 11269336"/>
              <a:gd name="connsiteY158" fmla="*/ 2171950 h 2323145"/>
              <a:gd name="connsiteX159" fmla="*/ 4129569 w 11269336"/>
              <a:gd name="connsiteY159" fmla="*/ 2163850 h 2323145"/>
              <a:gd name="connsiteX160" fmla="*/ 4061250 w 11269336"/>
              <a:gd name="connsiteY160" fmla="*/ 2159236 h 2323145"/>
              <a:gd name="connsiteX161" fmla="*/ 3945480 w 11269336"/>
              <a:gd name="connsiteY161" fmla="*/ 2158279 h 2323145"/>
              <a:gd name="connsiteX162" fmla="*/ 3921468 w 11269336"/>
              <a:gd name="connsiteY162" fmla="*/ 2156588 h 2323145"/>
              <a:gd name="connsiteX163" fmla="*/ 3903348 w 11269336"/>
              <a:gd name="connsiteY163" fmla="*/ 2149220 h 2323145"/>
              <a:gd name="connsiteX164" fmla="*/ 3901342 w 11269336"/>
              <a:gd name="connsiteY164" fmla="*/ 2142355 h 2323145"/>
              <a:gd name="connsiteX165" fmla="*/ 3888539 w 11269336"/>
              <a:gd name="connsiteY165" fmla="*/ 2140476 h 2323145"/>
              <a:gd name="connsiteX166" fmla="*/ 3885662 w 11269336"/>
              <a:gd name="connsiteY166" fmla="*/ 2138740 h 2323145"/>
              <a:gd name="connsiteX167" fmla="*/ 3868627 w 11269336"/>
              <a:gd name="connsiteY167" fmla="*/ 2130023 h 2323145"/>
              <a:gd name="connsiteX168" fmla="*/ 3819177 w 11269336"/>
              <a:gd name="connsiteY168" fmla="*/ 2142111 h 2323145"/>
              <a:gd name="connsiteX169" fmla="*/ 3769100 w 11269336"/>
              <a:gd name="connsiteY169" fmla="*/ 2131731 h 2323145"/>
              <a:gd name="connsiteX170" fmla="*/ 3562752 w 11269336"/>
              <a:gd name="connsiteY170" fmla="*/ 2131785 h 2323145"/>
              <a:gd name="connsiteX171" fmla="*/ 3541402 w 11269336"/>
              <a:gd name="connsiteY171" fmla="*/ 2106821 h 2323145"/>
              <a:gd name="connsiteX172" fmla="*/ 3365341 w 11269336"/>
              <a:gd name="connsiteY172" fmla="*/ 2077638 h 2323145"/>
              <a:gd name="connsiteX173" fmla="*/ 3170922 w 11269336"/>
              <a:gd name="connsiteY173" fmla="*/ 2115957 h 2323145"/>
              <a:gd name="connsiteX174" fmla="*/ 3156256 w 11269336"/>
              <a:gd name="connsiteY174" fmla="*/ 2124773 h 2323145"/>
              <a:gd name="connsiteX175" fmla="*/ 3140298 w 11269336"/>
              <a:gd name="connsiteY175" fmla="*/ 2129182 h 2323145"/>
              <a:gd name="connsiteX176" fmla="*/ 3138514 w 11269336"/>
              <a:gd name="connsiteY176" fmla="*/ 2128069 h 2323145"/>
              <a:gd name="connsiteX177" fmla="*/ 3120467 w 11269336"/>
              <a:gd name="connsiteY177" fmla="*/ 2128281 h 2323145"/>
              <a:gd name="connsiteX178" fmla="*/ 3116175 w 11269336"/>
              <a:gd name="connsiteY178" fmla="*/ 2131633 h 2323145"/>
              <a:gd name="connsiteX179" fmla="*/ 3103685 w 11269336"/>
              <a:gd name="connsiteY179" fmla="*/ 2132814 h 2323145"/>
              <a:gd name="connsiteX180" fmla="*/ 3078794 w 11269336"/>
              <a:gd name="connsiteY180" fmla="*/ 2137935 h 2323145"/>
              <a:gd name="connsiteX181" fmla="*/ 3074407 w 11269336"/>
              <a:gd name="connsiteY181" fmla="*/ 2136274 h 2323145"/>
              <a:gd name="connsiteX182" fmla="*/ 3037285 w 11269336"/>
              <a:gd name="connsiteY182" fmla="*/ 2139919 h 2323145"/>
              <a:gd name="connsiteX183" fmla="*/ 3036901 w 11269336"/>
              <a:gd name="connsiteY183" fmla="*/ 2138726 h 2323145"/>
              <a:gd name="connsiteX184" fmla="*/ 3026996 w 11269336"/>
              <a:gd name="connsiteY184" fmla="*/ 2134322 h 2323145"/>
              <a:gd name="connsiteX185" fmla="*/ 3007772 w 11269336"/>
              <a:gd name="connsiteY185" fmla="*/ 2128742 h 2323145"/>
              <a:gd name="connsiteX186" fmla="*/ 2965030 w 11269336"/>
              <a:gd name="connsiteY186" fmla="*/ 2100494 h 2323145"/>
              <a:gd name="connsiteX187" fmla="*/ 2926342 w 11269336"/>
              <a:gd name="connsiteY187" fmla="*/ 2104155 h 2323145"/>
              <a:gd name="connsiteX188" fmla="*/ 2918608 w 11269336"/>
              <a:gd name="connsiteY188" fmla="*/ 2104215 h 2323145"/>
              <a:gd name="connsiteX189" fmla="*/ 2918475 w 11269336"/>
              <a:gd name="connsiteY189" fmla="*/ 2103937 h 2323145"/>
              <a:gd name="connsiteX190" fmla="*/ 2910360 w 11269336"/>
              <a:gd name="connsiteY190" fmla="*/ 2103444 h 2323145"/>
              <a:gd name="connsiteX191" fmla="*/ 2904507 w 11269336"/>
              <a:gd name="connsiteY191" fmla="*/ 2104326 h 2323145"/>
              <a:gd name="connsiteX192" fmla="*/ 2889503 w 11269336"/>
              <a:gd name="connsiteY192" fmla="*/ 2104443 h 2323145"/>
              <a:gd name="connsiteX193" fmla="*/ 2884480 w 11269336"/>
              <a:gd name="connsiteY193" fmla="*/ 2102626 h 2323145"/>
              <a:gd name="connsiteX194" fmla="*/ 2882689 w 11269336"/>
              <a:gd name="connsiteY194" fmla="*/ 2099228 h 2323145"/>
              <a:gd name="connsiteX195" fmla="*/ 2881291 w 11269336"/>
              <a:gd name="connsiteY195" fmla="*/ 2099618 h 2323145"/>
              <a:gd name="connsiteX196" fmla="*/ 2853979 w 11269336"/>
              <a:gd name="connsiteY196" fmla="*/ 2090388 h 2323145"/>
              <a:gd name="connsiteX197" fmla="*/ 2791790 w 11269336"/>
              <a:gd name="connsiteY197" fmla="*/ 2080332 h 2323145"/>
              <a:gd name="connsiteX198" fmla="*/ 2755844 w 11269336"/>
              <a:gd name="connsiteY198" fmla="*/ 2078874 h 2323145"/>
              <a:gd name="connsiteX199" fmla="*/ 2657742 w 11269336"/>
              <a:gd name="connsiteY199" fmla="*/ 2070179 h 2323145"/>
              <a:gd name="connsiteX200" fmla="*/ 2559549 w 11269336"/>
              <a:gd name="connsiteY200" fmla="*/ 2057873 h 2323145"/>
              <a:gd name="connsiteX201" fmla="*/ 2512054 w 11269336"/>
              <a:gd name="connsiteY201" fmla="*/ 2031671 h 2323145"/>
              <a:gd name="connsiteX202" fmla="*/ 2506437 w 11269336"/>
              <a:gd name="connsiteY202" fmla="*/ 2030918 h 2323145"/>
              <a:gd name="connsiteX203" fmla="*/ 2491752 w 11269336"/>
              <a:gd name="connsiteY203" fmla="*/ 2033906 h 2323145"/>
              <a:gd name="connsiteX204" fmla="*/ 2486338 w 11269336"/>
              <a:gd name="connsiteY204" fmla="*/ 2035862 h 2323145"/>
              <a:gd name="connsiteX205" fmla="*/ 2478186 w 11269336"/>
              <a:gd name="connsiteY205" fmla="*/ 2036953 h 2323145"/>
              <a:gd name="connsiteX206" fmla="*/ 2477950 w 11269336"/>
              <a:gd name="connsiteY206" fmla="*/ 2036715 h 2323145"/>
              <a:gd name="connsiteX207" fmla="*/ 2470381 w 11269336"/>
              <a:gd name="connsiteY207" fmla="*/ 2038256 h 2323145"/>
              <a:gd name="connsiteX208" fmla="*/ 2433781 w 11269336"/>
              <a:gd name="connsiteY208" fmla="*/ 2049140 h 2323145"/>
              <a:gd name="connsiteX209" fmla="*/ 2381172 w 11269336"/>
              <a:gd name="connsiteY209" fmla="*/ 2030645 h 2323145"/>
              <a:gd name="connsiteX210" fmla="*/ 2360198 w 11269336"/>
              <a:gd name="connsiteY210" fmla="*/ 2029059 h 2323145"/>
              <a:gd name="connsiteX211" fmla="*/ 2348815 w 11269336"/>
              <a:gd name="connsiteY211" fmla="*/ 2026798 h 2323145"/>
              <a:gd name="connsiteX212" fmla="*/ 2347988 w 11269336"/>
              <a:gd name="connsiteY212" fmla="*/ 2025745 h 2323145"/>
              <a:gd name="connsiteX213" fmla="*/ 2312920 w 11269336"/>
              <a:gd name="connsiteY213" fmla="*/ 2036311 h 2323145"/>
              <a:gd name="connsiteX214" fmla="*/ 2307986 w 11269336"/>
              <a:gd name="connsiteY214" fmla="*/ 2035583 h 2323145"/>
              <a:gd name="connsiteX215" fmla="*/ 2285481 w 11269336"/>
              <a:gd name="connsiteY215" fmla="*/ 2045197 h 2323145"/>
              <a:gd name="connsiteX216" fmla="*/ 2273666 w 11269336"/>
              <a:gd name="connsiteY216" fmla="*/ 2048710 h 2323145"/>
              <a:gd name="connsiteX217" fmla="*/ 2270719 w 11269336"/>
              <a:gd name="connsiteY217" fmla="*/ 2052702 h 2323145"/>
              <a:gd name="connsiteX218" fmla="*/ 2253080 w 11269336"/>
              <a:gd name="connsiteY218" fmla="*/ 2056363 h 2323145"/>
              <a:gd name="connsiteX219" fmla="*/ 2250906 w 11269336"/>
              <a:gd name="connsiteY219" fmla="*/ 2055654 h 2323145"/>
              <a:gd name="connsiteX220" fmla="*/ 2236905 w 11269336"/>
              <a:gd name="connsiteY220" fmla="*/ 2062882 h 2323145"/>
              <a:gd name="connsiteX221" fmla="*/ 2225830 w 11269336"/>
              <a:gd name="connsiteY221" fmla="*/ 2074027 h 2323145"/>
              <a:gd name="connsiteX222" fmla="*/ 2073776 w 11269336"/>
              <a:gd name="connsiteY222" fmla="*/ 2089244 h 2323145"/>
              <a:gd name="connsiteX223" fmla="*/ 1948256 w 11269336"/>
              <a:gd name="connsiteY223" fmla="*/ 2146616 h 2323145"/>
              <a:gd name="connsiteX224" fmla="*/ 1865582 w 11269336"/>
              <a:gd name="connsiteY224" fmla="*/ 2153738 h 2323145"/>
              <a:gd name="connsiteX225" fmla="*/ 1835210 w 11269336"/>
              <a:gd name="connsiteY225" fmla="*/ 2134244 h 2323145"/>
              <a:gd name="connsiteX226" fmla="*/ 1632661 w 11269336"/>
              <a:gd name="connsiteY226" fmla="*/ 2173882 h 2323145"/>
              <a:gd name="connsiteX227" fmla="*/ 1579590 w 11269336"/>
              <a:gd name="connsiteY227" fmla="*/ 2173680 h 2323145"/>
              <a:gd name="connsiteX228" fmla="*/ 1535601 w 11269336"/>
              <a:gd name="connsiteY228" fmla="*/ 2194590 h 2323145"/>
              <a:gd name="connsiteX229" fmla="*/ 1515594 w 11269336"/>
              <a:gd name="connsiteY229" fmla="*/ 2189622 h 2323145"/>
              <a:gd name="connsiteX230" fmla="*/ 1512113 w 11269336"/>
              <a:gd name="connsiteY230" fmla="*/ 2188534 h 2323145"/>
              <a:gd name="connsiteX231" fmla="*/ 1498838 w 11269336"/>
              <a:gd name="connsiteY231" fmla="*/ 2189213 h 2323145"/>
              <a:gd name="connsiteX232" fmla="*/ 1494279 w 11269336"/>
              <a:gd name="connsiteY232" fmla="*/ 2183112 h 2323145"/>
              <a:gd name="connsiteX233" fmla="*/ 1473714 w 11269336"/>
              <a:gd name="connsiteY233" fmla="*/ 2179625 h 2323145"/>
              <a:gd name="connsiteX234" fmla="*/ 1449503 w 11269336"/>
              <a:gd name="connsiteY234" fmla="*/ 2182633 h 2323145"/>
              <a:gd name="connsiteX235" fmla="*/ 1266687 w 11269336"/>
              <a:gd name="connsiteY235" fmla="*/ 2212688 h 2323145"/>
              <a:gd name="connsiteX236" fmla="*/ 1239614 w 11269336"/>
              <a:gd name="connsiteY236" fmla="*/ 2209727 h 2323145"/>
              <a:gd name="connsiteX237" fmla="*/ 1202436 w 11269336"/>
              <a:gd name="connsiteY237" fmla="*/ 2209817 h 2323145"/>
              <a:gd name="connsiteX238" fmla="*/ 1136097 w 11269336"/>
              <a:gd name="connsiteY238" fmla="*/ 2205112 h 2323145"/>
              <a:gd name="connsiteX239" fmla="*/ 988232 w 11269336"/>
              <a:gd name="connsiteY239" fmla="*/ 2235635 h 2323145"/>
              <a:gd name="connsiteX240" fmla="*/ 981959 w 11269336"/>
              <a:gd name="connsiteY240" fmla="*/ 2231607 h 2323145"/>
              <a:gd name="connsiteX241" fmla="*/ 938600 w 11269336"/>
              <a:gd name="connsiteY241" fmla="*/ 2238113 h 2323145"/>
              <a:gd name="connsiteX242" fmla="*/ 791788 w 11269336"/>
              <a:gd name="connsiteY242" fmla="*/ 2293224 h 2323145"/>
              <a:gd name="connsiteX243" fmla="*/ 706914 w 11269336"/>
              <a:gd name="connsiteY243" fmla="*/ 2305046 h 2323145"/>
              <a:gd name="connsiteX244" fmla="*/ 675971 w 11269336"/>
              <a:gd name="connsiteY244" fmla="*/ 2304030 h 2323145"/>
              <a:gd name="connsiteX245" fmla="*/ 624180 w 11269336"/>
              <a:gd name="connsiteY245" fmla="*/ 2302650 h 2323145"/>
              <a:gd name="connsiteX246" fmla="*/ 583453 w 11269336"/>
              <a:gd name="connsiteY246" fmla="*/ 2288788 h 2323145"/>
              <a:gd name="connsiteX247" fmla="*/ 540946 w 11269336"/>
              <a:gd name="connsiteY247" fmla="*/ 2292721 h 2323145"/>
              <a:gd name="connsiteX248" fmla="*/ 533680 w 11269336"/>
              <a:gd name="connsiteY248" fmla="*/ 2310233 h 2323145"/>
              <a:gd name="connsiteX249" fmla="*/ 487366 w 11269336"/>
              <a:gd name="connsiteY249" fmla="*/ 2309053 h 2323145"/>
              <a:gd name="connsiteX250" fmla="*/ 416820 w 11269336"/>
              <a:gd name="connsiteY250" fmla="*/ 2305443 h 2323145"/>
              <a:gd name="connsiteX251" fmla="*/ 376805 w 11269336"/>
              <a:gd name="connsiteY251" fmla="*/ 2307647 h 2323145"/>
              <a:gd name="connsiteX252" fmla="*/ 266777 w 11269336"/>
              <a:gd name="connsiteY252" fmla="*/ 2309012 h 2323145"/>
              <a:gd name="connsiteX253" fmla="*/ 156013 w 11269336"/>
              <a:gd name="connsiteY253" fmla="*/ 2306832 h 2323145"/>
              <a:gd name="connsiteX254" fmla="*/ 87258 w 11269336"/>
              <a:gd name="connsiteY254" fmla="*/ 2285511 h 2323145"/>
              <a:gd name="connsiteX255" fmla="*/ 23798 w 11269336"/>
              <a:gd name="connsiteY255" fmla="*/ 2281822 h 2323145"/>
              <a:gd name="connsiteX256" fmla="*/ 0 w 11269336"/>
              <a:gd name="connsiteY256" fmla="*/ 2285369 h 2323145"/>
              <a:gd name="connsiteX257" fmla="*/ 0 w 11269336"/>
              <a:gd name="connsiteY257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05765 w 11269336"/>
              <a:gd name="connsiteY146" fmla="*/ 2199902 h 2323145"/>
              <a:gd name="connsiteX147" fmla="*/ 4401354 w 11269336"/>
              <a:gd name="connsiteY147" fmla="*/ 2194745 h 2323145"/>
              <a:gd name="connsiteX148" fmla="*/ 4366646 w 11269336"/>
              <a:gd name="connsiteY148" fmla="*/ 2198564 h 2323145"/>
              <a:gd name="connsiteX149" fmla="*/ 4354009 w 11269336"/>
              <a:gd name="connsiteY149" fmla="*/ 2204984 h 2323145"/>
              <a:gd name="connsiteX150" fmla="*/ 4348284 w 11269336"/>
              <a:gd name="connsiteY150" fmla="*/ 2205270 h 2323145"/>
              <a:gd name="connsiteX151" fmla="*/ 4333906 w 11269336"/>
              <a:gd name="connsiteY151" fmla="*/ 2205251 h 2323145"/>
              <a:gd name="connsiteX152" fmla="*/ 4308819 w 11269336"/>
              <a:gd name="connsiteY152" fmla="*/ 2203822 h 2323145"/>
              <a:gd name="connsiteX153" fmla="*/ 4301210 w 11269336"/>
              <a:gd name="connsiteY153" fmla="*/ 2204456 h 2323145"/>
              <a:gd name="connsiteX154" fmla="*/ 4283095 w 11269336"/>
              <a:gd name="connsiteY154" fmla="*/ 2198177 h 2323145"/>
              <a:gd name="connsiteX155" fmla="*/ 4250119 w 11269336"/>
              <a:gd name="connsiteY155" fmla="*/ 2196342 h 2323145"/>
              <a:gd name="connsiteX156" fmla="*/ 4189203 w 11269336"/>
              <a:gd name="connsiteY156" fmla="*/ 2178994 h 2323145"/>
              <a:gd name="connsiteX157" fmla="*/ 4154035 w 11269336"/>
              <a:gd name="connsiteY157" fmla="*/ 2171950 h 2323145"/>
              <a:gd name="connsiteX158" fmla="*/ 4129569 w 11269336"/>
              <a:gd name="connsiteY158" fmla="*/ 2163850 h 2323145"/>
              <a:gd name="connsiteX159" fmla="*/ 4061250 w 11269336"/>
              <a:gd name="connsiteY159" fmla="*/ 2159236 h 2323145"/>
              <a:gd name="connsiteX160" fmla="*/ 3945480 w 11269336"/>
              <a:gd name="connsiteY160" fmla="*/ 2158279 h 2323145"/>
              <a:gd name="connsiteX161" fmla="*/ 3921468 w 11269336"/>
              <a:gd name="connsiteY161" fmla="*/ 2156588 h 2323145"/>
              <a:gd name="connsiteX162" fmla="*/ 3903348 w 11269336"/>
              <a:gd name="connsiteY162" fmla="*/ 2149220 h 2323145"/>
              <a:gd name="connsiteX163" fmla="*/ 3901342 w 11269336"/>
              <a:gd name="connsiteY163" fmla="*/ 2142355 h 2323145"/>
              <a:gd name="connsiteX164" fmla="*/ 3888539 w 11269336"/>
              <a:gd name="connsiteY164" fmla="*/ 2140476 h 2323145"/>
              <a:gd name="connsiteX165" fmla="*/ 3885662 w 11269336"/>
              <a:gd name="connsiteY165" fmla="*/ 2138740 h 2323145"/>
              <a:gd name="connsiteX166" fmla="*/ 3868627 w 11269336"/>
              <a:gd name="connsiteY166" fmla="*/ 2130023 h 2323145"/>
              <a:gd name="connsiteX167" fmla="*/ 3819177 w 11269336"/>
              <a:gd name="connsiteY167" fmla="*/ 2142111 h 2323145"/>
              <a:gd name="connsiteX168" fmla="*/ 3769100 w 11269336"/>
              <a:gd name="connsiteY168" fmla="*/ 2131731 h 2323145"/>
              <a:gd name="connsiteX169" fmla="*/ 3562752 w 11269336"/>
              <a:gd name="connsiteY169" fmla="*/ 2131785 h 2323145"/>
              <a:gd name="connsiteX170" fmla="*/ 3541402 w 11269336"/>
              <a:gd name="connsiteY170" fmla="*/ 2106821 h 2323145"/>
              <a:gd name="connsiteX171" fmla="*/ 3365341 w 11269336"/>
              <a:gd name="connsiteY171" fmla="*/ 2077638 h 2323145"/>
              <a:gd name="connsiteX172" fmla="*/ 3170922 w 11269336"/>
              <a:gd name="connsiteY172" fmla="*/ 2115957 h 2323145"/>
              <a:gd name="connsiteX173" fmla="*/ 3156256 w 11269336"/>
              <a:gd name="connsiteY173" fmla="*/ 2124773 h 2323145"/>
              <a:gd name="connsiteX174" fmla="*/ 3140298 w 11269336"/>
              <a:gd name="connsiteY174" fmla="*/ 2129182 h 2323145"/>
              <a:gd name="connsiteX175" fmla="*/ 3138514 w 11269336"/>
              <a:gd name="connsiteY175" fmla="*/ 2128069 h 2323145"/>
              <a:gd name="connsiteX176" fmla="*/ 3120467 w 11269336"/>
              <a:gd name="connsiteY176" fmla="*/ 2128281 h 2323145"/>
              <a:gd name="connsiteX177" fmla="*/ 3116175 w 11269336"/>
              <a:gd name="connsiteY177" fmla="*/ 2131633 h 2323145"/>
              <a:gd name="connsiteX178" fmla="*/ 3103685 w 11269336"/>
              <a:gd name="connsiteY178" fmla="*/ 2132814 h 2323145"/>
              <a:gd name="connsiteX179" fmla="*/ 3078794 w 11269336"/>
              <a:gd name="connsiteY179" fmla="*/ 2137935 h 2323145"/>
              <a:gd name="connsiteX180" fmla="*/ 3074407 w 11269336"/>
              <a:gd name="connsiteY180" fmla="*/ 2136274 h 2323145"/>
              <a:gd name="connsiteX181" fmla="*/ 3037285 w 11269336"/>
              <a:gd name="connsiteY181" fmla="*/ 2139919 h 2323145"/>
              <a:gd name="connsiteX182" fmla="*/ 3036901 w 11269336"/>
              <a:gd name="connsiteY182" fmla="*/ 2138726 h 2323145"/>
              <a:gd name="connsiteX183" fmla="*/ 3026996 w 11269336"/>
              <a:gd name="connsiteY183" fmla="*/ 2134322 h 2323145"/>
              <a:gd name="connsiteX184" fmla="*/ 3007772 w 11269336"/>
              <a:gd name="connsiteY184" fmla="*/ 2128742 h 2323145"/>
              <a:gd name="connsiteX185" fmla="*/ 2965030 w 11269336"/>
              <a:gd name="connsiteY185" fmla="*/ 2100494 h 2323145"/>
              <a:gd name="connsiteX186" fmla="*/ 2926342 w 11269336"/>
              <a:gd name="connsiteY186" fmla="*/ 2104155 h 2323145"/>
              <a:gd name="connsiteX187" fmla="*/ 2918608 w 11269336"/>
              <a:gd name="connsiteY187" fmla="*/ 2104215 h 2323145"/>
              <a:gd name="connsiteX188" fmla="*/ 2918475 w 11269336"/>
              <a:gd name="connsiteY188" fmla="*/ 2103937 h 2323145"/>
              <a:gd name="connsiteX189" fmla="*/ 2910360 w 11269336"/>
              <a:gd name="connsiteY189" fmla="*/ 2103444 h 2323145"/>
              <a:gd name="connsiteX190" fmla="*/ 2904507 w 11269336"/>
              <a:gd name="connsiteY190" fmla="*/ 2104326 h 2323145"/>
              <a:gd name="connsiteX191" fmla="*/ 2889503 w 11269336"/>
              <a:gd name="connsiteY191" fmla="*/ 2104443 h 2323145"/>
              <a:gd name="connsiteX192" fmla="*/ 2884480 w 11269336"/>
              <a:gd name="connsiteY192" fmla="*/ 2102626 h 2323145"/>
              <a:gd name="connsiteX193" fmla="*/ 2882689 w 11269336"/>
              <a:gd name="connsiteY193" fmla="*/ 2099228 h 2323145"/>
              <a:gd name="connsiteX194" fmla="*/ 2881291 w 11269336"/>
              <a:gd name="connsiteY194" fmla="*/ 2099618 h 2323145"/>
              <a:gd name="connsiteX195" fmla="*/ 2853979 w 11269336"/>
              <a:gd name="connsiteY195" fmla="*/ 2090388 h 2323145"/>
              <a:gd name="connsiteX196" fmla="*/ 2791790 w 11269336"/>
              <a:gd name="connsiteY196" fmla="*/ 2080332 h 2323145"/>
              <a:gd name="connsiteX197" fmla="*/ 2755844 w 11269336"/>
              <a:gd name="connsiteY197" fmla="*/ 2078874 h 2323145"/>
              <a:gd name="connsiteX198" fmla="*/ 2657742 w 11269336"/>
              <a:gd name="connsiteY198" fmla="*/ 2070179 h 2323145"/>
              <a:gd name="connsiteX199" fmla="*/ 2559549 w 11269336"/>
              <a:gd name="connsiteY199" fmla="*/ 2057873 h 2323145"/>
              <a:gd name="connsiteX200" fmla="*/ 2512054 w 11269336"/>
              <a:gd name="connsiteY200" fmla="*/ 2031671 h 2323145"/>
              <a:gd name="connsiteX201" fmla="*/ 2506437 w 11269336"/>
              <a:gd name="connsiteY201" fmla="*/ 2030918 h 2323145"/>
              <a:gd name="connsiteX202" fmla="*/ 2491752 w 11269336"/>
              <a:gd name="connsiteY202" fmla="*/ 2033906 h 2323145"/>
              <a:gd name="connsiteX203" fmla="*/ 2486338 w 11269336"/>
              <a:gd name="connsiteY203" fmla="*/ 2035862 h 2323145"/>
              <a:gd name="connsiteX204" fmla="*/ 2478186 w 11269336"/>
              <a:gd name="connsiteY204" fmla="*/ 2036953 h 2323145"/>
              <a:gd name="connsiteX205" fmla="*/ 2477950 w 11269336"/>
              <a:gd name="connsiteY205" fmla="*/ 2036715 h 2323145"/>
              <a:gd name="connsiteX206" fmla="*/ 2470381 w 11269336"/>
              <a:gd name="connsiteY206" fmla="*/ 2038256 h 2323145"/>
              <a:gd name="connsiteX207" fmla="*/ 2433781 w 11269336"/>
              <a:gd name="connsiteY207" fmla="*/ 2049140 h 2323145"/>
              <a:gd name="connsiteX208" fmla="*/ 2381172 w 11269336"/>
              <a:gd name="connsiteY208" fmla="*/ 2030645 h 2323145"/>
              <a:gd name="connsiteX209" fmla="*/ 2360198 w 11269336"/>
              <a:gd name="connsiteY209" fmla="*/ 2029059 h 2323145"/>
              <a:gd name="connsiteX210" fmla="*/ 2348815 w 11269336"/>
              <a:gd name="connsiteY210" fmla="*/ 2026798 h 2323145"/>
              <a:gd name="connsiteX211" fmla="*/ 2347988 w 11269336"/>
              <a:gd name="connsiteY211" fmla="*/ 2025745 h 2323145"/>
              <a:gd name="connsiteX212" fmla="*/ 2312920 w 11269336"/>
              <a:gd name="connsiteY212" fmla="*/ 2036311 h 2323145"/>
              <a:gd name="connsiteX213" fmla="*/ 2307986 w 11269336"/>
              <a:gd name="connsiteY213" fmla="*/ 2035583 h 2323145"/>
              <a:gd name="connsiteX214" fmla="*/ 2285481 w 11269336"/>
              <a:gd name="connsiteY214" fmla="*/ 2045197 h 2323145"/>
              <a:gd name="connsiteX215" fmla="*/ 2273666 w 11269336"/>
              <a:gd name="connsiteY215" fmla="*/ 2048710 h 2323145"/>
              <a:gd name="connsiteX216" fmla="*/ 2270719 w 11269336"/>
              <a:gd name="connsiteY216" fmla="*/ 2052702 h 2323145"/>
              <a:gd name="connsiteX217" fmla="*/ 2253080 w 11269336"/>
              <a:gd name="connsiteY217" fmla="*/ 2056363 h 2323145"/>
              <a:gd name="connsiteX218" fmla="*/ 2250906 w 11269336"/>
              <a:gd name="connsiteY218" fmla="*/ 2055654 h 2323145"/>
              <a:gd name="connsiteX219" fmla="*/ 2236905 w 11269336"/>
              <a:gd name="connsiteY219" fmla="*/ 2062882 h 2323145"/>
              <a:gd name="connsiteX220" fmla="*/ 2225830 w 11269336"/>
              <a:gd name="connsiteY220" fmla="*/ 2074027 h 2323145"/>
              <a:gd name="connsiteX221" fmla="*/ 2073776 w 11269336"/>
              <a:gd name="connsiteY221" fmla="*/ 2089244 h 2323145"/>
              <a:gd name="connsiteX222" fmla="*/ 1948256 w 11269336"/>
              <a:gd name="connsiteY222" fmla="*/ 2146616 h 2323145"/>
              <a:gd name="connsiteX223" fmla="*/ 1865582 w 11269336"/>
              <a:gd name="connsiteY223" fmla="*/ 2153738 h 2323145"/>
              <a:gd name="connsiteX224" fmla="*/ 1835210 w 11269336"/>
              <a:gd name="connsiteY224" fmla="*/ 2134244 h 2323145"/>
              <a:gd name="connsiteX225" fmla="*/ 1632661 w 11269336"/>
              <a:gd name="connsiteY225" fmla="*/ 2173882 h 2323145"/>
              <a:gd name="connsiteX226" fmla="*/ 1579590 w 11269336"/>
              <a:gd name="connsiteY226" fmla="*/ 2173680 h 2323145"/>
              <a:gd name="connsiteX227" fmla="*/ 1535601 w 11269336"/>
              <a:gd name="connsiteY227" fmla="*/ 2194590 h 2323145"/>
              <a:gd name="connsiteX228" fmla="*/ 1515594 w 11269336"/>
              <a:gd name="connsiteY228" fmla="*/ 2189622 h 2323145"/>
              <a:gd name="connsiteX229" fmla="*/ 1512113 w 11269336"/>
              <a:gd name="connsiteY229" fmla="*/ 2188534 h 2323145"/>
              <a:gd name="connsiteX230" fmla="*/ 1498838 w 11269336"/>
              <a:gd name="connsiteY230" fmla="*/ 2189213 h 2323145"/>
              <a:gd name="connsiteX231" fmla="*/ 1494279 w 11269336"/>
              <a:gd name="connsiteY231" fmla="*/ 2183112 h 2323145"/>
              <a:gd name="connsiteX232" fmla="*/ 1473714 w 11269336"/>
              <a:gd name="connsiteY232" fmla="*/ 2179625 h 2323145"/>
              <a:gd name="connsiteX233" fmla="*/ 1449503 w 11269336"/>
              <a:gd name="connsiteY233" fmla="*/ 2182633 h 2323145"/>
              <a:gd name="connsiteX234" fmla="*/ 1266687 w 11269336"/>
              <a:gd name="connsiteY234" fmla="*/ 2212688 h 2323145"/>
              <a:gd name="connsiteX235" fmla="*/ 1239614 w 11269336"/>
              <a:gd name="connsiteY235" fmla="*/ 2209727 h 2323145"/>
              <a:gd name="connsiteX236" fmla="*/ 1202436 w 11269336"/>
              <a:gd name="connsiteY236" fmla="*/ 2209817 h 2323145"/>
              <a:gd name="connsiteX237" fmla="*/ 1136097 w 11269336"/>
              <a:gd name="connsiteY237" fmla="*/ 2205112 h 2323145"/>
              <a:gd name="connsiteX238" fmla="*/ 988232 w 11269336"/>
              <a:gd name="connsiteY238" fmla="*/ 2235635 h 2323145"/>
              <a:gd name="connsiteX239" fmla="*/ 981959 w 11269336"/>
              <a:gd name="connsiteY239" fmla="*/ 2231607 h 2323145"/>
              <a:gd name="connsiteX240" fmla="*/ 938600 w 11269336"/>
              <a:gd name="connsiteY240" fmla="*/ 2238113 h 2323145"/>
              <a:gd name="connsiteX241" fmla="*/ 791788 w 11269336"/>
              <a:gd name="connsiteY241" fmla="*/ 2293224 h 2323145"/>
              <a:gd name="connsiteX242" fmla="*/ 706914 w 11269336"/>
              <a:gd name="connsiteY242" fmla="*/ 2305046 h 2323145"/>
              <a:gd name="connsiteX243" fmla="*/ 675971 w 11269336"/>
              <a:gd name="connsiteY243" fmla="*/ 2304030 h 2323145"/>
              <a:gd name="connsiteX244" fmla="*/ 624180 w 11269336"/>
              <a:gd name="connsiteY244" fmla="*/ 2302650 h 2323145"/>
              <a:gd name="connsiteX245" fmla="*/ 583453 w 11269336"/>
              <a:gd name="connsiteY245" fmla="*/ 2288788 h 2323145"/>
              <a:gd name="connsiteX246" fmla="*/ 540946 w 11269336"/>
              <a:gd name="connsiteY246" fmla="*/ 2292721 h 2323145"/>
              <a:gd name="connsiteX247" fmla="*/ 533680 w 11269336"/>
              <a:gd name="connsiteY247" fmla="*/ 2310233 h 2323145"/>
              <a:gd name="connsiteX248" fmla="*/ 487366 w 11269336"/>
              <a:gd name="connsiteY248" fmla="*/ 2309053 h 2323145"/>
              <a:gd name="connsiteX249" fmla="*/ 416820 w 11269336"/>
              <a:gd name="connsiteY249" fmla="*/ 2305443 h 2323145"/>
              <a:gd name="connsiteX250" fmla="*/ 376805 w 11269336"/>
              <a:gd name="connsiteY250" fmla="*/ 2307647 h 2323145"/>
              <a:gd name="connsiteX251" fmla="*/ 266777 w 11269336"/>
              <a:gd name="connsiteY251" fmla="*/ 2309012 h 2323145"/>
              <a:gd name="connsiteX252" fmla="*/ 156013 w 11269336"/>
              <a:gd name="connsiteY252" fmla="*/ 2306832 h 2323145"/>
              <a:gd name="connsiteX253" fmla="*/ 87258 w 11269336"/>
              <a:gd name="connsiteY253" fmla="*/ 2285511 h 2323145"/>
              <a:gd name="connsiteX254" fmla="*/ 23798 w 11269336"/>
              <a:gd name="connsiteY254" fmla="*/ 2281822 h 2323145"/>
              <a:gd name="connsiteX255" fmla="*/ 0 w 11269336"/>
              <a:gd name="connsiteY255" fmla="*/ 2285369 h 2323145"/>
              <a:gd name="connsiteX256" fmla="*/ 0 w 11269336"/>
              <a:gd name="connsiteY25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05765 w 11269336"/>
              <a:gd name="connsiteY145" fmla="*/ 2199902 h 2323145"/>
              <a:gd name="connsiteX146" fmla="*/ 4401354 w 11269336"/>
              <a:gd name="connsiteY146" fmla="*/ 2194745 h 2323145"/>
              <a:gd name="connsiteX147" fmla="*/ 4366646 w 11269336"/>
              <a:gd name="connsiteY147" fmla="*/ 2198564 h 2323145"/>
              <a:gd name="connsiteX148" fmla="*/ 4354009 w 11269336"/>
              <a:gd name="connsiteY148" fmla="*/ 2204984 h 2323145"/>
              <a:gd name="connsiteX149" fmla="*/ 4348284 w 11269336"/>
              <a:gd name="connsiteY149" fmla="*/ 2205270 h 2323145"/>
              <a:gd name="connsiteX150" fmla="*/ 4333906 w 11269336"/>
              <a:gd name="connsiteY150" fmla="*/ 2205251 h 2323145"/>
              <a:gd name="connsiteX151" fmla="*/ 4308819 w 11269336"/>
              <a:gd name="connsiteY151" fmla="*/ 2203822 h 2323145"/>
              <a:gd name="connsiteX152" fmla="*/ 4301210 w 11269336"/>
              <a:gd name="connsiteY152" fmla="*/ 2204456 h 2323145"/>
              <a:gd name="connsiteX153" fmla="*/ 4283095 w 11269336"/>
              <a:gd name="connsiteY153" fmla="*/ 2198177 h 2323145"/>
              <a:gd name="connsiteX154" fmla="*/ 4250119 w 11269336"/>
              <a:gd name="connsiteY154" fmla="*/ 2196342 h 2323145"/>
              <a:gd name="connsiteX155" fmla="*/ 4189203 w 11269336"/>
              <a:gd name="connsiteY155" fmla="*/ 2178994 h 2323145"/>
              <a:gd name="connsiteX156" fmla="*/ 4154035 w 11269336"/>
              <a:gd name="connsiteY156" fmla="*/ 2171950 h 2323145"/>
              <a:gd name="connsiteX157" fmla="*/ 4129569 w 11269336"/>
              <a:gd name="connsiteY157" fmla="*/ 2163850 h 2323145"/>
              <a:gd name="connsiteX158" fmla="*/ 4061250 w 11269336"/>
              <a:gd name="connsiteY158" fmla="*/ 2159236 h 2323145"/>
              <a:gd name="connsiteX159" fmla="*/ 3945480 w 11269336"/>
              <a:gd name="connsiteY159" fmla="*/ 2158279 h 2323145"/>
              <a:gd name="connsiteX160" fmla="*/ 3921468 w 11269336"/>
              <a:gd name="connsiteY160" fmla="*/ 2156588 h 2323145"/>
              <a:gd name="connsiteX161" fmla="*/ 3903348 w 11269336"/>
              <a:gd name="connsiteY161" fmla="*/ 2149220 h 2323145"/>
              <a:gd name="connsiteX162" fmla="*/ 3901342 w 11269336"/>
              <a:gd name="connsiteY162" fmla="*/ 2142355 h 2323145"/>
              <a:gd name="connsiteX163" fmla="*/ 3888539 w 11269336"/>
              <a:gd name="connsiteY163" fmla="*/ 2140476 h 2323145"/>
              <a:gd name="connsiteX164" fmla="*/ 3885662 w 11269336"/>
              <a:gd name="connsiteY164" fmla="*/ 2138740 h 2323145"/>
              <a:gd name="connsiteX165" fmla="*/ 3868627 w 11269336"/>
              <a:gd name="connsiteY165" fmla="*/ 2130023 h 2323145"/>
              <a:gd name="connsiteX166" fmla="*/ 3819177 w 11269336"/>
              <a:gd name="connsiteY166" fmla="*/ 2142111 h 2323145"/>
              <a:gd name="connsiteX167" fmla="*/ 3769100 w 11269336"/>
              <a:gd name="connsiteY167" fmla="*/ 2131731 h 2323145"/>
              <a:gd name="connsiteX168" fmla="*/ 3562752 w 11269336"/>
              <a:gd name="connsiteY168" fmla="*/ 2131785 h 2323145"/>
              <a:gd name="connsiteX169" fmla="*/ 3541402 w 11269336"/>
              <a:gd name="connsiteY169" fmla="*/ 2106821 h 2323145"/>
              <a:gd name="connsiteX170" fmla="*/ 3365341 w 11269336"/>
              <a:gd name="connsiteY170" fmla="*/ 2077638 h 2323145"/>
              <a:gd name="connsiteX171" fmla="*/ 3170922 w 11269336"/>
              <a:gd name="connsiteY171" fmla="*/ 2115957 h 2323145"/>
              <a:gd name="connsiteX172" fmla="*/ 3156256 w 11269336"/>
              <a:gd name="connsiteY172" fmla="*/ 2124773 h 2323145"/>
              <a:gd name="connsiteX173" fmla="*/ 3140298 w 11269336"/>
              <a:gd name="connsiteY173" fmla="*/ 2129182 h 2323145"/>
              <a:gd name="connsiteX174" fmla="*/ 3138514 w 11269336"/>
              <a:gd name="connsiteY174" fmla="*/ 2128069 h 2323145"/>
              <a:gd name="connsiteX175" fmla="*/ 3120467 w 11269336"/>
              <a:gd name="connsiteY175" fmla="*/ 2128281 h 2323145"/>
              <a:gd name="connsiteX176" fmla="*/ 3116175 w 11269336"/>
              <a:gd name="connsiteY176" fmla="*/ 2131633 h 2323145"/>
              <a:gd name="connsiteX177" fmla="*/ 3103685 w 11269336"/>
              <a:gd name="connsiteY177" fmla="*/ 2132814 h 2323145"/>
              <a:gd name="connsiteX178" fmla="*/ 3078794 w 11269336"/>
              <a:gd name="connsiteY178" fmla="*/ 2137935 h 2323145"/>
              <a:gd name="connsiteX179" fmla="*/ 3074407 w 11269336"/>
              <a:gd name="connsiteY179" fmla="*/ 2136274 h 2323145"/>
              <a:gd name="connsiteX180" fmla="*/ 3037285 w 11269336"/>
              <a:gd name="connsiteY180" fmla="*/ 2139919 h 2323145"/>
              <a:gd name="connsiteX181" fmla="*/ 3036901 w 11269336"/>
              <a:gd name="connsiteY181" fmla="*/ 2138726 h 2323145"/>
              <a:gd name="connsiteX182" fmla="*/ 3026996 w 11269336"/>
              <a:gd name="connsiteY182" fmla="*/ 2134322 h 2323145"/>
              <a:gd name="connsiteX183" fmla="*/ 3007772 w 11269336"/>
              <a:gd name="connsiteY183" fmla="*/ 2128742 h 2323145"/>
              <a:gd name="connsiteX184" fmla="*/ 2965030 w 11269336"/>
              <a:gd name="connsiteY184" fmla="*/ 2100494 h 2323145"/>
              <a:gd name="connsiteX185" fmla="*/ 2926342 w 11269336"/>
              <a:gd name="connsiteY185" fmla="*/ 2104155 h 2323145"/>
              <a:gd name="connsiteX186" fmla="*/ 2918608 w 11269336"/>
              <a:gd name="connsiteY186" fmla="*/ 2104215 h 2323145"/>
              <a:gd name="connsiteX187" fmla="*/ 2918475 w 11269336"/>
              <a:gd name="connsiteY187" fmla="*/ 2103937 h 2323145"/>
              <a:gd name="connsiteX188" fmla="*/ 2910360 w 11269336"/>
              <a:gd name="connsiteY188" fmla="*/ 2103444 h 2323145"/>
              <a:gd name="connsiteX189" fmla="*/ 2904507 w 11269336"/>
              <a:gd name="connsiteY189" fmla="*/ 2104326 h 2323145"/>
              <a:gd name="connsiteX190" fmla="*/ 2889503 w 11269336"/>
              <a:gd name="connsiteY190" fmla="*/ 2104443 h 2323145"/>
              <a:gd name="connsiteX191" fmla="*/ 2884480 w 11269336"/>
              <a:gd name="connsiteY191" fmla="*/ 2102626 h 2323145"/>
              <a:gd name="connsiteX192" fmla="*/ 2882689 w 11269336"/>
              <a:gd name="connsiteY192" fmla="*/ 2099228 h 2323145"/>
              <a:gd name="connsiteX193" fmla="*/ 2881291 w 11269336"/>
              <a:gd name="connsiteY193" fmla="*/ 2099618 h 2323145"/>
              <a:gd name="connsiteX194" fmla="*/ 2853979 w 11269336"/>
              <a:gd name="connsiteY194" fmla="*/ 2090388 h 2323145"/>
              <a:gd name="connsiteX195" fmla="*/ 2791790 w 11269336"/>
              <a:gd name="connsiteY195" fmla="*/ 2080332 h 2323145"/>
              <a:gd name="connsiteX196" fmla="*/ 2755844 w 11269336"/>
              <a:gd name="connsiteY196" fmla="*/ 2078874 h 2323145"/>
              <a:gd name="connsiteX197" fmla="*/ 2657742 w 11269336"/>
              <a:gd name="connsiteY197" fmla="*/ 2070179 h 2323145"/>
              <a:gd name="connsiteX198" fmla="*/ 2559549 w 11269336"/>
              <a:gd name="connsiteY198" fmla="*/ 2057873 h 2323145"/>
              <a:gd name="connsiteX199" fmla="*/ 2512054 w 11269336"/>
              <a:gd name="connsiteY199" fmla="*/ 2031671 h 2323145"/>
              <a:gd name="connsiteX200" fmla="*/ 2506437 w 11269336"/>
              <a:gd name="connsiteY200" fmla="*/ 2030918 h 2323145"/>
              <a:gd name="connsiteX201" fmla="*/ 2491752 w 11269336"/>
              <a:gd name="connsiteY201" fmla="*/ 2033906 h 2323145"/>
              <a:gd name="connsiteX202" fmla="*/ 2486338 w 11269336"/>
              <a:gd name="connsiteY202" fmla="*/ 2035862 h 2323145"/>
              <a:gd name="connsiteX203" fmla="*/ 2478186 w 11269336"/>
              <a:gd name="connsiteY203" fmla="*/ 2036953 h 2323145"/>
              <a:gd name="connsiteX204" fmla="*/ 2477950 w 11269336"/>
              <a:gd name="connsiteY204" fmla="*/ 2036715 h 2323145"/>
              <a:gd name="connsiteX205" fmla="*/ 2470381 w 11269336"/>
              <a:gd name="connsiteY205" fmla="*/ 2038256 h 2323145"/>
              <a:gd name="connsiteX206" fmla="*/ 2433781 w 11269336"/>
              <a:gd name="connsiteY206" fmla="*/ 2049140 h 2323145"/>
              <a:gd name="connsiteX207" fmla="*/ 2381172 w 11269336"/>
              <a:gd name="connsiteY207" fmla="*/ 2030645 h 2323145"/>
              <a:gd name="connsiteX208" fmla="*/ 2360198 w 11269336"/>
              <a:gd name="connsiteY208" fmla="*/ 2029059 h 2323145"/>
              <a:gd name="connsiteX209" fmla="*/ 2348815 w 11269336"/>
              <a:gd name="connsiteY209" fmla="*/ 2026798 h 2323145"/>
              <a:gd name="connsiteX210" fmla="*/ 2347988 w 11269336"/>
              <a:gd name="connsiteY210" fmla="*/ 2025745 h 2323145"/>
              <a:gd name="connsiteX211" fmla="*/ 2312920 w 11269336"/>
              <a:gd name="connsiteY211" fmla="*/ 2036311 h 2323145"/>
              <a:gd name="connsiteX212" fmla="*/ 2307986 w 11269336"/>
              <a:gd name="connsiteY212" fmla="*/ 2035583 h 2323145"/>
              <a:gd name="connsiteX213" fmla="*/ 2285481 w 11269336"/>
              <a:gd name="connsiteY213" fmla="*/ 2045197 h 2323145"/>
              <a:gd name="connsiteX214" fmla="*/ 2273666 w 11269336"/>
              <a:gd name="connsiteY214" fmla="*/ 2048710 h 2323145"/>
              <a:gd name="connsiteX215" fmla="*/ 2270719 w 11269336"/>
              <a:gd name="connsiteY215" fmla="*/ 2052702 h 2323145"/>
              <a:gd name="connsiteX216" fmla="*/ 2253080 w 11269336"/>
              <a:gd name="connsiteY216" fmla="*/ 2056363 h 2323145"/>
              <a:gd name="connsiteX217" fmla="*/ 2250906 w 11269336"/>
              <a:gd name="connsiteY217" fmla="*/ 2055654 h 2323145"/>
              <a:gd name="connsiteX218" fmla="*/ 2236905 w 11269336"/>
              <a:gd name="connsiteY218" fmla="*/ 2062882 h 2323145"/>
              <a:gd name="connsiteX219" fmla="*/ 2225830 w 11269336"/>
              <a:gd name="connsiteY219" fmla="*/ 2074027 h 2323145"/>
              <a:gd name="connsiteX220" fmla="*/ 2073776 w 11269336"/>
              <a:gd name="connsiteY220" fmla="*/ 2089244 h 2323145"/>
              <a:gd name="connsiteX221" fmla="*/ 1948256 w 11269336"/>
              <a:gd name="connsiteY221" fmla="*/ 2146616 h 2323145"/>
              <a:gd name="connsiteX222" fmla="*/ 1865582 w 11269336"/>
              <a:gd name="connsiteY222" fmla="*/ 2153738 h 2323145"/>
              <a:gd name="connsiteX223" fmla="*/ 1835210 w 11269336"/>
              <a:gd name="connsiteY223" fmla="*/ 2134244 h 2323145"/>
              <a:gd name="connsiteX224" fmla="*/ 1632661 w 11269336"/>
              <a:gd name="connsiteY224" fmla="*/ 2173882 h 2323145"/>
              <a:gd name="connsiteX225" fmla="*/ 1579590 w 11269336"/>
              <a:gd name="connsiteY225" fmla="*/ 2173680 h 2323145"/>
              <a:gd name="connsiteX226" fmla="*/ 1535601 w 11269336"/>
              <a:gd name="connsiteY226" fmla="*/ 2194590 h 2323145"/>
              <a:gd name="connsiteX227" fmla="*/ 1515594 w 11269336"/>
              <a:gd name="connsiteY227" fmla="*/ 2189622 h 2323145"/>
              <a:gd name="connsiteX228" fmla="*/ 1512113 w 11269336"/>
              <a:gd name="connsiteY228" fmla="*/ 2188534 h 2323145"/>
              <a:gd name="connsiteX229" fmla="*/ 1498838 w 11269336"/>
              <a:gd name="connsiteY229" fmla="*/ 2189213 h 2323145"/>
              <a:gd name="connsiteX230" fmla="*/ 1494279 w 11269336"/>
              <a:gd name="connsiteY230" fmla="*/ 2183112 h 2323145"/>
              <a:gd name="connsiteX231" fmla="*/ 1473714 w 11269336"/>
              <a:gd name="connsiteY231" fmla="*/ 2179625 h 2323145"/>
              <a:gd name="connsiteX232" fmla="*/ 1449503 w 11269336"/>
              <a:gd name="connsiteY232" fmla="*/ 2182633 h 2323145"/>
              <a:gd name="connsiteX233" fmla="*/ 1266687 w 11269336"/>
              <a:gd name="connsiteY233" fmla="*/ 2212688 h 2323145"/>
              <a:gd name="connsiteX234" fmla="*/ 1239614 w 11269336"/>
              <a:gd name="connsiteY234" fmla="*/ 2209727 h 2323145"/>
              <a:gd name="connsiteX235" fmla="*/ 1202436 w 11269336"/>
              <a:gd name="connsiteY235" fmla="*/ 2209817 h 2323145"/>
              <a:gd name="connsiteX236" fmla="*/ 1136097 w 11269336"/>
              <a:gd name="connsiteY236" fmla="*/ 2205112 h 2323145"/>
              <a:gd name="connsiteX237" fmla="*/ 988232 w 11269336"/>
              <a:gd name="connsiteY237" fmla="*/ 2235635 h 2323145"/>
              <a:gd name="connsiteX238" fmla="*/ 981959 w 11269336"/>
              <a:gd name="connsiteY238" fmla="*/ 2231607 h 2323145"/>
              <a:gd name="connsiteX239" fmla="*/ 938600 w 11269336"/>
              <a:gd name="connsiteY239" fmla="*/ 2238113 h 2323145"/>
              <a:gd name="connsiteX240" fmla="*/ 791788 w 11269336"/>
              <a:gd name="connsiteY240" fmla="*/ 2293224 h 2323145"/>
              <a:gd name="connsiteX241" fmla="*/ 706914 w 11269336"/>
              <a:gd name="connsiteY241" fmla="*/ 2305046 h 2323145"/>
              <a:gd name="connsiteX242" fmla="*/ 675971 w 11269336"/>
              <a:gd name="connsiteY242" fmla="*/ 2304030 h 2323145"/>
              <a:gd name="connsiteX243" fmla="*/ 624180 w 11269336"/>
              <a:gd name="connsiteY243" fmla="*/ 2302650 h 2323145"/>
              <a:gd name="connsiteX244" fmla="*/ 583453 w 11269336"/>
              <a:gd name="connsiteY244" fmla="*/ 2288788 h 2323145"/>
              <a:gd name="connsiteX245" fmla="*/ 540946 w 11269336"/>
              <a:gd name="connsiteY245" fmla="*/ 2292721 h 2323145"/>
              <a:gd name="connsiteX246" fmla="*/ 533680 w 11269336"/>
              <a:gd name="connsiteY246" fmla="*/ 2310233 h 2323145"/>
              <a:gd name="connsiteX247" fmla="*/ 487366 w 11269336"/>
              <a:gd name="connsiteY247" fmla="*/ 2309053 h 2323145"/>
              <a:gd name="connsiteX248" fmla="*/ 416820 w 11269336"/>
              <a:gd name="connsiteY248" fmla="*/ 2305443 h 2323145"/>
              <a:gd name="connsiteX249" fmla="*/ 376805 w 11269336"/>
              <a:gd name="connsiteY249" fmla="*/ 2307647 h 2323145"/>
              <a:gd name="connsiteX250" fmla="*/ 266777 w 11269336"/>
              <a:gd name="connsiteY250" fmla="*/ 2309012 h 2323145"/>
              <a:gd name="connsiteX251" fmla="*/ 156013 w 11269336"/>
              <a:gd name="connsiteY251" fmla="*/ 2306832 h 2323145"/>
              <a:gd name="connsiteX252" fmla="*/ 87258 w 11269336"/>
              <a:gd name="connsiteY252" fmla="*/ 2285511 h 2323145"/>
              <a:gd name="connsiteX253" fmla="*/ 23798 w 11269336"/>
              <a:gd name="connsiteY253" fmla="*/ 2281822 h 2323145"/>
              <a:gd name="connsiteX254" fmla="*/ 0 w 11269336"/>
              <a:gd name="connsiteY254" fmla="*/ 2285369 h 2323145"/>
              <a:gd name="connsiteX255" fmla="*/ 0 w 11269336"/>
              <a:gd name="connsiteY25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05765 w 11269336"/>
              <a:gd name="connsiteY144" fmla="*/ 2199902 h 2323145"/>
              <a:gd name="connsiteX145" fmla="*/ 4401354 w 11269336"/>
              <a:gd name="connsiteY145" fmla="*/ 2194745 h 2323145"/>
              <a:gd name="connsiteX146" fmla="*/ 4366646 w 11269336"/>
              <a:gd name="connsiteY146" fmla="*/ 2198564 h 2323145"/>
              <a:gd name="connsiteX147" fmla="*/ 4354009 w 11269336"/>
              <a:gd name="connsiteY147" fmla="*/ 2204984 h 2323145"/>
              <a:gd name="connsiteX148" fmla="*/ 4348284 w 11269336"/>
              <a:gd name="connsiteY148" fmla="*/ 2205270 h 2323145"/>
              <a:gd name="connsiteX149" fmla="*/ 4333906 w 11269336"/>
              <a:gd name="connsiteY149" fmla="*/ 2205251 h 2323145"/>
              <a:gd name="connsiteX150" fmla="*/ 4308819 w 11269336"/>
              <a:gd name="connsiteY150" fmla="*/ 2203822 h 2323145"/>
              <a:gd name="connsiteX151" fmla="*/ 4301210 w 11269336"/>
              <a:gd name="connsiteY151" fmla="*/ 2204456 h 2323145"/>
              <a:gd name="connsiteX152" fmla="*/ 4283095 w 11269336"/>
              <a:gd name="connsiteY152" fmla="*/ 2198177 h 2323145"/>
              <a:gd name="connsiteX153" fmla="*/ 4250119 w 11269336"/>
              <a:gd name="connsiteY153" fmla="*/ 2196342 h 2323145"/>
              <a:gd name="connsiteX154" fmla="*/ 4189203 w 11269336"/>
              <a:gd name="connsiteY154" fmla="*/ 2178994 h 2323145"/>
              <a:gd name="connsiteX155" fmla="*/ 4154035 w 11269336"/>
              <a:gd name="connsiteY155" fmla="*/ 2171950 h 2323145"/>
              <a:gd name="connsiteX156" fmla="*/ 4129569 w 11269336"/>
              <a:gd name="connsiteY156" fmla="*/ 2163850 h 2323145"/>
              <a:gd name="connsiteX157" fmla="*/ 4061250 w 11269336"/>
              <a:gd name="connsiteY157" fmla="*/ 2159236 h 2323145"/>
              <a:gd name="connsiteX158" fmla="*/ 3945480 w 11269336"/>
              <a:gd name="connsiteY158" fmla="*/ 2158279 h 2323145"/>
              <a:gd name="connsiteX159" fmla="*/ 3921468 w 11269336"/>
              <a:gd name="connsiteY159" fmla="*/ 2156588 h 2323145"/>
              <a:gd name="connsiteX160" fmla="*/ 3903348 w 11269336"/>
              <a:gd name="connsiteY160" fmla="*/ 2149220 h 2323145"/>
              <a:gd name="connsiteX161" fmla="*/ 3901342 w 11269336"/>
              <a:gd name="connsiteY161" fmla="*/ 2142355 h 2323145"/>
              <a:gd name="connsiteX162" fmla="*/ 3888539 w 11269336"/>
              <a:gd name="connsiteY162" fmla="*/ 2140476 h 2323145"/>
              <a:gd name="connsiteX163" fmla="*/ 3885662 w 11269336"/>
              <a:gd name="connsiteY163" fmla="*/ 2138740 h 2323145"/>
              <a:gd name="connsiteX164" fmla="*/ 3868627 w 11269336"/>
              <a:gd name="connsiteY164" fmla="*/ 2130023 h 2323145"/>
              <a:gd name="connsiteX165" fmla="*/ 3819177 w 11269336"/>
              <a:gd name="connsiteY165" fmla="*/ 2142111 h 2323145"/>
              <a:gd name="connsiteX166" fmla="*/ 3769100 w 11269336"/>
              <a:gd name="connsiteY166" fmla="*/ 2131731 h 2323145"/>
              <a:gd name="connsiteX167" fmla="*/ 3562752 w 11269336"/>
              <a:gd name="connsiteY167" fmla="*/ 2131785 h 2323145"/>
              <a:gd name="connsiteX168" fmla="*/ 3541402 w 11269336"/>
              <a:gd name="connsiteY168" fmla="*/ 2106821 h 2323145"/>
              <a:gd name="connsiteX169" fmla="*/ 3365341 w 11269336"/>
              <a:gd name="connsiteY169" fmla="*/ 2077638 h 2323145"/>
              <a:gd name="connsiteX170" fmla="*/ 3170922 w 11269336"/>
              <a:gd name="connsiteY170" fmla="*/ 2115957 h 2323145"/>
              <a:gd name="connsiteX171" fmla="*/ 3156256 w 11269336"/>
              <a:gd name="connsiteY171" fmla="*/ 2124773 h 2323145"/>
              <a:gd name="connsiteX172" fmla="*/ 3140298 w 11269336"/>
              <a:gd name="connsiteY172" fmla="*/ 2129182 h 2323145"/>
              <a:gd name="connsiteX173" fmla="*/ 3138514 w 11269336"/>
              <a:gd name="connsiteY173" fmla="*/ 2128069 h 2323145"/>
              <a:gd name="connsiteX174" fmla="*/ 3120467 w 11269336"/>
              <a:gd name="connsiteY174" fmla="*/ 2128281 h 2323145"/>
              <a:gd name="connsiteX175" fmla="*/ 3116175 w 11269336"/>
              <a:gd name="connsiteY175" fmla="*/ 2131633 h 2323145"/>
              <a:gd name="connsiteX176" fmla="*/ 3103685 w 11269336"/>
              <a:gd name="connsiteY176" fmla="*/ 2132814 h 2323145"/>
              <a:gd name="connsiteX177" fmla="*/ 3078794 w 11269336"/>
              <a:gd name="connsiteY177" fmla="*/ 2137935 h 2323145"/>
              <a:gd name="connsiteX178" fmla="*/ 3074407 w 11269336"/>
              <a:gd name="connsiteY178" fmla="*/ 2136274 h 2323145"/>
              <a:gd name="connsiteX179" fmla="*/ 3037285 w 11269336"/>
              <a:gd name="connsiteY179" fmla="*/ 2139919 h 2323145"/>
              <a:gd name="connsiteX180" fmla="*/ 3036901 w 11269336"/>
              <a:gd name="connsiteY180" fmla="*/ 2138726 h 2323145"/>
              <a:gd name="connsiteX181" fmla="*/ 3026996 w 11269336"/>
              <a:gd name="connsiteY181" fmla="*/ 2134322 h 2323145"/>
              <a:gd name="connsiteX182" fmla="*/ 3007772 w 11269336"/>
              <a:gd name="connsiteY182" fmla="*/ 2128742 h 2323145"/>
              <a:gd name="connsiteX183" fmla="*/ 2965030 w 11269336"/>
              <a:gd name="connsiteY183" fmla="*/ 2100494 h 2323145"/>
              <a:gd name="connsiteX184" fmla="*/ 2926342 w 11269336"/>
              <a:gd name="connsiteY184" fmla="*/ 2104155 h 2323145"/>
              <a:gd name="connsiteX185" fmla="*/ 2918608 w 11269336"/>
              <a:gd name="connsiteY185" fmla="*/ 2104215 h 2323145"/>
              <a:gd name="connsiteX186" fmla="*/ 2918475 w 11269336"/>
              <a:gd name="connsiteY186" fmla="*/ 2103937 h 2323145"/>
              <a:gd name="connsiteX187" fmla="*/ 2910360 w 11269336"/>
              <a:gd name="connsiteY187" fmla="*/ 2103444 h 2323145"/>
              <a:gd name="connsiteX188" fmla="*/ 2904507 w 11269336"/>
              <a:gd name="connsiteY188" fmla="*/ 2104326 h 2323145"/>
              <a:gd name="connsiteX189" fmla="*/ 2889503 w 11269336"/>
              <a:gd name="connsiteY189" fmla="*/ 2104443 h 2323145"/>
              <a:gd name="connsiteX190" fmla="*/ 2884480 w 11269336"/>
              <a:gd name="connsiteY190" fmla="*/ 2102626 h 2323145"/>
              <a:gd name="connsiteX191" fmla="*/ 2882689 w 11269336"/>
              <a:gd name="connsiteY191" fmla="*/ 2099228 h 2323145"/>
              <a:gd name="connsiteX192" fmla="*/ 2881291 w 11269336"/>
              <a:gd name="connsiteY192" fmla="*/ 2099618 h 2323145"/>
              <a:gd name="connsiteX193" fmla="*/ 2853979 w 11269336"/>
              <a:gd name="connsiteY193" fmla="*/ 2090388 h 2323145"/>
              <a:gd name="connsiteX194" fmla="*/ 2791790 w 11269336"/>
              <a:gd name="connsiteY194" fmla="*/ 2080332 h 2323145"/>
              <a:gd name="connsiteX195" fmla="*/ 2755844 w 11269336"/>
              <a:gd name="connsiteY195" fmla="*/ 2078874 h 2323145"/>
              <a:gd name="connsiteX196" fmla="*/ 2657742 w 11269336"/>
              <a:gd name="connsiteY196" fmla="*/ 2070179 h 2323145"/>
              <a:gd name="connsiteX197" fmla="*/ 2559549 w 11269336"/>
              <a:gd name="connsiteY197" fmla="*/ 2057873 h 2323145"/>
              <a:gd name="connsiteX198" fmla="*/ 2512054 w 11269336"/>
              <a:gd name="connsiteY198" fmla="*/ 2031671 h 2323145"/>
              <a:gd name="connsiteX199" fmla="*/ 2506437 w 11269336"/>
              <a:gd name="connsiteY199" fmla="*/ 2030918 h 2323145"/>
              <a:gd name="connsiteX200" fmla="*/ 2491752 w 11269336"/>
              <a:gd name="connsiteY200" fmla="*/ 2033906 h 2323145"/>
              <a:gd name="connsiteX201" fmla="*/ 2486338 w 11269336"/>
              <a:gd name="connsiteY201" fmla="*/ 2035862 h 2323145"/>
              <a:gd name="connsiteX202" fmla="*/ 2478186 w 11269336"/>
              <a:gd name="connsiteY202" fmla="*/ 2036953 h 2323145"/>
              <a:gd name="connsiteX203" fmla="*/ 2477950 w 11269336"/>
              <a:gd name="connsiteY203" fmla="*/ 2036715 h 2323145"/>
              <a:gd name="connsiteX204" fmla="*/ 2470381 w 11269336"/>
              <a:gd name="connsiteY204" fmla="*/ 2038256 h 2323145"/>
              <a:gd name="connsiteX205" fmla="*/ 2433781 w 11269336"/>
              <a:gd name="connsiteY205" fmla="*/ 2049140 h 2323145"/>
              <a:gd name="connsiteX206" fmla="*/ 2381172 w 11269336"/>
              <a:gd name="connsiteY206" fmla="*/ 2030645 h 2323145"/>
              <a:gd name="connsiteX207" fmla="*/ 2360198 w 11269336"/>
              <a:gd name="connsiteY207" fmla="*/ 2029059 h 2323145"/>
              <a:gd name="connsiteX208" fmla="*/ 2348815 w 11269336"/>
              <a:gd name="connsiteY208" fmla="*/ 2026798 h 2323145"/>
              <a:gd name="connsiteX209" fmla="*/ 2347988 w 11269336"/>
              <a:gd name="connsiteY209" fmla="*/ 2025745 h 2323145"/>
              <a:gd name="connsiteX210" fmla="*/ 2312920 w 11269336"/>
              <a:gd name="connsiteY210" fmla="*/ 2036311 h 2323145"/>
              <a:gd name="connsiteX211" fmla="*/ 2307986 w 11269336"/>
              <a:gd name="connsiteY211" fmla="*/ 2035583 h 2323145"/>
              <a:gd name="connsiteX212" fmla="*/ 2285481 w 11269336"/>
              <a:gd name="connsiteY212" fmla="*/ 2045197 h 2323145"/>
              <a:gd name="connsiteX213" fmla="*/ 2273666 w 11269336"/>
              <a:gd name="connsiteY213" fmla="*/ 2048710 h 2323145"/>
              <a:gd name="connsiteX214" fmla="*/ 2270719 w 11269336"/>
              <a:gd name="connsiteY214" fmla="*/ 2052702 h 2323145"/>
              <a:gd name="connsiteX215" fmla="*/ 2253080 w 11269336"/>
              <a:gd name="connsiteY215" fmla="*/ 2056363 h 2323145"/>
              <a:gd name="connsiteX216" fmla="*/ 2250906 w 11269336"/>
              <a:gd name="connsiteY216" fmla="*/ 2055654 h 2323145"/>
              <a:gd name="connsiteX217" fmla="*/ 2236905 w 11269336"/>
              <a:gd name="connsiteY217" fmla="*/ 2062882 h 2323145"/>
              <a:gd name="connsiteX218" fmla="*/ 2225830 w 11269336"/>
              <a:gd name="connsiteY218" fmla="*/ 2074027 h 2323145"/>
              <a:gd name="connsiteX219" fmla="*/ 2073776 w 11269336"/>
              <a:gd name="connsiteY219" fmla="*/ 2089244 h 2323145"/>
              <a:gd name="connsiteX220" fmla="*/ 1948256 w 11269336"/>
              <a:gd name="connsiteY220" fmla="*/ 2146616 h 2323145"/>
              <a:gd name="connsiteX221" fmla="*/ 1865582 w 11269336"/>
              <a:gd name="connsiteY221" fmla="*/ 2153738 h 2323145"/>
              <a:gd name="connsiteX222" fmla="*/ 1835210 w 11269336"/>
              <a:gd name="connsiteY222" fmla="*/ 2134244 h 2323145"/>
              <a:gd name="connsiteX223" fmla="*/ 1632661 w 11269336"/>
              <a:gd name="connsiteY223" fmla="*/ 2173882 h 2323145"/>
              <a:gd name="connsiteX224" fmla="*/ 1579590 w 11269336"/>
              <a:gd name="connsiteY224" fmla="*/ 2173680 h 2323145"/>
              <a:gd name="connsiteX225" fmla="*/ 1535601 w 11269336"/>
              <a:gd name="connsiteY225" fmla="*/ 2194590 h 2323145"/>
              <a:gd name="connsiteX226" fmla="*/ 1515594 w 11269336"/>
              <a:gd name="connsiteY226" fmla="*/ 2189622 h 2323145"/>
              <a:gd name="connsiteX227" fmla="*/ 1512113 w 11269336"/>
              <a:gd name="connsiteY227" fmla="*/ 2188534 h 2323145"/>
              <a:gd name="connsiteX228" fmla="*/ 1498838 w 11269336"/>
              <a:gd name="connsiteY228" fmla="*/ 2189213 h 2323145"/>
              <a:gd name="connsiteX229" fmla="*/ 1494279 w 11269336"/>
              <a:gd name="connsiteY229" fmla="*/ 2183112 h 2323145"/>
              <a:gd name="connsiteX230" fmla="*/ 1473714 w 11269336"/>
              <a:gd name="connsiteY230" fmla="*/ 2179625 h 2323145"/>
              <a:gd name="connsiteX231" fmla="*/ 1449503 w 11269336"/>
              <a:gd name="connsiteY231" fmla="*/ 2182633 h 2323145"/>
              <a:gd name="connsiteX232" fmla="*/ 1266687 w 11269336"/>
              <a:gd name="connsiteY232" fmla="*/ 2212688 h 2323145"/>
              <a:gd name="connsiteX233" fmla="*/ 1239614 w 11269336"/>
              <a:gd name="connsiteY233" fmla="*/ 2209727 h 2323145"/>
              <a:gd name="connsiteX234" fmla="*/ 1202436 w 11269336"/>
              <a:gd name="connsiteY234" fmla="*/ 2209817 h 2323145"/>
              <a:gd name="connsiteX235" fmla="*/ 1136097 w 11269336"/>
              <a:gd name="connsiteY235" fmla="*/ 2205112 h 2323145"/>
              <a:gd name="connsiteX236" fmla="*/ 988232 w 11269336"/>
              <a:gd name="connsiteY236" fmla="*/ 2235635 h 2323145"/>
              <a:gd name="connsiteX237" fmla="*/ 981959 w 11269336"/>
              <a:gd name="connsiteY237" fmla="*/ 2231607 h 2323145"/>
              <a:gd name="connsiteX238" fmla="*/ 938600 w 11269336"/>
              <a:gd name="connsiteY238" fmla="*/ 2238113 h 2323145"/>
              <a:gd name="connsiteX239" fmla="*/ 791788 w 11269336"/>
              <a:gd name="connsiteY239" fmla="*/ 2293224 h 2323145"/>
              <a:gd name="connsiteX240" fmla="*/ 706914 w 11269336"/>
              <a:gd name="connsiteY240" fmla="*/ 2305046 h 2323145"/>
              <a:gd name="connsiteX241" fmla="*/ 675971 w 11269336"/>
              <a:gd name="connsiteY241" fmla="*/ 2304030 h 2323145"/>
              <a:gd name="connsiteX242" fmla="*/ 624180 w 11269336"/>
              <a:gd name="connsiteY242" fmla="*/ 2302650 h 2323145"/>
              <a:gd name="connsiteX243" fmla="*/ 583453 w 11269336"/>
              <a:gd name="connsiteY243" fmla="*/ 2288788 h 2323145"/>
              <a:gd name="connsiteX244" fmla="*/ 540946 w 11269336"/>
              <a:gd name="connsiteY244" fmla="*/ 2292721 h 2323145"/>
              <a:gd name="connsiteX245" fmla="*/ 533680 w 11269336"/>
              <a:gd name="connsiteY245" fmla="*/ 2310233 h 2323145"/>
              <a:gd name="connsiteX246" fmla="*/ 487366 w 11269336"/>
              <a:gd name="connsiteY246" fmla="*/ 2309053 h 2323145"/>
              <a:gd name="connsiteX247" fmla="*/ 416820 w 11269336"/>
              <a:gd name="connsiteY247" fmla="*/ 2305443 h 2323145"/>
              <a:gd name="connsiteX248" fmla="*/ 376805 w 11269336"/>
              <a:gd name="connsiteY248" fmla="*/ 2307647 h 2323145"/>
              <a:gd name="connsiteX249" fmla="*/ 266777 w 11269336"/>
              <a:gd name="connsiteY249" fmla="*/ 2309012 h 2323145"/>
              <a:gd name="connsiteX250" fmla="*/ 156013 w 11269336"/>
              <a:gd name="connsiteY250" fmla="*/ 2306832 h 2323145"/>
              <a:gd name="connsiteX251" fmla="*/ 87258 w 11269336"/>
              <a:gd name="connsiteY251" fmla="*/ 2285511 h 2323145"/>
              <a:gd name="connsiteX252" fmla="*/ 23798 w 11269336"/>
              <a:gd name="connsiteY252" fmla="*/ 2281822 h 2323145"/>
              <a:gd name="connsiteX253" fmla="*/ 0 w 11269336"/>
              <a:gd name="connsiteY253" fmla="*/ 2285369 h 2323145"/>
              <a:gd name="connsiteX254" fmla="*/ 0 w 11269336"/>
              <a:gd name="connsiteY254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67257 w 11269336"/>
              <a:gd name="connsiteY142" fmla="*/ 2196121 h 2323145"/>
              <a:gd name="connsiteX143" fmla="*/ 4405765 w 11269336"/>
              <a:gd name="connsiteY143" fmla="*/ 2199902 h 2323145"/>
              <a:gd name="connsiteX144" fmla="*/ 4401354 w 11269336"/>
              <a:gd name="connsiteY144" fmla="*/ 2194745 h 2323145"/>
              <a:gd name="connsiteX145" fmla="*/ 4366646 w 11269336"/>
              <a:gd name="connsiteY145" fmla="*/ 2198564 h 2323145"/>
              <a:gd name="connsiteX146" fmla="*/ 4354009 w 11269336"/>
              <a:gd name="connsiteY146" fmla="*/ 2204984 h 2323145"/>
              <a:gd name="connsiteX147" fmla="*/ 4348284 w 11269336"/>
              <a:gd name="connsiteY147" fmla="*/ 2205270 h 2323145"/>
              <a:gd name="connsiteX148" fmla="*/ 4333906 w 11269336"/>
              <a:gd name="connsiteY148" fmla="*/ 2205251 h 2323145"/>
              <a:gd name="connsiteX149" fmla="*/ 4308819 w 11269336"/>
              <a:gd name="connsiteY149" fmla="*/ 2203822 h 2323145"/>
              <a:gd name="connsiteX150" fmla="*/ 4301210 w 11269336"/>
              <a:gd name="connsiteY150" fmla="*/ 2204456 h 2323145"/>
              <a:gd name="connsiteX151" fmla="*/ 4283095 w 11269336"/>
              <a:gd name="connsiteY151" fmla="*/ 2198177 h 2323145"/>
              <a:gd name="connsiteX152" fmla="*/ 4250119 w 11269336"/>
              <a:gd name="connsiteY152" fmla="*/ 2196342 h 2323145"/>
              <a:gd name="connsiteX153" fmla="*/ 4189203 w 11269336"/>
              <a:gd name="connsiteY153" fmla="*/ 2178994 h 2323145"/>
              <a:gd name="connsiteX154" fmla="*/ 4154035 w 11269336"/>
              <a:gd name="connsiteY154" fmla="*/ 2171950 h 2323145"/>
              <a:gd name="connsiteX155" fmla="*/ 4129569 w 11269336"/>
              <a:gd name="connsiteY155" fmla="*/ 2163850 h 2323145"/>
              <a:gd name="connsiteX156" fmla="*/ 4061250 w 11269336"/>
              <a:gd name="connsiteY156" fmla="*/ 2159236 h 2323145"/>
              <a:gd name="connsiteX157" fmla="*/ 3945480 w 11269336"/>
              <a:gd name="connsiteY157" fmla="*/ 2158279 h 2323145"/>
              <a:gd name="connsiteX158" fmla="*/ 3921468 w 11269336"/>
              <a:gd name="connsiteY158" fmla="*/ 2156588 h 2323145"/>
              <a:gd name="connsiteX159" fmla="*/ 3903348 w 11269336"/>
              <a:gd name="connsiteY159" fmla="*/ 2149220 h 2323145"/>
              <a:gd name="connsiteX160" fmla="*/ 3901342 w 11269336"/>
              <a:gd name="connsiteY160" fmla="*/ 2142355 h 2323145"/>
              <a:gd name="connsiteX161" fmla="*/ 3888539 w 11269336"/>
              <a:gd name="connsiteY161" fmla="*/ 2140476 h 2323145"/>
              <a:gd name="connsiteX162" fmla="*/ 3885662 w 11269336"/>
              <a:gd name="connsiteY162" fmla="*/ 2138740 h 2323145"/>
              <a:gd name="connsiteX163" fmla="*/ 3868627 w 11269336"/>
              <a:gd name="connsiteY163" fmla="*/ 2130023 h 2323145"/>
              <a:gd name="connsiteX164" fmla="*/ 3819177 w 11269336"/>
              <a:gd name="connsiteY164" fmla="*/ 2142111 h 2323145"/>
              <a:gd name="connsiteX165" fmla="*/ 3769100 w 11269336"/>
              <a:gd name="connsiteY165" fmla="*/ 2131731 h 2323145"/>
              <a:gd name="connsiteX166" fmla="*/ 3562752 w 11269336"/>
              <a:gd name="connsiteY166" fmla="*/ 2131785 h 2323145"/>
              <a:gd name="connsiteX167" fmla="*/ 3541402 w 11269336"/>
              <a:gd name="connsiteY167" fmla="*/ 2106821 h 2323145"/>
              <a:gd name="connsiteX168" fmla="*/ 3365341 w 11269336"/>
              <a:gd name="connsiteY168" fmla="*/ 2077638 h 2323145"/>
              <a:gd name="connsiteX169" fmla="*/ 3170922 w 11269336"/>
              <a:gd name="connsiteY169" fmla="*/ 2115957 h 2323145"/>
              <a:gd name="connsiteX170" fmla="*/ 3156256 w 11269336"/>
              <a:gd name="connsiteY170" fmla="*/ 2124773 h 2323145"/>
              <a:gd name="connsiteX171" fmla="*/ 3140298 w 11269336"/>
              <a:gd name="connsiteY171" fmla="*/ 2129182 h 2323145"/>
              <a:gd name="connsiteX172" fmla="*/ 3138514 w 11269336"/>
              <a:gd name="connsiteY172" fmla="*/ 2128069 h 2323145"/>
              <a:gd name="connsiteX173" fmla="*/ 3120467 w 11269336"/>
              <a:gd name="connsiteY173" fmla="*/ 2128281 h 2323145"/>
              <a:gd name="connsiteX174" fmla="*/ 3116175 w 11269336"/>
              <a:gd name="connsiteY174" fmla="*/ 2131633 h 2323145"/>
              <a:gd name="connsiteX175" fmla="*/ 3103685 w 11269336"/>
              <a:gd name="connsiteY175" fmla="*/ 2132814 h 2323145"/>
              <a:gd name="connsiteX176" fmla="*/ 3078794 w 11269336"/>
              <a:gd name="connsiteY176" fmla="*/ 2137935 h 2323145"/>
              <a:gd name="connsiteX177" fmla="*/ 3074407 w 11269336"/>
              <a:gd name="connsiteY177" fmla="*/ 2136274 h 2323145"/>
              <a:gd name="connsiteX178" fmla="*/ 3037285 w 11269336"/>
              <a:gd name="connsiteY178" fmla="*/ 2139919 h 2323145"/>
              <a:gd name="connsiteX179" fmla="*/ 3036901 w 11269336"/>
              <a:gd name="connsiteY179" fmla="*/ 2138726 h 2323145"/>
              <a:gd name="connsiteX180" fmla="*/ 3026996 w 11269336"/>
              <a:gd name="connsiteY180" fmla="*/ 2134322 h 2323145"/>
              <a:gd name="connsiteX181" fmla="*/ 3007772 w 11269336"/>
              <a:gd name="connsiteY181" fmla="*/ 2128742 h 2323145"/>
              <a:gd name="connsiteX182" fmla="*/ 2965030 w 11269336"/>
              <a:gd name="connsiteY182" fmla="*/ 2100494 h 2323145"/>
              <a:gd name="connsiteX183" fmla="*/ 2926342 w 11269336"/>
              <a:gd name="connsiteY183" fmla="*/ 2104155 h 2323145"/>
              <a:gd name="connsiteX184" fmla="*/ 2918608 w 11269336"/>
              <a:gd name="connsiteY184" fmla="*/ 2104215 h 2323145"/>
              <a:gd name="connsiteX185" fmla="*/ 2918475 w 11269336"/>
              <a:gd name="connsiteY185" fmla="*/ 2103937 h 2323145"/>
              <a:gd name="connsiteX186" fmla="*/ 2910360 w 11269336"/>
              <a:gd name="connsiteY186" fmla="*/ 2103444 h 2323145"/>
              <a:gd name="connsiteX187" fmla="*/ 2904507 w 11269336"/>
              <a:gd name="connsiteY187" fmla="*/ 2104326 h 2323145"/>
              <a:gd name="connsiteX188" fmla="*/ 2889503 w 11269336"/>
              <a:gd name="connsiteY188" fmla="*/ 2104443 h 2323145"/>
              <a:gd name="connsiteX189" fmla="*/ 2884480 w 11269336"/>
              <a:gd name="connsiteY189" fmla="*/ 2102626 h 2323145"/>
              <a:gd name="connsiteX190" fmla="*/ 2882689 w 11269336"/>
              <a:gd name="connsiteY190" fmla="*/ 2099228 h 2323145"/>
              <a:gd name="connsiteX191" fmla="*/ 2881291 w 11269336"/>
              <a:gd name="connsiteY191" fmla="*/ 2099618 h 2323145"/>
              <a:gd name="connsiteX192" fmla="*/ 2853979 w 11269336"/>
              <a:gd name="connsiteY192" fmla="*/ 2090388 h 2323145"/>
              <a:gd name="connsiteX193" fmla="*/ 2791790 w 11269336"/>
              <a:gd name="connsiteY193" fmla="*/ 2080332 h 2323145"/>
              <a:gd name="connsiteX194" fmla="*/ 2755844 w 11269336"/>
              <a:gd name="connsiteY194" fmla="*/ 2078874 h 2323145"/>
              <a:gd name="connsiteX195" fmla="*/ 2657742 w 11269336"/>
              <a:gd name="connsiteY195" fmla="*/ 2070179 h 2323145"/>
              <a:gd name="connsiteX196" fmla="*/ 2559549 w 11269336"/>
              <a:gd name="connsiteY196" fmla="*/ 2057873 h 2323145"/>
              <a:gd name="connsiteX197" fmla="*/ 2512054 w 11269336"/>
              <a:gd name="connsiteY197" fmla="*/ 2031671 h 2323145"/>
              <a:gd name="connsiteX198" fmla="*/ 2506437 w 11269336"/>
              <a:gd name="connsiteY198" fmla="*/ 2030918 h 2323145"/>
              <a:gd name="connsiteX199" fmla="*/ 2491752 w 11269336"/>
              <a:gd name="connsiteY199" fmla="*/ 2033906 h 2323145"/>
              <a:gd name="connsiteX200" fmla="*/ 2486338 w 11269336"/>
              <a:gd name="connsiteY200" fmla="*/ 2035862 h 2323145"/>
              <a:gd name="connsiteX201" fmla="*/ 2478186 w 11269336"/>
              <a:gd name="connsiteY201" fmla="*/ 2036953 h 2323145"/>
              <a:gd name="connsiteX202" fmla="*/ 2477950 w 11269336"/>
              <a:gd name="connsiteY202" fmla="*/ 2036715 h 2323145"/>
              <a:gd name="connsiteX203" fmla="*/ 2470381 w 11269336"/>
              <a:gd name="connsiteY203" fmla="*/ 2038256 h 2323145"/>
              <a:gd name="connsiteX204" fmla="*/ 2433781 w 11269336"/>
              <a:gd name="connsiteY204" fmla="*/ 2049140 h 2323145"/>
              <a:gd name="connsiteX205" fmla="*/ 2381172 w 11269336"/>
              <a:gd name="connsiteY205" fmla="*/ 2030645 h 2323145"/>
              <a:gd name="connsiteX206" fmla="*/ 2360198 w 11269336"/>
              <a:gd name="connsiteY206" fmla="*/ 2029059 h 2323145"/>
              <a:gd name="connsiteX207" fmla="*/ 2348815 w 11269336"/>
              <a:gd name="connsiteY207" fmla="*/ 2026798 h 2323145"/>
              <a:gd name="connsiteX208" fmla="*/ 2347988 w 11269336"/>
              <a:gd name="connsiteY208" fmla="*/ 2025745 h 2323145"/>
              <a:gd name="connsiteX209" fmla="*/ 2312920 w 11269336"/>
              <a:gd name="connsiteY209" fmla="*/ 2036311 h 2323145"/>
              <a:gd name="connsiteX210" fmla="*/ 2307986 w 11269336"/>
              <a:gd name="connsiteY210" fmla="*/ 2035583 h 2323145"/>
              <a:gd name="connsiteX211" fmla="*/ 2285481 w 11269336"/>
              <a:gd name="connsiteY211" fmla="*/ 2045197 h 2323145"/>
              <a:gd name="connsiteX212" fmla="*/ 2273666 w 11269336"/>
              <a:gd name="connsiteY212" fmla="*/ 2048710 h 2323145"/>
              <a:gd name="connsiteX213" fmla="*/ 2270719 w 11269336"/>
              <a:gd name="connsiteY213" fmla="*/ 2052702 h 2323145"/>
              <a:gd name="connsiteX214" fmla="*/ 2253080 w 11269336"/>
              <a:gd name="connsiteY214" fmla="*/ 2056363 h 2323145"/>
              <a:gd name="connsiteX215" fmla="*/ 2250906 w 11269336"/>
              <a:gd name="connsiteY215" fmla="*/ 2055654 h 2323145"/>
              <a:gd name="connsiteX216" fmla="*/ 2236905 w 11269336"/>
              <a:gd name="connsiteY216" fmla="*/ 2062882 h 2323145"/>
              <a:gd name="connsiteX217" fmla="*/ 2225830 w 11269336"/>
              <a:gd name="connsiteY217" fmla="*/ 2074027 h 2323145"/>
              <a:gd name="connsiteX218" fmla="*/ 2073776 w 11269336"/>
              <a:gd name="connsiteY218" fmla="*/ 2089244 h 2323145"/>
              <a:gd name="connsiteX219" fmla="*/ 1948256 w 11269336"/>
              <a:gd name="connsiteY219" fmla="*/ 2146616 h 2323145"/>
              <a:gd name="connsiteX220" fmla="*/ 1865582 w 11269336"/>
              <a:gd name="connsiteY220" fmla="*/ 2153738 h 2323145"/>
              <a:gd name="connsiteX221" fmla="*/ 1835210 w 11269336"/>
              <a:gd name="connsiteY221" fmla="*/ 2134244 h 2323145"/>
              <a:gd name="connsiteX222" fmla="*/ 1632661 w 11269336"/>
              <a:gd name="connsiteY222" fmla="*/ 2173882 h 2323145"/>
              <a:gd name="connsiteX223" fmla="*/ 1579590 w 11269336"/>
              <a:gd name="connsiteY223" fmla="*/ 2173680 h 2323145"/>
              <a:gd name="connsiteX224" fmla="*/ 1535601 w 11269336"/>
              <a:gd name="connsiteY224" fmla="*/ 2194590 h 2323145"/>
              <a:gd name="connsiteX225" fmla="*/ 1515594 w 11269336"/>
              <a:gd name="connsiteY225" fmla="*/ 2189622 h 2323145"/>
              <a:gd name="connsiteX226" fmla="*/ 1512113 w 11269336"/>
              <a:gd name="connsiteY226" fmla="*/ 2188534 h 2323145"/>
              <a:gd name="connsiteX227" fmla="*/ 1498838 w 11269336"/>
              <a:gd name="connsiteY227" fmla="*/ 2189213 h 2323145"/>
              <a:gd name="connsiteX228" fmla="*/ 1494279 w 11269336"/>
              <a:gd name="connsiteY228" fmla="*/ 2183112 h 2323145"/>
              <a:gd name="connsiteX229" fmla="*/ 1473714 w 11269336"/>
              <a:gd name="connsiteY229" fmla="*/ 2179625 h 2323145"/>
              <a:gd name="connsiteX230" fmla="*/ 1449503 w 11269336"/>
              <a:gd name="connsiteY230" fmla="*/ 2182633 h 2323145"/>
              <a:gd name="connsiteX231" fmla="*/ 1266687 w 11269336"/>
              <a:gd name="connsiteY231" fmla="*/ 2212688 h 2323145"/>
              <a:gd name="connsiteX232" fmla="*/ 1239614 w 11269336"/>
              <a:gd name="connsiteY232" fmla="*/ 2209727 h 2323145"/>
              <a:gd name="connsiteX233" fmla="*/ 1202436 w 11269336"/>
              <a:gd name="connsiteY233" fmla="*/ 2209817 h 2323145"/>
              <a:gd name="connsiteX234" fmla="*/ 1136097 w 11269336"/>
              <a:gd name="connsiteY234" fmla="*/ 2205112 h 2323145"/>
              <a:gd name="connsiteX235" fmla="*/ 988232 w 11269336"/>
              <a:gd name="connsiteY235" fmla="*/ 2235635 h 2323145"/>
              <a:gd name="connsiteX236" fmla="*/ 981959 w 11269336"/>
              <a:gd name="connsiteY236" fmla="*/ 2231607 h 2323145"/>
              <a:gd name="connsiteX237" fmla="*/ 938600 w 11269336"/>
              <a:gd name="connsiteY237" fmla="*/ 2238113 h 2323145"/>
              <a:gd name="connsiteX238" fmla="*/ 791788 w 11269336"/>
              <a:gd name="connsiteY238" fmla="*/ 2293224 h 2323145"/>
              <a:gd name="connsiteX239" fmla="*/ 706914 w 11269336"/>
              <a:gd name="connsiteY239" fmla="*/ 2305046 h 2323145"/>
              <a:gd name="connsiteX240" fmla="*/ 675971 w 11269336"/>
              <a:gd name="connsiteY240" fmla="*/ 2304030 h 2323145"/>
              <a:gd name="connsiteX241" fmla="*/ 624180 w 11269336"/>
              <a:gd name="connsiteY241" fmla="*/ 2302650 h 2323145"/>
              <a:gd name="connsiteX242" fmla="*/ 583453 w 11269336"/>
              <a:gd name="connsiteY242" fmla="*/ 2288788 h 2323145"/>
              <a:gd name="connsiteX243" fmla="*/ 540946 w 11269336"/>
              <a:gd name="connsiteY243" fmla="*/ 2292721 h 2323145"/>
              <a:gd name="connsiteX244" fmla="*/ 533680 w 11269336"/>
              <a:gd name="connsiteY244" fmla="*/ 2310233 h 2323145"/>
              <a:gd name="connsiteX245" fmla="*/ 487366 w 11269336"/>
              <a:gd name="connsiteY245" fmla="*/ 2309053 h 2323145"/>
              <a:gd name="connsiteX246" fmla="*/ 416820 w 11269336"/>
              <a:gd name="connsiteY246" fmla="*/ 2305443 h 2323145"/>
              <a:gd name="connsiteX247" fmla="*/ 376805 w 11269336"/>
              <a:gd name="connsiteY247" fmla="*/ 2307647 h 2323145"/>
              <a:gd name="connsiteX248" fmla="*/ 266777 w 11269336"/>
              <a:gd name="connsiteY248" fmla="*/ 2309012 h 2323145"/>
              <a:gd name="connsiteX249" fmla="*/ 156013 w 11269336"/>
              <a:gd name="connsiteY249" fmla="*/ 2306832 h 2323145"/>
              <a:gd name="connsiteX250" fmla="*/ 87258 w 11269336"/>
              <a:gd name="connsiteY250" fmla="*/ 2285511 h 2323145"/>
              <a:gd name="connsiteX251" fmla="*/ 23798 w 11269336"/>
              <a:gd name="connsiteY251" fmla="*/ 2281822 h 2323145"/>
              <a:gd name="connsiteX252" fmla="*/ 0 w 11269336"/>
              <a:gd name="connsiteY252" fmla="*/ 2285369 h 2323145"/>
              <a:gd name="connsiteX253" fmla="*/ 0 w 11269336"/>
              <a:gd name="connsiteY25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467257 w 11269336"/>
              <a:gd name="connsiteY141" fmla="*/ 2196121 h 2323145"/>
              <a:gd name="connsiteX142" fmla="*/ 4405765 w 11269336"/>
              <a:gd name="connsiteY142" fmla="*/ 2199902 h 2323145"/>
              <a:gd name="connsiteX143" fmla="*/ 4401354 w 11269336"/>
              <a:gd name="connsiteY143" fmla="*/ 2194745 h 2323145"/>
              <a:gd name="connsiteX144" fmla="*/ 4366646 w 11269336"/>
              <a:gd name="connsiteY144" fmla="*/ 2198564 h 2323145"/>
              <a:gd name="connsiteX145" fmla="*/ 4354009 w 11269336"/>
              <a:gd name="connsiteY145" fmla="*/ 2204984 h 2323145"/>
              <a:gd name="connsiteX146" fmla="*/ 4348284 w 11269336"/>
              <a:gd name="connsiteY146" fmla="*/ 2205270 h 2323145"/>
              <a:gd name="connsiteX147" fmla="*/ 4333906 w 11269336"/>
              <a:gd name="connsiteY147" fmla="*/ 2205251 h 2323145"/>
              <a:gd name="connsiteX148" fmla="*/ 4308819 w 11269336"/>
              <a:gd name="connsiteY148" fmla="*/ 2203822 h 2323145"/>
              <a:gd name="connsiteX149" fmla="*/ 4301210 w 11269336"/>
              <a:gd name="connsiteY149" fmla="*/ 2204456 h 2323145"/>
              <a:gd name="connsiteX150" fmla="*/ 4283095 w 11269336"/>
              <a:gd name="connsiteY150" fmla="*/ 2198177 h 2323145"/>
              <a:gd name="connsiteX151" fmla="*/ 4250119 w 11269336"/>
              <a:gd name="connsiteY151" fmla="*/ 2196342 h 2323145"/>
              <a:gd name="connsiteX152" fmla="*/ 4189203 w 11269336"/>
              <a:gd name="connsiteY152" fmla="*/ 2178994 h 2323145"/>
              <a:gd name="connsiteX153" fmla="*/ 4154035 w 11269336"/>
              <a:gd name="connsiteY153" fmla="*/ 2171950 h 2323145"/>
              <a:gd name="connsiteX154" fmla="*/ 4129569 w 11269336"/>
              <a:gd name="connsiteY154" fmla="*/ 2163850 h 2323145"/>
              <a:gd name="connsiteX155" fmla="*/ 4061250 w 11269336"/>
              <a:gd name="connsiteY155" fmla="*/ 2159236 h 2323145"/>
              <a:gd name="connsiteX156" fmla="*/ 3945480 w 11269336"/>
              <a:gd name="connsiteY156" fmla="*/ 2158279 h 2323145"/>
              <a:gd name="connsiteX157" fmla="*/ 3921468 w 11269336"/>
              <a:gd name="connsiteY157" fmla="*/ 2156588 h 2323145"/>
              <a:gd name="connsiteX158" fmla="*/ 3903348 w 11269336"/>
              <a:gd name="connsiteY158" fmla="*/ 2149220 h 2323145"/>
              <a:gd name="connsiteX159" fmla="*/ 3901342 w 11269336"/>
              <a:gd name="connsiteY159" fmla="*/ 2142355 h 2323145"/>
              <a:gd name="connsiteX160" fmla="*/ 3888539 w 11269336"/>
              <a:gd name="connsiteY160" fmla="*/ 2140476 h 2323145"/>
              <a:gd name="connsiteX161" fmla="*/ 3885662 w 11269336"/>
              <a:gd name="connsiteY161" fmla="*/ 2138740 h 2323145"/>
              <a:gd name="connsiteX162" fmla="*/ 3868627 w 11269336"/>
              <a:gd name="connsiteY162" fmla="*/ 2130023 h 2323145"/>
              <a:gd name="connsiteX163" fmla="*/ 3819177 w 11269336"/>
              <a:gd name="connsiteY163" fmla="*/ 2142111 h 2323145"/>
              <a:gd name="connsiteX164" fmla="*/ 3769100 w 11269336"/>
              <a:gd name="connsiteY164" fmla="*/ 2131731 h 2323145"/>
              <a:gd name="connsiteX165" fmla="*/ 3562752 w 11269336"/>
              <a:gd name="connsiteY165" fmla="*/ 2131785 h 2323145"/>
              <a:gd name="connsiteX166" fmla="*/ 3541402 w 11269336"/>
              <a:gd name="connsiteY166" fmla="*/ 2106821 h 2323145"/>
              <a:gd name="connsiteX167" fmla="*/ 3365341 w 11269336"/>
              <a:gd name="connsiteY167" fmla="*/ 2077638 h 2323145"/>
              <a:gd name="connsiteX168" fmla="*/ 3170922 w 11269336"/>
              <a:gd name="connsiteY168" fmla="*/ 2115957 h 2323145"/>
              <a:gd name="connsiteX169" fmla="*/ 3156256 w 11269336"/>
              <a:gd name="connsiteY169" fmla="*/ 2124773 h 2323145"/>
              <a:gd name="connsiteX170" fmla="*/ 3140298 w 11269336"/>
              <a:gd name="connsiteY170" fmla="*/ 2129182 h 2323145"/>
              <a:gd name="connsiteX171" fmla="*/ 3138514 w 11269336"/>
              <a:gd name="connsiteY171" fmla="*/ 2128069 h 2323145"/>
              <a:gd name="connsiteX172" fmla="*/ 3120467 w 11269336"/>
              <a:gd name="connsiteY172" fmla="*/ 2128281 h 2323145"/>
              <a:gd name="connsiteX173" fmla="*/ 3116175 w 11269336"/>
              <a:gd name="connsiteY173" fmla="*/ 2131633 h 2323145"/>
              <a:gd name="connsiteX174" fmla="*/ 3103685 w 11269336"/>
              <a:gd name="connsiteY174" fmla="*/ 2132814 h 2323145"/>
              <a:gd name="connsiteX175" fmla="*/ 3078794 w 11269336"/>
              <a:gd name="connsiteY175" fmla="*/ 2137935 h 2323145"/>
              <a:gd name="connsiteX176" fmla="*/ 3074407 w 11269336"/>
              <a:gd name="connsiteY176" fmla="*/ 2136274 h 2323145"/>
              <a:gd name="connsiteX177" fmla="*/ 3037285 w 11269336"/>
              <a:gd name="connsiteY177" fmla="*/ 2139919 h 2323145"/>
              <a:gd name="connsiteX178" fmla="*/ 3036901 w 11269336"/>
              <a:gd name="connsiteY178" fmla="*/ 2138726 h 2323145"/>
              <a:gd name="connsiteX179" fmla="*/ 3026996 w 11269336"/>
              <a:gd name="connsiteY179" fmla="*/ 2134322 h 2323145"/>
              <a:gd name="connsiteX180" fmla="*/ 3007772 w 11269336"/>
              <a:gd name="connsiteY180" fmla="*/ 2128742 h 2323145"/>
              <a:gd name="connsiteX181" fmla="*/ 2965030 w 11269336"/>
              <a:gd name="connsiteY181" fmla="*/ 2100494 h 2323145"/>
              <a:gd name="connsiteX182" fmla="*/ 2926342 w 11269336"/>
              <a:gd name="connsiteY182" fmla="*/ 2104155 h 2323145"/>
              <a:gd name="connsiteX183" fmla="*/ 2918608 w 11269336"/>
              <a:gd name="connsiteY183" fmla="*/ 2104215 h 2323145"/>
              <a:gd name="connsiteX184" fmla="*/ 2918475 w 11269336"/>
              <a:gd name="connsiteY184" fmla="*/ 2103937 h 2323145"/>
              <a:gd name="connsiteX185" fmla="*/ 2910360 w 11269336"/>
              <a:gd name="connsiteY185" fmla="*/ 2103444 h 2323145"/>
              <a:gd name="connsiteX186" fmla="*/ 2904507 w 11269336"/>
              <a:gd name="connsiteY186" fmla="*/ 2104326 h 2323145"/>
              <a:gd name="connsiteX187" fmla="*/ 2889503 w 11269336"/>
              <a:gd name="connsiteY187" fmla="*/ 2104443 h 2323145"/>
              <a:gd name="connsiteX188" fmla="*/ 2884480 w 11269336"/>
              <a:gd name="connsiteY188" fmla="*/ 2102626 h 2323145"/>
              <a:gd name="connsiteX189" fmla="*/ 2882689 w 11269336"/>
              <a:gd name="connsiteY189" fmla="*/ 2099228 h 2323145"/>
              <a:gd name="connsiteX190" fmla="*/ 2881291 w 11269336"/>
              <a:gd name="connsiteY190" fmla="*/ 2099618 h 2323145"/>
              <a:gd name="connsiteX191" fmla="*/ 2853979 w 11269336"/>
              <a:gd name="connsiteY191" fmla="*/ 2090388 h 2323145"/>
              <a:gd name="connsiteX192" fmla="*/ 2791790 w 11269336"/>
              <a:gd name="connsiteY192" fmla="*/ 2080332 h 2323145"/>
              <a:gd name="connsiteX193" fmla="*/ 2755844 w 11269336"/>
              <a:gd name="connsiteY193" fmla="*/ 2078874 h 2323145"/>
              <a:gd name="connsiteX194" fmla="*/ 2657742 w 11269336"/>
              <a:gd name="connsiteY194" fmla="*/ 2070179 h 2323145"/>
              <a:gd name="connsiteX195" fmla="*/ 2559549 w 11269336"/>
              <a:gd name="connsiteY195" fmla="*/ 2057873 h 2323145"/>
              <a:gd name="connsiteX196" fmla="*/ 2512054 w 11269336"/>
              <a:gd name="connsiteY196" fmla="*/ 2031671 h 2323145"/>
              <a:gd name="connsiteX197" fmla="*/ 2506437 w 11269336"/>
              <a:gd name="connsiteY197" fmla="*/ 2030918 h 2323145"/>
              <a:gd name="connsiteX198" fmla="*/ 2491752 w 11269336"/>
              <a:gd name="connsiteY198" fmla="*/ 2033906 h 2323145"/>
              <a:gd name="connsiteX199" fmla="*/ 2486338 w 11269336"/>
              <a:gd name="connsiteY199" fmla="*/ 2035862 h 2323145"/>
              <a:gd name="connsiteX200" fmla="*/ 2478186 w 11269336"/>
              <a:gd name="connsiteY200" fmla="*/ 2036953 h 2323145"/>
              <a:gd name="connsiteX201" fmla="*/ 2477950 w 11269336"/>
              <a:gd name="connsiteY201" fmla="*/ 2036715 h 2323145"/>
              <a:gd name="connsiteX202" fmla="*/ 2470381 w 11269336"/>
              <a:gd name="connsiteY202" fmla="*/ 2038256 h 2323145"/>
              <a:gd name="connsiteX203" fmla="*/ 2433781 w 11269336"/>
              <a:gd name="connsiteY203" fmla="*/ 2049140 h 2323145"/>
              <a:gd name="connsiteX204" fmla="*/ 2381172 w 11269336"/>
              <a:gd name="connsiteY204" fmla="*/ 2030645 h 2323145"/>
              <a:gd name="connsiteX205" fmla="*/ 2360198 w 11269336"/>
              <a:gd name="connsiteY205" fmla="*/ 2029059 h 2323145"/>
              <a:gd name="connsiteX206" fmla="*/ 2348815 w 11269336"/>
              <a:gd name="connsiteY206" fmla="*/ 2026798 h 2323145"/>
              <a:gd name="connsiteX207" fmla="*/ 2347988 w 11269336"/>
              <a:gd name="connsiteY207" fmla="*/ 2025745 h 2323145"/>
              <a:gd name="connsiteX208" fmla="*/ 2312920 w 11269336"/>
              <a:gd name="connsiteY208" fmla="*/ 2036311 h 2323145"/>
              <a:gd name="connsiteX209" fmla="*/ 2307986 w 11269336"/>
              <a:gd name="connsiteY209" fmla="*/ 2035583 h 2323145"/>
              <a:gd name="connsiteX210" fmla="*/ 2285481 w 11269336"/>
              <a:gd name="connsiteY210" fmla="*/ 2045197 h 2323145"/>
              <a:gd name="connsiteX211" fmla="*/ 2273666 w 11269336"/>
              <a:gd name="connsiteY211" fmla="*/ 2048710 h 2323145"/>
              <a:gd name="connsiteX212" fmla="*/ 2270719 w 11269336"/>
              <a:gd name="connsiteY212" fmla="*/ 2052702 h 2323145"/>
              <a:gd name="connsiteX213" fmla="*/ 2253080 w 11269336"/>
              <a:gd name="connsiteY213" fmla="*/ 2056363 h 2323145"/>
              <a:gd name="connsiteX214" fmla="*/ 2250906 w 11269336"/>
              <a:gd name="connsiteY214" fmla="*/ 2055654 h 2323145"/>
              <a:gd name="connsiteX215" fmla="*/ 2236905 w 11269336"/>
              <a:gd name="connsiteY215" fmla="*/ 2062882 h 2323145"/>
              <a:gd name="connsiteX216" fmla="*/ 2225830 w 11269336"/>
              <a:gd name="connsiteY216" fmla="*/ 2074027 h 2323145"/>
              <a:gd name="connsiteX217" fmla="*/ 2073776 w 11269336"/>
              <a:gd name="connsiteY217" fmla="*/ 2089244 h 2323145"/>
              <a:gd name="connsiteX218" fmla="*/ 1948256 w 11269336"/>
              <a:gd name="connsiteY218" fmla="*/ 2146616 h 2323145"/>
              <a:gd name="connsiteX219" fmla="*/ 1865582 w 11269336"/>
              <a:gd name="connsiteY219" fmla="*/ 2153738 h 2323145"/>
              <a:gd name="connsiteX220" fmla="*/ 1835210 w 11269336"/>
              <a:gd name="connsiteY220" fmla="*/ 2134244 h 2323145"/>
              <a:gd name="connsiteX221" fmla="*/ 1632661 w 11269336"/>
              <a:gd name="connsiteY221" fmla="*/ 2173882 h 2323145"/>
              <a:gd name="connsiteX222" fmla="*/ 1579590 w 11269336"/>
              <a:gd name="connsiteY222" fmla="*/ 2173680 h 2323145"/>
              <a:gd name="connsiteX223" fmla="*/ 1535601 w 11269336"/>
              <a:gd name="connsiteY223" fmla="*/ 2194590 h 2323145"/>
              <a:gd name="connsiteX224" fmla="*/ 1515594 w 11269336"/>
              <a:gd name="connsiteY224" fmla="*/ 2189622 h 2323145"/>
              <a:gd name="connsiteX225" fmla="*/ 1512113 w 11269336"/>
              <a:gd name="connsiteY225" fmla="*/ 2188534 h 2323145"/>
              <a:gd name="connsiteX226" fmla="*/ 1498838 w 11269336"/>
              <a:gd name="connsiteY226" fmla="*/ 2189213 h 2323145"/>
              <a:gd name="connsiteX227" fmla="*/ 1494279 w 11269336"/>
              <a:gd name="connsiteY227" fmla="*/ 2183112 h 2323145"/>
              <a:gd name="connsiteX228" fmla="*/ 1473714 w 11269336"/>
              <a:gd name="connsiteY228" fmla="*/ 2179625 h 2323145"/>
              <a:gd name="connsiteX229" fmla="*/ 1449503 w 11269336"/>
              <a:gd name="connsiteY229" fmla="*/ 2182633 h 2323145"/>
              <a:gd name="connsiteX230" fmla="*/ 1266687 w 11269336"/>
              <a:gd name="connsiteY230" fmla="*/ 2212688 h 2323145"/>
              <a:gd name="connsiteX231" fmla="*/ 1239614 w 11269336"/>
              <a:gd name="connsiteY231" fmla="*/ 2209727 h 2323145"/>
              <a:gd name="connsiteX232" fmla="*/ 1202436 w 11269336"/>
              <a:gd name="connsiteY232" fmla="*/ 2209817 h 2323145"/>
              <a:gd name="connsiteX233" fmla="*/ 1136097 w 11269336"/>
              <a:gd name="connsiteY233" fmla="*/ 2205112 h 2323145"/>
              <a:gd name="connsiteX234" fmla="*/ 988232 w 11269336"/>
              <a:gd name="connsiteY234" fmla="*/ 2235635 h 2323145"/>
              <a:gd name="connsiteX235" fmla="*/ 981959 w 11269336"/>
              <a:gd name="connsiteY235" fmla="*/ 2231607 h 2323145"/>
              <a:gd name="connsiteX236" fmla="*/ 938600 w 11269336"/>
              <a:gd name="connsiteY236" fmla="*/ 2238113 h 2323145"/>
              <a:gd name="connsiteX237" fmla="*/ 791788 w 11269336"/>
              <a:gd name="connsiteY237" fmla="*/ 2293224 h 2323145"/>
              <a:gd name="connsiteX238" fmla="*/ 706914 w 11269336"/>
              <a:gd name="connsiteY238" fmla="*/ 2305046 h 2323145"/>
              <a:gd name="connsiteX239" fmla="*/ 675971 w 11269336"/>
              <a:gd name="connsiteY239" fmla="*/ 2304030 h 2323145"/>
              <a:gd name="connsiteX240" fmla="*/ 624180 w 11269336"/>
              <a:gd name="connsiteY240" fmla="*/ 2302650 h 2323145"/>
              <a:gd name="connsiteX241" fmla="*/ 583453 w 11269336"/>
              <a:gd name="connsiteY241" fmla="*/ 2288788 h 2323145"/>
              <a:gd name="connsiteX242" fmla="*/ 540946 w 11269336"/>
              <a:gd name="connsiteY242" fmla="*/ 2292721 h 2323145"/>
              <a:gd name="connsiteX243" fmla="*/ 533680 w 11269336"/>
              <a:gd name="connsiteY243" fmla="*/ 2310233 h 2323145"/>
              <a:gd name="connsiteX244" fmla="*/ 487366 w 11269336"/>
              <a:gd name="connsiteY244" fmla="*/ 2309053 h 2323145"/>
              <a:gd name="connsiteX245" fmla="*/ 416820 w 11269336"/>
              <a:gd name="connsiteY245" fmla="*/ 2305443 h 2323145"/>
              <a:gd name="connsiteX246" fmla="*/ 376805 w 11269336"/>
              <a:gd name="connsiteY246" fmla="*/ 2307647 h 2323145"/>
              <a:gd name="connsiteX247" fmla="*/ 266777 w 11269336"/>
              <a:gd name="connsiteY247" fmla="*/ 2309012 h 2323145"/>
              <a:gd name="connsiteX248" fmla="*/ 156013 w 11269336"/>
              <a:gd name="connsiteY248" fmla="*/ 2306832 h 2323145"/>
              <a:gd name="connsiteX249" fmla="*/ 87258 w 11269336"/>
              <a:gd name="connsiteY249" fmla="*/ 2285511 h 2323145"/>
              <a:gd name="connsiteX250" fmla="*/ 23798 w 11269336"/>
              <a:gd name="connsiteY250" fmla="*/ 2281822 h 2323145"/>
              <a:gd name="connsiteX251" fmla="*/ 0 w 11269336"/>
              <a:gd name="connsiteY251" fmla="*/ 2285369 h 2323145"/>
              <a:gd name="connsiteX252" fmla="*/ 0 w 11269336"/>
              <a:gd name="connsiteY25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405765 w 11269336"/>
              <a:gd name="connsiteY141" fmla="*/ 2199902 h 2323145"/>
              <a:gd name="connsiteX142" fmla="*/ 4401354 w 11269336"/>
              <a:gd name="connsiteY142" fmla="*/ 2194745 h 2323145"/>
              <a:gd name="connsiteX143" fmla="*/ 4366646 w 11269336"/>
              <a:gd name="connsiteY143" fmla="*/ 2198564 h 2323145"/>
              <a:gd name="connsiteX144" fmla="*/ 4354009 w 11269336"/>
              <a:gd name="connsiteY144" fmla="*/ 2204984 h 2323145"/>
              <a:gd name="connsiteX145" fmla="*/ 4348284 w 11269336"/>
              <a:gd name="connsiteY145" fmla="*/ 2205270 h 2323145"/>
              <a:gd name="connsiteX146" fmla="*/ 4333906 w 11269336"/>
              <a:gd name="connsiteY146" fmla="*/ 2205251 h 2323145"/>
              <a:gd name="connsiteX147" fmla="*/ 4308819 w 11269336"/>
              <a:gd name="connsiteY147" fmla="*/ 2203822 h 2323145"/>
              <a:gd name="connsiteX148" fmla="*/ 4301210 w 11269336"/>
              <a:gd name="connsiteY148" fmla="*/ 2204456 h 2323145"/>
              <a:gd name="connsiteX149" fmla="*/ 4283095 w 11269336"/>
              <a:gd name="connsiteY149" fmla="*/ 2198177 h 2323145"/>
              <a:gd name="connsiteX150" fmla="*/ 4250119 w 11269336"/>
              <a:gd name="connsiteY150" fmla="*/ 2196342 h 2323145"/>
              <a:gd name="connsiteX151" fmla="*/ 4189203 w 11269336"/>
              <a:gd name="connsiteY151" fmla="*/ 2178994 h 2323145"/>
              <a:gd name="connsiteX152" fmla="*/ 4154035 w 11269336"/>
              <a:gd name="connsiteY152" fmla="*/ 2171950 h 2323145"/>
              <a:gd name="connsiteX153" fmla="*/ 4129569 w 11269336"/>
              <a:gd name="connsiteY153" fmla="*/ 2163850 h 2323145"/>
              <a:gd name="connsiteX154" fmla="*/ 4061250 w 11269336"/>
              <a:gd name="connsiteY154" fmla="*/ 2159236 h 2323145"/>
              <a:gd name="connsiteX155" fmla="*/ 3945480 w 11269336"/>
              <a:gd name="connsiteY155" fmla="*/ 2158279 h 2323145"/>
              <a:gd name="connsiteX156" fmla="*/ 3921468 w 11269336"/>
              <a:gd name="connsiteY156" fmla="*/ 2156588 h 2323145"/>
              <a:gd name="connsiteX157" fmla="*/ 3903348 w 11269336"/>
              <a:gd name="connsiteY157" fmla="*/ 2149220 h 2323145"/>
              <a:gd name="connsiteX158" fmla="*/ 3901342 w 11269336"/>
              <a:gd name="connsiteY158" fmla="*/ 2142355 h 2323145"/>
              <a:gd name="connsiteX159" fmla="*/ 3888539 w 11269336"/>
              <a:gd name="connsiteY159" fmla="*/ 2140476 h 2323145"/>
              <a:gd name="connsiteX160" fmla="*/ 3885662 w 11269336"/>
              <a:gd name="connsiteY160" fmla="*/ 2138740 h 2323145"/>
              <a:gd name="connsiteX161" fmla="*/ 3868627 w 11269336"/>
              <a:gd name="connsiteY161" fmla="*/ 2130023 h 2323145"/>
              <a:gd name="connsiteX162" fmla="*/ 3819177 w 11269336"/>
              <a:gd name="connsiteY162" fmla="*/ 2142111 h 2323145"/>
              <a:gd name="connsiteX163" fmla="*/ 3769100 w 11269336"/>
              <a:gd name="connsiteY163" fmla="*/ 2131731 h 2323145"/>
              <a:gd name="connsiteX164" fmla="*/ 3562752 w 11269336"/>
              <a:gd name="connsiteY164" fmla="*/ 2131785 h 2323145"/>
              <a:gd name="connsiteX165" fmla="*/ 3541402 w 11269336"/>
              <a:gd name="connsiteY165" fmla="*/ 2106821 h 2323145"/>
              <a:gd name="connsiteX166" fmla="*/ 3365341 w 11269336"/>
              <a:gd name="connsiteY166" fmla="*/ 2077638 h 2323145"/>
              <a:gd name="connsiteX167" fmla="*/ 3170922 w 11269336"/>
              <a:gd name="connsiteY167" fmla="*/ 2115957 h 2323145"/>
              <a:gd name="connsiteX168" fmla="*/ 3156256 w 11269336"/>
              <a:gd name="connsiteY168" fmla="*/ 2124773 h 2323145"/>
              <a:gd name="connsiteX169" fmla="*/ 3140298 w 11269336"/>
              <a:gd name="connsiteY169" fmla="*/ 2129182 h 2323145"/>
              <a:gd name="connsiteX170" fmla="*/ 3138514 w 11269336"/>
              <a:gd name="connsiteY170" fmla="*/ 2128069 h 2323145"/>
              <a:gd name="connsiteX171" fmla="*/ 3120467 w 11269336"/>
              <a:gd name="connsiteY171" fmla="*/ 2128281 h 2323145"/>
              <a:gd name="connsiteX172" fmla="*/ 3116175 w 11269336"/>
              <a:gd name="connsiteY172" fmla="*/ 2131633 h 2323145"/>
              <a:gd name="connsiteX173" fmla="*/ 3103685 w 11269336"/>
              <a:gd name="connsiteY173" fmla="*/ 2132814 h 2323145"/>
              <a:gd name="connsiteX174" fmla="*/ 3078794 w 11269336"/>
              <a:gd name="connsiteY174" fmla="*/ 2137935 h 2323145"/>
              <a:gd name="connsiteX175" fmla="*/ 3074407 w 11269336"/>
              <a:gd name="connsiteY175" fmla="*/ 2136274 h 2323145"/>
              <a:gd name="connsiteX176" fmla="*/ 3037285 w 11269336"/>
              <a:gd name="connsiteY176" fmla="*/ 2139919 h 2323145"/>
              <a:gd name="connsiteX177" fmla="*/ 3036901 w 11269336"/>
              <a:gd name="connsiteY177" fmla="*/ 2138726 h 2323145"/>
              <a:gd name="connsiteX178" fmla="*/ 3026996 w 11269336"/>
              <a:gd name="connsiteY178" fmla="*/ 2134322 h 2323145"/>
              <a:gd name="connsiteX179" fmla="*/ 3007772 w 11269336"/>
              <a:gd name="connsiteY179" fmla="*/ 2128742 h 2323145"/>
              <a:gd name="connsiteX180" fmla="*/ 2965030 w 11269336"/>
              <a:gd name="connsiteY180" fmla="*/ 2100494 h 2323145"/>
              <a:gd name="connsiteX181" fmla="*/ 2926342 w 11269336"/>
              <a:gd name="connsiteY181" fmla="*/ 2104155 h 2323145"/>
              <a:gd name="connsiteX182" fmla="*/ 2918608 w 11269336"/>
              <a:gd name="connsiteY182" fmla="*/ 2104215 h 2323145"/>
              <a:gd name="connsiteX183" fmla="*/ 2918475 w 11269336"/>
              <a:gd name="connsiteY183" fmla="*/ 2103937 h 2323145"/>
              <a:gd name="connsiteX184" fmla="*/ 2910360 w 11269336"/>
              <a:gd name="connsiteY184" fmla="*/ 2103444 h 2323145"/>
              <a:gd name="connsiteX185" fmla="*/ 2904507 w 11269336"/>
              <a:gd name="connsiteY185" fmla="*/ 2104326 h 2323145"/>
              <a:gd name="connsiteX186" fmla="*/ 2889503 w 11269336"/>
              <a:gd name="connsiteY186" fmla="*/ 2104443 h 2323145"/>
              <a:gd name="connsiteX187" fmla="*/ 2884480 w 11269336"/>
              <a:gd name="connsiteY187" fmla="*/ 2102626 h 2323145"/>
              <a:gd name="connsiteX188" fmla="*/ 2882689 w 11269336"/>
              <a:gd name="connsiteY188" fmla="*/ 2099228 h 2323145"/>
              <a:gd name="connsiteX189" fmla="*/ 2881291 w 11269336"/>
              <a:gd name="connsiteY189" fmla="*/ 2099618 h 2323145"/>
              <a:gd name="connsiteX190" fmla="*/ 2853979 w 11269336"/>
              <a:gd name="connsiteY190" fmla="*/ 2090388 h 2323145"/>
              <a:gd name="connsiteX191" fmla="*/ 2791790 w 11269336"/>
              <a:gd name="connsiteY191" fmla="*/ 2080332 h 2323145"/>
              <a:gd name="connsiteX192" fmla="*/ 2755844 w 11269336"/>
              <a:gd name="connsiteY192" fmla="*/ 2078874 h 2323145"/>
              <a:gd name="connsiteX193" fmla="*/ 2657742 w 11269336"/>
              <a:gd name="connsiteY193" fmla="*/ 2070179 h 2323145"/>
              <a:gd name="connsiteX194" fmla="*/ 2559549 w 11269336"/>
              <a:gd name="connsiteY194" fmla="*/ 2057873 h 2323145"/>
              <a:gd name="connsiteX195" fmla="*/ 2512054 w 11269336"/>
              <a:gd name="connsiteY195" fmla="*/ 2031671 h 2323145"/>
              <a:gd name="connsiteX196" fmla="*/ 2506437 w 11269336"/>
              <a:gd name="connsiteY196" fmla="*/ 2030918 h 2323145"/>
              <a:gd name="connsiteX197" fmla="*/ 2491752 w 11269336"/>
              <a:gd name="connsiteY197" fmla="*/ 2033906 h 2323145"/>
              <a:gd name="connsiteX198" fmla="*/ 2486338 w 11269336"/>
              <a:gd name="connsiteY198" fmla="*/ 2035862 h 2323145"/>
              <a:gd name="connsiteX199" fmla="*/ 2478186 w 11269336"/>
              <a:gd name="connsiteY199" fmla="*/ 2036953 h 2323145"/>
              <a:gd name="connsiteX200" fmla="*/ 2477950 w 11269336"/>
              <a:gd name="connsiteY200" fmla="*/ 2036715 h 2323145"/>
              <a:gd name="connsiteX201" fmla="*/ 2470381 w 11269336"/>
              <a:gd name="connsiteY201" fmla="*/ 2038256 h 2323145"/>
              <a:gd name="connsiteX202" fmla="*/ 2433781 w 11269336"/>
              <a:gd name="connsiteY202" fmla="*/ 2049140 h 2323145"/>
              <a:gd name="connsiteX203" fmla="*/ 2381172 w 11269336"/>
              <a:gd name="connsiteY203" fmla="*/ 2030645 h 2323145"/>
              <a:gd name="connsiteX204" fmla="*/ 2360198 w 11269336"/>
              <a:gd name="connsiteY204" fmla="*/ 2029059 h 2323145"/>
              <a:gd name="connsiteX205" fmla="*/ 2348815 w 11269336"/>
              <a:gd name="connsiteY205" fmla="*/ 2026798 h 2323145"/>
              <a:gd name="connsiteX206" fmla="*/ 2347988 w 11269336"/>
              <a:gd name="connsiteY206" fmla="*/ 2025745 h 2323145"/>
              <a:gd name="connsiteX207" fmla="*/ 2312920 w 11269336"/>
              <a:gd name="connsiteY207" fmla="*/ 2036311 h 2323145"/>
              <a:gd name="connsiteX208" fmla="*/ 2307986 w 11269336"/>
              <a:gd name="connsiteY208" fmla="*/ 2035583 h 2323145"/>
              <a:gd name="connsiteX209" fmla="*/ 2285481 w 11269336"/>
              <a:gd name="connsiteY209" fmla="*/ 2045197 h 2323145"/>
              <a:gd name="connsiteX210" fmla="*/ 2273666 w 11269336"/>
              <a:gd name="connsiteY210" fmla="*/ 2048710 h 2323145"/>
              <a:gd name="connsiteX211" fmla="*/ 2270719 w 11269336"/>
              <a:gd name="connsiteY211" fmla="*/ 2052702 h 2323145"/>
              <a:gd name="connsiteX212" fmla="*/ 2253080 w 11269336"/>
              <a:gd name="connsiteY212" fmla="*/ 2056363 h 2323145"/>
              <a:gd name="connsiteX213" fmla="*/ 2250906 w 11269336"/>
              <a:gd name="connsiteY213" fmla="*/ 2055654 h 2323145"/>
              <a:gd name="connsiteX214" fmla="*/ 2236905 w 11269336"/>
              <a:gd name="connsiteY214" fmla="*/ 2062882 h 2323145"/>
              <a:gd name="connsiteX215" fmla="*/ 2225830 w 11269336"/>
              <a:gd name="connsiteY215" fmla="*/ 2074027 h 2323145"/>
              <a:gd name="connsiteX216" fmla="*/ 2073776 w 11269336"/>
              <a:gd name="connsiteY216" fmla="*/ 2089244 h 2323145"/>
              <a:gd name="connsiteX217" fmla="*/ 1948256 w 11269336"/>
              <a:gd name="connsiteY217" fmla="*/ 2146616 h 2323145"/>
              <a:gd name="connsiteX218" fmla="*/ 1865582 w 11269336"/>
              <a:gd name="connsiteY218" fmla="*/ 2153738 h 2323145"/>
              <a:gd name="connsiteX219" fmla="*/ 1835210 w 11269336"/>
              <a:gd name="connsiteY219" fmla="*/ 2134244 h 2323145"/>
              <a:gd name="connsiteX220" fmla="*/ 1632661 w 11269336"/>
              <a:gd name="connsiteY220" fmla="*/ 2173882 h 2323145"/>
              <a:gd name="connsiteX221" fmla="*/ 1579590 w 11269336"/>
              <a:gd name="connsiteY221" fmla="*/ 2173680 h 2323145"/>
              <a:gd name="connsiteX222" fmla="*/ 1535601 w 11269336"/>
              <a:gd name="connsiteY222" fmla="*/ 2194590 h 2323145"/>
              <a:gd name="connsiteX223" fmla="*/ 1515594 w 11269336"/>
              <a:gd name="connsiteY223" fmla="*/ 2189622 h 2323145"/>
              <a:gd name="connsiteX224" fmla="*/ 1512113 w 11269336"/>
              <a:gd name="connsiteY224" fmla="*/ 2188534 h 2323145"/>
              <a:gd name="connsiteX225" fmla="*/ 1498838 w 11269336"/>
              <a:gd name="connsiteY225" fmla="*/ 2189213 h 2323145"/>
              <a:gd name="connsiteX226" fmla="*/ 1494279 w 11269336"/>
              <a:gd name="connsiteY226" fmla="*/ 2183112 h 2323145"/>
              <a:gd name="connsiteX227" fmla="*/ 1473714 w 11269336"/>
              <a:gd name="connsiteY227" fmla="*/ 2179625 h 2323145"/>
              <a:gd name="connsiteX228" fmla="*/ 1449503 w 11269336"/>
              <a:gd name="connsiteY228" fmla="*/ 2182633 h 2323145"/>
              <a:gd name="connsiteX229" fmla="*/ 1266687 w 11269336"/>
              <a:gd name="connsiteY229" fmla="*/ 2212688 h 2323145"/>
              <a:gd name="connsiteX230" fmla="*/ 1239614 w 11269336"/>
              <a:gd name="connsiteY230" fmla="*/ 2209727 h 2323145"/>
              <a:gd name="connsiteX231" fmla="*/ 1202436 w 11269336"/>
              <a:gd name="connsiteY231" fmla="*/ 2209817 h 2323145"/>
              <a:gd name="connsiteX232" fmla="*/ 1136097 w 11269336"/>
              <a:gd name="connsiteY232" fmla="*/ 2205112 h 2323145"/>
              <a:gd name="connsiteX233" fmla="*/ 988232 w 11269336"/>
              <a:gd name="connsiteY233" fmla="*/ 2235635 h 2323145"/>
              <a:gd name="connsiteX234" fmla="*/ 981959 w 11269336"/>
              <a:gd name="connsiteY234" fmla="*/ 2231607 h 2323145"/>
              <a:gd name="connsiteX235" fmla="*/ 938600 w 11269336"/>
              <a:gd name="connsiteY235" fmla="*/ 2238113 h 2323145"/>
              <a:gd name="connsiteX236" fmla="*/ 791788 w 11269336"/>
              <a:gd name="connsiteY236" fmla="*/ 2293224 h 2323145"/>
              <a:gd name="connsiteX237" fmla="*/ 706914 w 11269336"/>
              <a:gd name="connsiteY237" fmla="*/ 2305046 h 2323145"/>
              <a:gd name="connsiteX238" fmla="*/ 675971 w 11269336"/>
              <a:gd name="connsiteY238" fmla="*/ 2304030 h 2323145"/>
              <a:gd name="connsiteX239" fmla="*/ 624180 w 11269336"/>
              <a:gd name="connsiteY239" fmla="*/ 2302650 h 2323145"/>
              <a:gd name="connsiteX240" fmla="*/ 583453 w 11269336"/>
              <a:gd name="connsiteY240" fmla="*/ 2288788 h 2323145"/>
              <a:gd name="connsiteX241" fmla="*/ 540946 w 11269336"/>
              <a:gd name="connsiteY241" fmla="*/ 2292721 h 2323145"/>
              <a:gd name="connsiteX242" fmla="*/ 533680 w 11269336"/>
              <a:gd name="connsiteY242" fmla="*/ 2310233 h 2323145"/>
              <a:gd name="connsiteX243" fmla="*/ 487366 w 11269336"/>
              <a:gd name="connsiteY243" fmla="*/ 2309053 h 2323145"/>
              <a:gd name="connsiteX244" fmla="*/ 416820 w 11269336"/>
              <a:gd name="connsiteY244" fmla="*/ 2305443 h 2323145"/>
              <a:gd name="connsiteX245" fmla="*/ 376805 w 11269336"/>
              <a:gd name="connsiteY245" fmla="*/ 2307647 h 2323145"/>
              <a:gd name="connsiteX246" fmla="*/ 266777 w 11269336"/>
              <a:gd name="connsiteY246" fmla="*/ 2309012 h 2323145"/>
              <a:gd name="connsiteX247" fmla="*/ 156013 w 11269336"/>
              <a:gd name="connsiteY247" fmla="*/ 2306832 h 2323145"/>
              <a:gd name="connsiteX248" fmla="*/ 87258 w 11269336"/>
              <a:gd name="connsiteY248" fmla="*/ 2285511 h 2323145"/>
              <a:gd name="connsiteX249" fmla="*/ 23798 w 11269336"/>
              <a:gd name="connsiteY249" fmla="*/ 2281822 h 2323145"/>
              <a:gd name="connsiteX250" fmla="*/ 0 w 11269336"/>
              <a:gd name="connsiteY250" fmla="*/ 2285369 h 2323145"/>
              <a:gd name="connsiteX251" fmla="*/ 0 w 11269336"/>
              <a:gd name="connsiteY251" fmla="*/ 0 h 2323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</a:cxnLst>
            <a:rect l="l" t="t" r="r" b="b"/>
            <a:pathLst>
              <a:path w="11269336" h="2323145">
                <a:moveTo>
                  <a:pt x="0" y="0"/>
                </a:moveTo>
                <a:lnTo>
                  <a:pt x="11269336" y="0"/>
                </a:lnTo>
                <a:lnTo>
                  <a:pt x="11268645" y="511"/>
                </a:lnTo>
                <a:cubicBezTo>
                  <a:pt x="11257520" y="14091"/>
                  <a:pt x="11248967" y="32073"/>
                  <a:pt x="11230739" y="37096"/>
                </a:cubicBezTo>
                <a:cubicBezTo>
                  <a:pt x="11194283" y="47141"/>
                  <a:pt x="11124351" y="55013"/>
                  <a:pt x="11082485" y="78590"/>
                </a:cubicBezTo>
                <a:cubicBezTo>
                  <a:pt x="11064655" y="69818"/>
                  <a:pt x="11049588" y="97621"/>
                  <a:pt x="11031776" y="79197"/>
                </a:cubicBezTo>
                <a:cubicBezTo>
                  <a:pt x="11016683" y="85023"/>
                  <a:pt x="11009945" y="92832"/>
                  <a:pt x="10995894" y="83459"/>
                </a:cubicBezTo>
                <a:cubicBezTo>
                  <a:pt x="10971843" y="134740"/>
                  <a:pt x="10888992" y="106042"/>
                  <a:pt x="10861177" y="147419"/>
                </a:cubicBezTo>
                <a:cubicBezTo>
                  <a:pt x="10850370" y="129415"/>
                  <a:pt x="10807086" y="138624"/>
                  <a:pt x="10782732" y="135645"/>
                </a:cubicBezTo>
                <a:cubicBezTo>
                  <a:pt x="10869014" y="196205"/>
                  <a:pt x="10693356" y="147304"/>
                  <a:pt x="10660773" y="179312"/>
                </a:cubicBezTo>
                <a:cubicBezTo>
                  <a:pt x="10667385" y="121467"/>
                  <a:pt x="10595265" y="182241"/>
                  <a:pt x="10564442" y="160738"/>
                </a:cubicBezTo>
                <a:cubicBezTo>
                  <a:pt x="10544419" y="190949"/>
                  <a:pt x="10518436" y="167191"/>
                  <a:pt x="10490200" y="183533"/>
                </a:cubicBezTo>
                <a:cubicBezTo>
                  <a:pt x="10423905" y="202688"/>
                  <a:pt x="10362764" y="244779"/>
                  <a:pt x="10271351" y="243104"/>
                </a:cubicBezTo>
                <a:cubicBezTo>
                  <a:pt x="10247818" y="329775"/>
                  <a:pt x="10135674" y="303068"/>
                  <a:pt x="10061033" y="364937"/>
                </a:cubicBezTo>
                <a:cubicBezTo>
                  <a:pt x="10014289" y="383940"/>
                  <a:pt x="9930032" y="360289"/>
                  <a:pt x="9921770" y="406154"/>
                </a:cubicBezTo>
                <a:cubicBezTo>
                  <a:pt x="9894276" y="384665"/>
                  <a:pt x="9881945" y="430851"/>
                  <a:pt x="9858388" y="439489"/>
                </a:cubicBezTo>
                <a:cubicBezTo>
                  <a:pt x="9835642" y="426888"/>
                  <a:pt x="9828901" y="443125"/>
                  <a:pt x="9811914" y="449865"/>
                </a:cubicBezTo>
                <a:cubicBezTo>
                  <a:pt x="9801869" y="441287"/>
                  <a:pt x="9787055" y="444835"/>
                  <a:pt x="9784394" y="457816"/>
                </a:cubicBezTo>
                <a:cubicBezTo>
                  <a:pt x="9797169" y="483924"/>
                  <a:pt x="9656844" y="450179"/>
                  <a:pt x="9656836" y="469967"/>
                </a:cubicBezTo>
                <a:cubicBezTo>
                  <a:pt x="9589537" y="485301"/>
                  <a:pt x="9662097" y="527310"/>
                  <a:pt x="9561575" y="559978"/>
                </a:cubicBezTo>
                <a:cubicBezTo>
                  <a:pt x="9479149" y="599104"/>
                  <a:pt x="9215234" y="670585"/>
                  <a:pt x="9162278" y="704724"/>
                </a:cubicBezTo>
                <a:cubicBezTo>
                  <a:pt x="9173017" y="730567"/>
                  <a:pt x="9063215" y="727685"/>
                  <a:pt x="9062863" y="754656"/>
                </a:cubicBezTo>
                <a:cubicBezTo>
                  <a:pt x="9021608" y="774940"/>
                  <a:pt x="8924639" y="816390"/>
                  <a:pt x="8914746" y="826428"/>
                </a:cubicBezTo>
                <a:lnTo>
                  <a:pt x="8917778" y="835198"/>
                </a:lnTo>
                <a:lnTo>
                  <a:pt x="8905560" y="838358"/>
                </a:lnTo>
                <a:lnTo>
                  <a:pt x="8897564" y="834287"/>
                </a:lnTo>
                <a:lnTo>
                  <a:pt x="8878040" y="844150"/>
                </a:lnTo>
                <a:cubicBezTo>
                  <a:pt x="8861112" y="848992"/>
                  <a:pt x="8812843" y="856499"/>
                  <a:pt x="8795998" y="863337"/>
                </a:cubicBezTo>
                <a:cubicBezTo>
                  <a:pt x="8792888" y="873975"/>
                  <a:pt x="8786153" y="880792"/>
                  <a:pt x="8776970" y="885177"/>
                </a:cubicBezTo>
                <a:lnTo>
                  <a:pt x="8755719" y="889754"/>
                </a:lnTo>
                <a:lnTo>
                  <a:pt x="8743257" y="904723"/>
                </a:lnTo>
                <a:cubicBezTo>
                  <a:pt x="8737642" y="908108"/>
                  <a:pt x="8730651" y="908759"/>
                  <a:pt x="8721366" y="904711"/>
                </a:cubicBezTo>
                <a:cubicBezTo>
                  <a:pt x="8711895" y="915873"/>
                  <a:pt x="8676250" y="900745"/>
                  <a:pt x="8678353" y="926318"/>
                </a:cubicBezTo>
                <a:cubicBezTo>
                  <a:pt x="8658506" y="928813"/>
                  <a:pt x="8647569" y="933735"/>
                  <a:pt x="8636849" y="937900"/>
                </a:cubicBezTo>
                <a:lnTo>
                  <a:pt x="8620213" y="943068"/>
                </a:lnTo>
                <a:lnTo>
                  <a:pt x="8612581" y="952695"/>
                </a:lnTo>
                <a:cubicBezTo>
                  <a:pt x="8605836" y="959769"/>
                  <a:pt x="8598255" y="964412"/>
                  <a:pt x="8589038" y="963892"/>
                </a:cubicBezTo>
                <a:lnTo>
                  <a:pt x="8579950" y="960899"/>
                </a:lnTo>
                <a:cubicBezTo>
                  <a:pt x="8579740" y="962476"/>
                  <a:pt x="8579529" y="964053"/>
                  <a:pt x="8579319" y="965630"/>
                </a:cubicBezTo>
                <a:cubicBezTo>
                  <a:pt x="8579138" y="972972"/>
                  <a:pt x="8576531" y="980010"/>
                  <a:pt x="8547429" y="984506"/>
                </a:cubicBezTo>
                <a:cubicBezTo>
                  <a:pt x="8529238" y="1001725"/>
                  <a:pt x="8505565" y="1015840"/>
                  <a:pt x="8478704" y="1025490"/>
                </a:cubicBezTo>
                <a:cubicBezTo>
                  <a:pt x="8473109" y="1019545"/>
                  <a:pt x="8465819" y="1032194"/>
                  <a:pt x="8461421" y="1035512"/>
                </a:cubicBezTo>
                <a:cubicBezTo>
                  <a:pt x="8459739" y="1031087"/>
                  <a:pt x="8447663" y="1032074"/>
                  <a:pt x="8445003" y="1036851"/>
                </a:cubicBezTo>
                <a:cubicBezTo>
                  <a:pt x="8366593" y="1075951"/>
                  <a:pt x="8398773" y="1021402"/>
                  <a:pt x="8357350" y="1060213"/>
                </a:cubicBezTo>
                <a:cubicBezTo>
                  <a:pt x="8349366" y="1063843"/>
                  <a:pt x="8342208" y="1063367"/>
                  <a:pt x="8335565" y="1061151"/>
                </a:cubicBezTo>
                <a:lnTo>
                  <a:pt x="8325267" y="1055919"/>
                </a:lnTo>
                <a:lnTo>
                  <a:pt x="8293586" y="1076144"/>
                </a:lnTo>
                <a:cubicBezTo>
                  <a:pt x="8277595" y="1084193"/>
                  <a:pt x="8260401" y="1090863"/>
                  <a:pt x="8242405" y="1095960"/>
                </a:cubicBezTo>
                <a:cubicBezTo>
                  <a:pt x="8226373" y="1101227"/>
                  <a:pt x="8224213" y="1102052"/>
                  <a:pt x="8197391" y="1107746"/>
                </a:cubicBezTo>
                <a:cubicBezTo>
                  <a:pt x="8090266" y="1152133"/>
                  <a:pt x="8141491" y="1082372"/>
                  <a:pt x="8081474" y="1130125"/>
                </a:cubicBezTo>
                <a:cubicBezTo>
                  <a:pt x="8070634" y="1134173"/>
                  <a:pt x="8061619" y="1132810"/>
                  <a:pt x="8053585" y="1129169"/>
                </a:cubicBezTo>
                <a:lnTo>
                  <a:pt x="8038422" y="1119092"/>
                </a:lnTo>
                <a:lnTo>
                  <a:pt x="8029450" y="1125592"/>
                </a:lnTo>
                <a:cubicBezTo>
                  <a:pt x="7992226" y="1133484"/>
                  <a:pt x="7978616" y="1122765"/>
                  <a:pt x="7959552" y="1140188"/>
                </a:cubicBezTo>
                <a:cubicBezTo>
                  <a:pt x="7922008" y="1119572"/>
                  <a:pt x="7937737" y="1141786"/>
                  <a:pt x="7914188" y="1150862"/>
                </a:cubicBezTo>
                <a:cubicBezTo>
                  <a:pt x="7896037" y="1160155"/>
                  <a:pt x="7933463" y="1163411"/>
                  <a:pt x="7914918" y="1168758"/>
                </a:cubicBezTo>
                <a:cubicBezTo>
                  <a:pt x="7893102" y="1165887"/>
                  <a:pt x="7898453" y="1187420"/>
                  <a:pt x="7875510" y="1183153"/>
                </a:cubicBezTo>
                <a:cubicBezTo>
                  <a:pt x="7877354" y="1165743"/>
                  <a:pt x="7834286" y="1194789"/>
                  <a:pt x="7829932" y="1180782"/>
                </a:cubicBezTo>
                <a:cubicBezTo>
                  <a:pt x="7816047" y="1204874"/>
                  <a:pt x="7801901" y="1181513"/>
                  <a:pt x="7779182" y="1192665"/>
                </a:cubicBezTo>
                <a:cubicBezTo>
                  <a:pt x="7769446" y="1202686"/>
                  <a:pt x="7761564" y="1205661"/>
                  <a:pt x="7748774" y="1199586"/>
                </a:cubicBezTo>
                <a:cubicBezTo>
                  <a:pt x="7704339" y="1247771"/>
                  <a:pt x="7717626" y="1207638"/>
                  <a:pt x="7671846" y="1231966"/>
                </a:cubicBezTo>
                <a:cubicBezTo>
                  <a:pt x="7632956" y="1255682"/>
                  <a:pt x="7587383" y="1275180"/>
                  <a:pt x="7554146" y="1319748"/>
                </a:cubicBezTo>
                <a:cubicBezTo>
                  <a:pt x="7548775" y="1331557"/>
                  <a:pt x="7531272" y="1339155"/>
                  <a:pt x="7515052" y="1336718"/>
                </a:cubicBezTo>
                <a:cubicBezTo>
                  <a:pt x="7512260" y="1336298"/>
                  <a:pt x="7509613" y="1335590"/>
                  <a:pt x="7507193" y="1334617"/>
                </a:cubicBezTo>
                <a:cubicBezTo>
                  <a:pt x="7488273" y="1365207"/>
                  <a:pt x="7468925" y="1356298"/>
                  <a:pt x="7461694" y="1375866"/>
                </a:cubicBezTo>
                <a:cubicBezTo>
                  <a:pt x="7422434" y="1391917"/>
                  <a:pt x="7384603" y="1382819"/>
                  <a:pt x="7377571" y="1400128"/>
                </a:cubicBezTo>
                <a:cubicBezTo>
                  <a:pt x="7356236" y="1403926"/>
                  <a:pt x="7322509" y="1393138"/>
                  <a:pt x="7311261" y="1412652"/>
                </a:cubicBezTo>
                <a:cubicBezTo>
                  <a:pt x="7305349" y="1400071"/>
                  <a:pt x="7289966" y="1428039"/>
                  <a:pt x="7275307" y="1422171"/>
                </a:cubicBezTo>
                <a:cubicBezTo>
                  <a:pt x="7264529" y="1416601"/>
                  <a:pt x="7257348" y="1423786"/>
                  <a:pt x="7247783" y="1426330"/>
                </a:cubicBezTo>
                <a:cubicBezTo>
                  <a:pt x="7233839" y="1423056"/>
                  <a:pt x="7194363" y="1442037"/>
                  <a:pt x="7185047" y="1451812"/>
                </a:cubicBezTo>
                <a:cubicBezTo>
                  <a:pt x="7164447" y="1483396"/>
                  <a:pt x="7101577" y="1475742"/>
                  <a:pt x="7084117" y="1500281"/>
                </a:cubicBezTo>
                <a:cubicBezTo>
                  <a:pt x="7076899" y="1504821"/>
                  <a:pt x="7069494" y="1507565"/>
                  <a:pt x="7062011" y="1509183"/>
                </a:cubicBezTo>
                <a:lnTo>
                  <a:pt x="7040555" y="1511207"/>
                </a:lnTo>
                <a:lnTo>
                  <a:pt x="7033438" y="1506772"/>
                </a:lnTo>
                <a:lnTo>
                  <a:pt x="7020886" y="1510764"/>
                </a:lnTo>
                <a:lnTo>
                  <a:pt x="7017033" y="1510650"/>
                </a:lnTo>
                <a:lnTo>
                  <a:pt x="6995460" y="1511173"/>
                </a:lnTo>
                <a:cubicBezTo>
                  <a:pt x="7010208" y="1537643"/>
                  <a:pt x="6938512" y="1522467"/>
                  <a:pt x="6962144" y="1541508"/>
                </a:cubicBezTo>
                <a:cubicBezTo>
                  <a:pt x="6926351" y="1550586"/>
                  <a:pt x="6958236" y="1566326"/>
                  <a:pt x="6910674" y="1554793"/>
                </a:cubicBezTo>
                <a:cubicBezTo>
                  <a:pt x="6859225" y="1589274"/>
                  <a:pt x="6769015" y="1598548"/>
                  <a:pt x="6732152" y="1642538"/>
                </a:cubicBezTo>
                <a:cubicBezTo>
                  <a:pt x="6734901" y="1628031"/>
                  <a:pt x="6709146" y="1622413"/>
                  <a:pt x="6694106" y="1632377"/>
                </a:cubicBezTo>
                <a:cubicBezTo>
                  <a:pt x="6702628" y="1575914"/>
                  <a:pt x="6638899" y="1692862"/>
                  <a:pt x="6617223" y="1659889"/>
                </a:cubicBezTo>
                <a:cubicBezTo>
                  <a:pt x="6623246" y="1693349"/>
                  <a:pt x="6561228" y="1764690"/>
                  <a:pt x="6521138" y="1744340"/>
                </a:cubicBezTo>
                <a:cubicBezTo>
                  <a:pt x="6469831" y="1761656"/>
                  <a:pt x="6438109" y="1796731"/>
                  <a:pt x="6380677" y="1796883"/>
                </a:cubicBezTo>
                <a:cubicBezTo>
                  <a:pt x="6379865" y="1801686"/>
                  <a:pt x="6377810" y="1805986"/>
                  <a:pt x="6374897" y="1809910"/>
                </a:cubicBezTo>
                <a:lnTo>
                  <a:pt x="6364545" y="1820090"/>
                </a:lnTo>
                <a:lnTo>
                  <a:pt x="6362126" y="1819991"/>
                </a:lnTo>
                <a:cubicBezTo>
                  <a:pt x="6353055" y="1821720"/>
                  <a:pt x="6348796" y="1824537"/>
                  <a:pt x="6346673" y="1827824"/>
                </a:cubicBezTo>
                <a:lnTo>
                  <a:pt x="6345588" y="1832232"/>
                </a:lnTo>
                <a:lnTo>
                  <a:pt x="6335708" y="1838451"/>
                </a:lnTo>
                <a:lnTo>
                  <a:pt x="6318182" y="1852975"/>
                </a:lnTo>
                <a:lnTo>
                  <a:pt x="6313084" y="1853561"/>
                </a:lnTo>
                <a:lnTo>
                  <a:pt x="6283816" y="1872148"/>
                </a:lnTo>
                <a:lnTo>
                  <a:pt x="6282550" y="1871392"/>
                </a:lnTo>
                <a:cubicBezTo>
                  <a:pt x="6279041" y="1870121"/>
                  <a:pt x="6275192" y="1869982"/>
                  <a:pt x="6270527" y="1872208"/>
                </a:cubicBezTo>
                <a:cubicBezTo>
                  <a:pt x="6265029" y="1853962"/>
                  <a:pt x="6262790" y="1867903"/>
                  <a:pt x="6249518" y="1876079"/>
                </a:cubicBezTo>
                <a:cubicBezTo>
                  <a:pt x="6238019" y="1849564"/>
                  <a:pt x="6207959" y="1881750"/>
                  <a:pt x="6190386" y="1872478"/>
                </a:cubicBezTo>
                <a:cubicBezTo>
                  <a:pt x="6180893" y="1879083"/>
                  <a:pt x="6170646" y="1885584"/>
                  <a:pt x="6159777" y="1891745"/>
                </a:cubicBezTo>
                <a:lnTo>
                  <a:pt x="6153131" y="1895079"/>
                </a:lnTo>
                <a:lnTo>
                  <a:pt x="6152798" y="1894920"/>
                </a:lnTo>
                <a:cubicBezTo>
                  <a:pt x="6150925" y="1895166"/>
                  <a:pt x="6148578" y="1896082"/>
                  <a:pt x="6145388" y="1897990"/>
                </a:cubicBezTo>
                <a:lnTo>
                  <a:pt x="6141014" y="1901155"/>
                </a:lnTo>
                <a:lnTo>
                  <a:pt x="6128122" y="1907623"/>
                </a:lnTo>
                <a:lnTo>
                  <a:pt x="6122351" y="1908359"/>
                </a:lnTo>
                <a:cubicBezTo>
                  <a:pt x="6099508" y="1905910"/>
                  <a:pt x="6088334" y="1869006"/>
                  <a:pt x="6064750" y="1896394"/>
                </a:cubicBezTo>
                <a:cubicBezTo>
                  <a:pt x="6025977" y="1903785"/>
                  <a:pt x="5997095" y="1889190"/>
                  <a:pt x="5964230" y="1910038"/>
                </a:cubicBezTo>
                <a:cubicBezTo>
                  <a:pt x="5927910" y="1916874"/>
                  <a:pt x="5894873" y="1914928"/>
                  <a:pt x="5865399" y="1926966"/>
                </a:cubicBezTo>
                <a:cubicBezTo>
                  <a:pt x="5851644" y="1923038"/>
                  <a:pt x="5839380" y="1922808"/>
                  <a:pt x="5829951" y="1934755"/>
                </a:cubicBezTo>
                <a:cubicBezTo>
                  <a:pt x="5795498" y="1938369"/>
                  <a:pt x="5784532" y="1926246"/>
                  <a:pt x="5765285" y="1941322"/>
                </a:cubicBezTo>
                <a:cubicBezTo>
                  <a:pt x="5741789" y="1922874"/>
                  <a:pt x="5742385" y="1931607"/>
                  <a:pt x="5734750" y="1939793"/>
                </a:cubicBezTo>
                <a:lnTo>
                  <a:pt x="5733569" y="1940505"/>
                </a:lnTo>
                <a:lnTo>
                  <a:pt x="5730329" y="1937845"/>
                </a:lnTo>
                <a:lnTo>
                  <a:pt x="5724661" y="1937455"/>
                </a:lnTo>
                <a:lnTo>
                  <a:pt x="5710186" y="1941370"/>
                </a:lnTo>
                <a:lnTo>
                  <a:pt x="5704910" y="1943663"/>
                </a:lnTo>
                <a:cubicBezTo>
                  <a:pt x="5701213" y="1944937"/>
                  <a:pt x="5698678" y="1945391"/>
                  <a:pt x="5696836" y="1945271"/>
                </a:cubicBezTo>
                <a:lnTo>
                  <a:pt x="5696583" y="1945050"/>
                </a:lnTo>
                <a:lnTo>
                  <a:pt x="5689123" y="1947067"/>
                </a:lnTo>
                <a:cubicBezTo>
                  <a:pt x="5676655" y="1951072"/>
                  <a:pt x="5664639" y="1955533"/>
                  <a:pt x="5653291" y="1960245"/>
                </a:cubicBezTo>
                <a:cubicBezTo>
                  <a:pt x="5640346" y="1947636"/>
                  <a:pt x="5600180" y="1973739"/>
                  <a:pt x="5599385" y="1945198"/>
                </a:cubicBezTo>
                <a:cubicBezTo>
                  <a:pt x="5583913" y="1950736"/>
                  <a:pt x="5576590" y="1964134"/>
                  <a:pt x="5578300" y="1944963"/>
                </a:cubicBezTo>
                <a:cubicBezTo>
                  <a:pt x="5573104" y="1946266"/>
                  <a:pt x="5569560" y="1945382"/>
                  <a:pt x="5566758" y="1943441"/>
                </a:cubicBezTo>
                <a:lnTo>
                  <a:pt x="5565857" y="1942445"/>
                </a:lnTo>
                <a:lnTo>
                  <a:pt x="5531534" y="1955208"/>
                </a:lnTo>
                <a:lnTo>
                  <a:pt x="5526552" y="1954799"/>
                </a:lnTo>
                <a:lnTo>
                  <a:pt x="5504723" y="1965811"/>
                </a:lnTo>
                <a:lnTo>
                  <a:pt x="5493156" y="1970063"/>
                </a:lnTo>
                <a:lnTo>
                  <a:pt x="5490486" y="1974227"/>
                </a:lnTo>
                <a:cubicBezTo>
                  <a:pt x="5487271" y="1977077"/>
                  <a:pt x="5482233" y="1979045"/>
                  <a:pt x="5473107" y="1979001"/>
                </a:cubicBezTo>
                <a:lnTo>
                  <a:pt x="5470885" y="1978432"/>
                </a:lnTo>
                <a:lnTo>
                  <a:pt x="5457393" y="1986525"/>
                </a:lnTo>
                <a:cubicBezTo>
                  <a:pt x="5453194" y="1989853"/>
                  <a:pt x="5449663" y="1993721"/>
                  <a:pt x="5447102" y="1998329"/>
                </a:cubicBezTo>
                <a:cubicBezTo>
                  <a:pt x="5386283" y="2017364"/>
                  <a:pt x="5223545" y="2015483"/>
                  <a:pt x="5159151" y="2029640"/>
                </a:cubicBezTo>
                <a:cubicBezTo>
                  <a:pt x="5141359" y="2036610"/>
                  <a:pt x="5090827" y="2076822"/>
                  <a:pt x="5098838" y="2062961"/>
                </a:cubicBezTo>
                <a:cubicBezTo>
                  <a:pt x="5047883" y="2099457"/>
                  <a:pt x="4922007" y="2111466"/>
                  <a:pt x="4860988" y="2135698"/>
                </a:cubicBezTo>
                <a:cubicBezTo>
                  <a:pt x="4805413" y="2152292"/>
                  <a:pt x="4784714" y="2158665"/>
                  <a:pt x="4765388" y="2162525"/>
                </a:cubicBezTo>
                <a:cubicBezTo>
                  <a:pt x="4758560" y="2161978"/>
                  <a:pt x="4751823" y="2160531"/>
                  <a:pt x="4745033" y="2158859"/>
                </a:cubicBezTo>
                <a:lnTo>
                  <a:pt x="4741475" y="2157998"/>
                </a:lnTo>
                <a:lnTo>
                  <a:pt x="4728247" y="2159526"/>
                </a:lnTo>
                <a:lnTo>
                  <a:pt x="4723263" y="2153742"/>
                </a:lnTo>
                <a:lnTo>
                  <a:pt x="4593061" y="2171597"/>
                </a:lnTo>
                <a:lnTo>
                  <a:pt x="4405765" y="2199902"/>
                </a:lnTo>
                <a:cubicBezTo>
                  <a:pt x="4403942" y="2198353"/>
                  <a:pt x="4402457" y="2196614"/>
                  <a:pt x="4401354" y="2194745"/>
                </a:cubicBezTo>
                <a:lnTo>
                  <a:pt x="4366646" y="2198564"/>
                </a:lnTo>
                <a:lnTo>
                  <a:pt x="4354009" y="2204984"/>
                </a:lnTo>
                <a:lnTo>
                  <a:pt x="4348284" y="2205270"/>
                </a:lnTo>
                <a:lnTo>
                  <a:pt x="4333906" y="2205251"/>
                </a:lnTo>
                <a:cubicBezTo>
                  <a:pt x="4326429" y="2204713"/>
                  <a:pt x="4318024" y="2203940"/>
                  <a:pt x="4308819" y="2203822"/>
                </a:cubicBezTo>
                <a:lnTo>
                  <a:pt x="4301210" y="2204456"/>
                </a:lnTo>
                <a:lnTo>
                  <a:pt x="4283095" y="2198177"/>
                </a:lnTo>
                <a:cubicBezTo>
                  <a:pt x="4269863" y="2193337"/>
                  <a:pt x="4259612" y="2190345"/>
                  <a:pt x="4250119" y="2196342"/>
                </a:cubicBezTo>
                <a:cubicBezTo>
                  <a:pt x="4230702" y="2190559"/>
                  <a:pt x="4213171" y="2166890"/>
                  <a:pt x="4189203" y="2178994"/>
                </a:cubicBezTo>
                <a:cubicBezTo>
                  <a:pt x="4194512" y="2165594"/>
                  <a:pt x="4160734" y="2183257"/>
                  <a:pt x="4154035" y="2171950"/>
                </a:cubicBezTo>
                <a:cubicBezTo>
                  <a:pt x="4150098" y="2162547"/>
                  <a:pt x="4138934" y="2165714"/>
                  <a:pt x="4129569" y="2163850"/>
                </a:cubicBezTo>
                <a:cubicBezTo>
                  <a:pt x="4121391" y="2155090"/>
                  <a:pt x="4076089" y="2154737"/>
                  <a:pt x="4061250" y="2159236"/>
                </a:cubicBezTo>
                <a:cubicBezTo>
                  <a:pt x="4020618" y="2177811"/>
                  <a:pt x="3978175" y="2144465"/>
                  <a:pt x="3945480" y="2158279"/>
                </a:cubicBezTo>
                <a:cubicBezTo>
                  <a:pt x="3936362" y="2159139"/>
                  <a:pt x="3928502" y="2158369"/>
                  <a:pt x="3921468" y="2156588"/>
                </a:cubicBezTo>
                <a:lnTo>
                  <a:pt x="3903348" y="2149220"/>
                </a:lnTo>
                <a:lnTo>
                  <a:pt x="3901342" y="2142355"/>
                </a:lnTo>
                <a:lnTo>
                  <a:pt x="3888539" y="2140476"/>
                </a:lnTo>
                <a:lnTo>
                  <a:pt x="3885662" y="2138740"/>
                </a:lnTo>
                <a:cubicBezTo>
                  <a:pt x="3880178" y="2135398"/>
                  <a:pt x="3874645" y="2132286"/>
                  <a:pt x="3868627" y="2130023"/>
                </a:cubicBezTo>
                <a:cubicBezTo>
                  <a:pt x="3859240" y="2159198"/>
                  <a:pt x="3815892" y="2115590"/>
                  <a:pt x="3819177" y="2142111"/>
                </a:cubicBezTo>
                <a:cubicBezTo>
                  <a:pt x="3784478" y="2134756"/>
                  <a:pt x="3796708" y="2161930"/>
                  <a:pt x="3769100" y="2131731"/>
                </a:cubicBezTo>
                <a:cubicBezTo>
                  <a:pt x="3702423" y="2139704"/>
                  <a:pt x="3625642" y="2109386"/>
                  <a:pt x="3562752" y="2131785"/>
                </a:cubicBezTo>
                <a:cubicBezTo>
                  <a:pt x="3576244" y="2120400"/>
                  <a:pt x="3560801" y="2104591"/>
                  <a:pt x="3541402" y="2106821"/>
                </a:cubicBezTo>
                <a:cubicBezTo>
                  <a:pt x="3592232" y="2061584"/>
                  <a:pt x="3356194" y="2115384"/>
                  <a:pt x="3365341" y="2077638"/>
                </a:cubicBezTo>
                <a:cubicBezTo>
                  <a:pt x="3303594" y="2079161"/>
                  <a:pt x="3221644" y="2111487"/>
                  <a:pt x="3170922" y="2115957"/>
                </a:cubicBezTo>
                <a:cubicBezTo>
                  <a:pt x="3166532" y="2119769"/>
                  <a:pt x="3161579" y="2122617"/>
                  <a:pt x="3156256" y="2124773"/>
                </a:cubicBezTo>
                <a:lnTo>
                  <a:pt x="3140298" y="2129182"/>
                </a:lnTo>
                <a:lnTo>
                  <a:pt x="3138514" y="2128069"/>
                </a:lnTo>
                <a:cubicBezTo>
                  <a:pt x="3130169" y="2125710"/>
                  <a:pt x="3124679" y="2126336"/>
                  <a:pt x="3120467" y="2128281"/>
                </a:cubicBezTo>
                <a:lnTo>
                  <a:pt x="3116175" y="2131633"/>
                </a:lnTo>
                <a:lnTo>
                  <a:pt x="3103685" y="2132814"/>
                </a:lnTo>
                <a:lnTo>
                  <a:pt x="3078794" y="2137935"/>
                </a:lnTo>
                <a:lnTo>
                  <a:pt x="3074407" y="2136274"/>
                </a:lnTo>
                <a:lnTo>
                  <a:pt x="3037285" y="2139919"/>
                </a:lnTo>
                <a:lnTo>
                  <a:pt x="3036901" y="2138726"/>
                </a:lnTo>
                <a:cubicBezTo>
                  <a:pt x="3035193" y="2136135"/>
                  <a:pt x="3032337" y="2134379"/>
                  <a:pt x="3026996" y="2134322"/>
                </a:cubicBezTo>
                <a:cubicBezTo>
                  <a:pt x="3037063" y="2116196"/>
                  <a:pt x="3024412" y="2127308"/>
                  <a:pt x="3007772" y="2128742"/>
                </a:cubicBezTo>
                <a:cubicBezTo>
                  <a:pt x="3019697" y="2100910"/>
                  <a:pt x="2971305" y="2115987"/>
                  <a:pt x="2965030" y="2100494"/>
                </a:cubicBezTo>
                <a:cubicBezTo>
                  <a:pt x="2952539" y="2102174"/>
                  <a:pt x="2939545" y="2103445"/>
                  <a:pt x="2926342" y="2104155"/>
                </a:cubicBezTo>
                <a:lnTo>
                  <a:pt x="2918608" y="2104215"/>
                </a:lnTo>
                <a:cubicBezTo>
                  <a:pt x="2918564" y="2104122"/>
                  <a:pt x="2918519" y="2104030"/>
                  <a:pt x="2918475" y="2103937"/>
                </a:cubicBezTo>
                <a:cubicBezTo>
                  <a:pt x="2916840" y="2103354"/>
                  <a:pt x="2914314" y="2103149"/>
                  <a:pt x="2910360" y="2103444"/>
                </a:cubicBezTo>
                <a:lnTo>
                  <a:pt x="2904507" y="2104326"/>
                </a:lnTo>
                <a:lnTo>
                  <a:pt x="2889503" y="2104443"/>
                </a:lnTo>
                <a:lnTo>
                  <a:pt x="2884480" y="2102626"/>
                </a:lnTo>
                <a:lnTo>
                  <a:pt x="2882689" y="2099228"/>
                </a:lnTo>
                <a:lnTo>
                  <a:pt x="2881291" y="2099618"/>
                </a:lnTo>
                <a:cubicBezTo>
                  <a:pt x="2870663" y="2105606"/>
                  <a:pt x="2867338" y="2114210"/>
                  <a:pt x="2853979" y="2090388"/>
                </a:cubicBezTo>
                <a:cubicBezTo>
                  <a:pt x="2829652" y="2100099"/>
                  <a:pt x="2824975" y="2085577"/>
                  <a:pt x="2791790" y="2080332"/>
                </a:cubicBezTo>
                <a:cubicBezTo>
                  <a:pt x="2777850" y="2089504"/>
                  <a:pt x="2766709" y="2086170"/>
                  <a:pt x="2755844" y="2078874"/>
                </a:cubicBezTo>
                <a:cubicBezTo>
                  <a:pt x="2723488" y="2083049"/>
                  <a:pt x="2694065" y="2072780"/>
                  <a:pt x="2657742" y="2070179"/>
                </a:cubicBezTo>
                <a:cubicBezTo>
                  <a:pt x="2618372" y="2082020"/>
                  <a:pt x="2598368" y="2060559"/>
                  <a:pt x="2559549" y="2057873"/>
                </a:cubicBezTo>
                <a:cubicBezTo>
                  <a:pt x="2525789" y="2078403"/>
                  <a:pt x="2531908" y="2039838"/>
                  <a:pt x="2512054" y="2031671"/>
                </a:cubicBezTo>
                <a:lnTo>
                  <a:pt x="2506437" y="2030918"/>
                </a:lnTo>
                <a:lnTo>
                  <a:pt x="2491752" y="2033906"/>
                </a:lnTo>
                <a:lnTo>
                  <a:pt x="2486338" y="2035862"/>
                </a:lnTo>
                <a:cubicBezTo>
                  <a:pt x="2482568" y="2036899"/>
                  <a:pt x="2480011" y="2037191"/>
                  <a:pt x="2478186" y="2036953"/>
                </a:cubicBezTo>
                <a:lnTo>
                  <a:pt x="2477950" y="2036715"/>
                </a:lnTo>
                <a:lnTo>
                  <a:pt x="2470381" y="2038256"/>
                </a:lnTo>
                <a:cubicBezTo>
                  <a:pt x="2457686" y="2041461"/>
                  <a:pt x="2445410" y="2045155"/>
                  <a:pt x="2433781" y="2049140"/>
                </a:cubicBezTo>
                <a:cubicBezTo>
                  <a:pt x="2421781" y="2035703"/>
                  <a:pt x="2379959" y="2059234"/>
                  <a:pt x="2381172" y="2030645"/>
                </a:cubicBezTo>
                <a:cubicBezTo>
                  <a:pt x="2365380" y="2035192"/>
                  <a:pt x="2357148" y="2048120"/>
                  <a:pt x="2360198" y="2029059"/>
                </a:cubicBezTo>
                <a:cubicBezTo>
                  <a:pt x="2354933" y="2030031"/>
                  <a:pt x="2351467" y="2028919"/>
                  <a:pt x="2348815" y="2026798"/>
                </a:cubicBezTo>
                <a:lnTo>
                  <a:pt x="2347988" y="2025745"/>
                </a:lnTo>
                <a:lnTo>
                  <a:pt x="2312920" y="2036311"/>
                </a:lnTo>
                <a:lnTo>
                  <a:pt x="2307986" y="2035583"/>
                </a:lnTo>
                <a:lnTo>
                  <a:pt x="2285481" y="2045197"/>
                </a:lnTo>
                <a:lnTo>
                  <a:pt x="2273666" y="2048710"/>
                </a:lnTo>
                <a:lnTo>
                  <a:pt x="2270719" y="2052702"/>
                </a:lnTo>
                <a:cubicBezTo>
                  <a:pt x="2267315" y="2055347"/>
                  <a:pt x="2262161" y="2056992"/>
                  <a:pt x="2253080" y="2056363"/>
                </a:cubicBezTo>
                <a:lnTo>
                  <a:pt x="2250906" y="2055654"/>
                </a:lnTo>
                <a:lnTo>
                  <a:pt x="2236905" y="2062882"/>
                </a:lnTo>
                <a:cubicBezTo>
                  <a:pt x="2232493" y="2065942"/>
                  <a:pt x="2228705" y="2069583"/>
                  <a:pt x="2225830" y="2074027"/>
                </a:cubicBezTo>
                <a:cubicBezTo>
                  <a:pt x="2173117" y="2059597"/>
                  <a:pt x="2128486" y="2085502"/>
                  <a:pt x="2073776" y="2089244"/>
                </a:cubicBezTo>
                <a:cubicBezTo>
                  <a:pt x="2046050" y="2059365"/>
                  <a:pt x="1957570" y="2112693"/>
                  <a:pt x="1948256" y="2146616"/>
                </a:cubicBezTo>
                <a:cubicBezTo>
                  <a:pt x="1943005" y="2109192"/>
                  <a:pt x="1832736" y="2206239"/>
                  <a:pt x="1865582" y="2153738"/>
                </a:cubicBezTo>
                <a:cubicBezTo>
                  <a:pt x="1847376" y="2159567"/>
                  <a:pt x="1826258" y="2147592"/>
                  <a:pt x="1835210" y="2134244"/>
                </a:cubicBezTo>
                <a:cubicBezTo>
                  <a:pt x="1781916" y="2167476"/>
                  <a:pt x="1695112" y="2153556"/>
                  <a:pt x="1632661" y="2173882"/>
                </a:cubicBezTo>
                <a:cubicBezTo>
                  <a:pt x="1594177" y="2150642"/>
                  <a:pt x="1616426" y="2173975"/>
                  <a:pt x="1579590" y="2173680"/>
                </a:cubicBezTo>
                <a:cubicBezTo>
                  <a:pt x="1592812" y="2198112"/>
                  <a:pt x="1533818" y="2165220"/>
                  <a:pt x="1535601" y="2194590"/>
                </a:cubicBezTo>
                <a:cubicBezTo>
                  <a:pt x="1528840" y="2193608"/>
                  <a:pt x="1522236" y="2191728"/>
                  <a:pt x="1515594" y="2189622"/>
                </a:cubicBezTo>
                <a:lnTo>
                  <a:pt x="1512113" y="2188534"/>
                </a:lnTo>
                <a:lnTo>
                  <a:pt x="1498838" y="2189213"/>
                </a:lnTo>
                <a:lnTo>
                  <a:pt x="1494279" y="2183112"/>
                </a:lnTo>
                <a:lnTo>
                  <a:pt x="1473714" y="2179625"/>
                </a:lnTo>
                <a:cubicBezTo>
                  <a:pt x="1466138" y="2179292"/>
                  <a:pt x="1458132" y="2180071"/>
                  <a:pt x="1449503" y="2182633"/>
                </a:cubicBezTo>
                <a:lnTo>
                  <a:pt x="1266687" y="2212688"/>
                </a:lnTo>
                <a:cubicBezTo>
                  <a:pt x="1256792" y="2212722"/>
                  <a:pt x="1247024" y="2217857"/>
                  <a:pt x="1239614" y="2209727"/>
                </a:cubicBezTo>
                <a:cubicBezTo>
                  <a:pt x="1228778" y="2200326"/>
                  <a:pt x="1202276" y="2223497"/>
                  <a:pt x="1202436" y="2209817"/>
                </a:cubicBezTo>
                <a:cubicBezTo>
                  <a:pt x="1183471" y="2225854"/>
                  <a:pt x="1157340" y="2206849"/>
                  <a:pt x="1136097" y="2205112"/>
                </a:cubicBezTo>
                <a:cubicBezTo>
                  <a:pt x="1100396" y="2209415"/>
                  <a:pt x="1013922" y="2231219"/>
                  <a:pt x="988232" y="2235635"/>
                </a:cubicBezTo>
                <a:cubicBezTo>
                  <a:pt x="986445" y="2234079"/>
                  <a:pt x="984332" y="2232722"/>
                  <a:pt x="981959" y="2231607"/>
                </a:cubicBezTo>
                <a:cubicBezTo>
                  <a:pt x="968170" y="2225130"/>
                  <a:pt x="948759" y="2228043"/>
                  <a:pt x="938600" y="2238113"/>
                </a:cubicBezTo>
                <a:cubicBezTo>
                  <a:pt x="888371" y="2272824"/>
                  <a:pt x="837950" y="2280135"/>
                  <a:pt x="791788" y="2293224"/>
                </a:cubicBezTo>
                <a:cubicBezTo>
                  <a:pt x="739035" y="2305159"/>
                  <a:pt x="769009" y="2269676"/>
                  <a:pt x="706914" y="2305046"/>
                </a:cubicBezTo>
                <a:cubicBezTo>
                  <a:pt x="697882" y="2295919"/>
                  <a:pt x="689339" y="2296797"/>
                  <a:pt x="675971" y="2304030"/>
                </a:cubicBezTo>
                <a:cubicBezTo>
                  <a:pt x="650201" y="2309060"/>
                  <a:pt x="647591" y="2282853"/>
                  <a:pt x="624180" y="2302650"/>
                </a:cubicBezTo>
                <a:cubicBezTo>
                  <a:pt x="626400" y="2287987"/>
                  <a:pt x="574045" y="2305175"/>
                  <a:pt x="583453" y="2288788"/>
                </a:cubicBezTo>
                <a:cubicBezTo>
                  <a:pt x="564313" y="2278832"/>
                  <a:pt x="559671" y="2301039"/>
                  <a:pt x="540946" y="2292721"/>
                </a:cubicBezTo>
                <a:cubicBezTo>
                  <a:pt x="521576" y="2293191"/>
                  <a:pt x="554439" y="2305843"/>
                  <a:pt x="533680" y="2310233"/>
                </a:cubicBezTo>
                <a:cubicBezTo>
                  <a:pt x="508069" y="2313043"/>
                  <a:pt x="512638" y="2338541"/>
                  <a:pt x="487366" y="2309053"/>
                </a:cubicBezTo>
                <a:cubicBezTo>
                  <a:pt x="462164" y="2321083"/>
                  <a:pt x="454441" y="2307251"/>
                  <a:pt x="416820" y="2305443"/>
                </a:cubicBezTo>
                <a:cubicBezTo>
                  <a:pt x="403012" y="2315890"/>
                  <a:pt x="390105" y="2313733"/>
                  <a:pt x="376805" y="2307647"/>
                </a:cubicBezTo>
                <a:cubicBezTo>
                  <a:pt x="341751" y="2315035"/>
                  <a:pt x="307408" y="2307897"/>
                  <a:pt x="266777" y="2309012"/>
                </a:cubicBezTo>
                <a:cubicBezTo>
                  <a:pt x="225310" y="2324664"/>
                  <a:pt x="199419" y="2305548"/>
                  <a:pt x="156013" y="2306832"/>
                </a:cubicBezTo>
                <a:cubicBezTo>
                  <a:pt x="117457" y="2333851"/>
                  <a:pt x="122965" y="2279562"/>
                  <a:pt x="87258" y="2285511"/>
                </a:cubicBezTo>
                <a:cubicBezTo>
                  <a:pt x="38977" y="2309189"/>
                  <a:pt x="74043" y="2277969"/>
                  <a:pt x="23798" y="2281822"/>
                </a:cubicBezTo>
                <a:lnTo>
                  <a:pt x="0" y="2285369"/>
                </a:lnTo>
                <a:lnTo>
                  <a:pt x="0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F0A080DE-3B6C-1E8C-EA1C-DF44862E6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7974" y="393381"/>
            <a:ext cx="4581400" cy="1827306"/>
          </a:xfrm>
        </p:spPr>
        <p:txBody>
          <a:bodyPr>
            <a:normAutofit/>
          </a:bodyPr>
          <a:lstStyle/>
          <a:p>
            <a:pPr algn="l"/>
            <a:r>
              <a:rPr lang="pl-PL" sz="3600" b="1" dirty="0"/>
              <a:t>Analiza strategiczna </a:t>
            </a:r>
            <a:r>
              <a:rPr lang="pl-PL" sz="3600" b="1" dirty="0" err="1"/>
              <a:t>pzs</a:t>
            </a:r>
            <a:endParaRPr lang="pl-PL" sz="3600" b="1" dirty="0"/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10168E7A-67A6-C6ED-D801-3B67016FF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0554" y="3425091"/>
            <a:ext cx="5934979" cy="393377"/>
          </a:xfrm>
        </p:spPr>
        <p:txBody>
          <a:bodyPr>
            <a:normAutofit/>
          </a:bodyPr>
          <a:lstStyle/>
          <a:p>
            <a:pPr algn="l"/>
            <a:endParaRPr lang="pl-PL" sz="1600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626FC732-41E9-78A4-4135-6957E1B2EF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307088" y="6277971"/>
            <a:ext cx="6884912" cy="580030"/>
          </a:xfrm>
          <a:custGeom>
            <a:avLst/>
            <a:gdLst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59043 h 1161397"/>
              <a:gd name="connsiteX5" fmla="*/ 119094 w 6884912"/>
              <a:gd name="connsiteY5" fmla="*/ 1148463 h 1161397"/>
              <a:gd name="connsiteX6" fmla="*/ 171824 w 6884912"/>
              <a:gd name="connsiteY6" fmla="*/ 1133224 h 1161397"/>
              <a:gd name="connsiteX7" fmla="*/ 376455 w 6884912"/>
              <a:gd name="connsiteY7" fmla="*/ 1137381 h 1161397"/>
              <a:gd name="connsiteX8" fmla="*/ 478946 w 6884912"/>
              <a:gd name="connsiteY8" fmla="*/ 1106011 h 1161397"/>
              <a:gd name="connsiteX9" fmla="*/ 512111 w 6884912"/>
              <a:gd name="connsiteY9" fmla="*/ 1085599 h 1161397"/>
              <a:gd name="connsiteX10" fmla="*/ 567875 w 6884912"/>
              <a:gd name="connsiteY10" fmla="*/ 1051976 h 1161397"/>
              <a:gd name="connsiteX11" fmla="*/ 601644 w 6884912"/>
              <a:gd name="connsiteY11" fmla="*/ 1003997 h 1161397"/>
              <a:gd name="connsiteX12" fmla="*/ 651408 w 6884912"/>
              <a:gd name="connsiteY12" fmla="*/ 984938 h 1161397"/>
              <a:gd name="connsiteX13" fmla="*/ 673197 w 6884912"/>
              <a:gd name="connsiteY13" fmla="*/ 1010060 h 1161397"/>
              <a:gd name="connsiteX14" fmla="*/ 723108 w 6884912"/>
              <a:gd name="connsiteY14" fmla="*/ 980081 h 1161397"/>
              <a:gd name="connsiteX15" fmla="*/ 797699 w 6884912"/>
              <a:gd name="connsiteY15" fmla="*/ 931362 h 1161397"/>
              <a:gd name="connsiteX16" fmla="*/ 843359 w 6884912"/>
              <a:gd name="connsiteY16" fmla="*/ 910894 h 1161397"/>
              <a:gd name="connsiteX17" fmla="*/ 965215 w 6884912"/>
              <a:gd name="connsiteY17" fmla="*/ 846701 h 1161397"/>
              <a:gd name="connsiteX18" fmla="*/ 1085080 w 6884912"/>
              <a:gd name="connsiteY18" fmla="*/ 776086 h 1161397"/>
              <a:gd name="connsiteX19" fmla="*/ 1131224 w 6884912"/>
              <a:gd name="connsiteY19" fmla="*/ 706160 h 1161397"/>
              <a:gd name="connsiteX20" fmla="*/ 1138051 w 6884912"/>
              <a:gd name="connsiteY20" fmla="*/ 702034 h 1161397"/>
              <a:gd name="connsiteX21" fmla="*/ 1158800 w 6884912"/>
              <a:gd name="connsiteY21" fmla="*/ 700004 h 1161397"/>
              <a:gd name="connsiteX22" fmla="*/ 1166947 w 6884912"/>
              <a:gd name="connsiteY22" fmla="*/ 700762 h 1161397"/>
              <a:gd name="connsiteX23" fmla="*/ 1178135 w 6884912"/>
              <a:gd name="connsiteY23" fmla="*/ 698631 h 1161397"/>
              <a:gd name="connsiteX24" fmla="*/ 1178301 w 6884912"/>
              <a:gd name="connsiteY24" fmla="*/ 698094 h 1161397"/>
              <a:gd name="connsiteX25" fmla="*/ 1188995 w 6884912"/>
              <a:gd name="connsiteY25" fmla="*/ 697048 h 1161397"/>
              <a:gd name="connsiteX26" fmla="*/ 1242716 w 6884912"/>
              <a:gd name="connsiteY26" fmla="*/ 698052 h 1161397"/>
              <a:gd name="connsiteX27" fmla="*/ 1299977 w 6884912"/>
              <a:gd name="connsiteY27" fmla="*/ 639196 h 1161397"/>
              <a:gd name="connsiteX28" fmla="*/ 1326190 w 6884912"/>
              <a:gd name="connsiteY28" fmla="*/ 625955 h 1161397"/>
              <a:gd name="connsiteX29" fmla="*/ 1339600 w 6884912"/>
              <a:gd name="connsiteY29" fmla="*/ 616295 h 1161397"/>
              <a:gd name="connsiteX30" fmla="*/ 1340054 w 6884912"/>
              <a:gd name="connsiteY30" fmla="*/ 614022 h 1161397"/>
              <a:gd name="connsiteX31" fmla="*/ 1391606 w 6884912"/>
              <a:gd name="connsiteY31" fmla="*/ 615229 h 1161397"/>
              <a:gd name="connsiteX32" fmla="*/ 1397565 w 6884912"/>
              <a:gd name="connsiteY32" fmla="*/ 611490 h 1161397"/>
              <a:gd name="connsiteX33" fmla="*/ 1432302 w 6884912"/>
              <a:gd name="connsiteY33" fmla="*/ 617267 h 1161397"/>
              <a:gd name="connsiteX34" fmla="*/ 1449644 w 6884912"/>
              <a:gd name="connsiteY34" fmla="*/ 617591 h 1161397"/>
              <a:gd name="connsiteX35" fmla="*/ 1455793 w 6884912"/>
              <a:gd name="connsiteY35" fmla="*/ 623174 h 1161397"/>
              <a:gd name="connsiteX36" fmla="*/ 1480758 w 6884912"/>
              <a:gd name="connsiteY36" fmla="*/ 620863 h 1161397"/>
              <a:gd name="connsiteX37" fmla="*/ 1483154 w 6884912"/>
              <a:gd name="connsiteY37" fmla="*/ 618527 h 1161397"/>
              <a:gd name="connsiteX38" fmla="*/ 1505495 w 6884912"/>
              <a:gd name="connsiteY38" fmla="*/ 624325 h 1161397"/>
              <a:gd name="connsiteX39" fmla="*/ 1526340 w 6884912"/>
              <a:gd name="connsiteY39" fmla="*/ 638496 h 1161397"/>
              <a:gd name="connsiteX40" fmla="*/ 1731986 w 6884912"/>
              <a:gd name="connsiteY40" fmla="*/ 589682 h 1161397"/>
              <a:gd name="connsiteX41" fmla="*/ 1927935 w 6884912"/>
              <a:gd name="connsiteY41" fmla="*/ 628540 h 1161397"/>
              <a:gd name="connsiteX42" fmla="*/ 2039075 w 6884912"/>
              <a:gd name="connsiteY42" fmla="*/ 599964 h 1161397"/>
              <a:gd name="connsiteX43" fmla="*/ 2066980 w 6884912"/>
              <a:gd name="connsiteY43" fmla="*/ 550413 h 1161397"/>
              <a:gd name="connsiteX44" fmla="*/ 2352236 w 6884912"/>
              <a:gd name="connsiteY44" fmla="*/ 519602 h 1161397"/>
              <a:gd name="connsiteX45" fmla="*/ 2420791 w 6884912"/>
              <a:gd name="connsiteY45" fmla="*/ 492826 h 1161397"/>
              <a:gd name="connsiteX46" fmla="*/ 2489932 w 6884912"/>
              <a:gd name="connsiteY46" fmla="*/ 507864 h 1161397"/>
              <a:gd name="connsiteX47" fmla="*/ 2512917 w 6884912"/>
              <a:gd name="connsiteY47" fmla="*/ 489127 h 1161397"/>
              <a:gd name="connsiteX48" fmla="*/ 2516783 w 6884912"/>
              <a:gd name="connsiteY48" fmla="*/ 485473 h 1161397"/>
              <a:gd name="connsiteX49" fmla="*/ 2534360 w 6884912"/>
              <a:gd name="connsiteY49" fmla="*/ 480064 h 1161397"/>
              <a:gd name="connsiteX50" fmla="*/ 2536691 w 6884912"/>
              <a:gd name="connsiteY50" fmla="*/ 467018 h 1161397"/>
              <a:gd name="connsiteX51" fmla="*/ 2561265 w 6884912"/>
              <a:gd name="connsiteY51" fmla="*/ 450623 h 1161397"/>
              <a:gd name="connsiteX52" fmla="*/ 2594349 w 6884912"/>
              <a:gd name="connsiteY52" fmla="*/ 443884 h 1161397"/>
              <a:gd name="connsiteX53" fmla="*/ 2754324 w 6884912"/>
              <a:gd name="connsiteY53" fmla="*/ 424766 h 1161397"/>
              <a:gd name="connsiteX54" fmla="*/ 2848470 w 6884912"/>
              <a:gd name="connsiteY54" fmla="*/ 405966 h 1161397"/>
              <a:gd name="connsiteX55" fmla="*/ 2881772 w 6884912"/>
              <a:gd name="connsiteY55" fmla="*/ 387260 h 1161397"/>
              <a:gd name="connsiteX56" fmla="*/ 2929932 w 6884912"/>
              <a:gd name="connsiteY56" fmla="*/ 368912 h 1161397"/>
              <a:gd name="connsiteX57" fmla="*/ 3013020 w 6884912"/>
              <a:gd name="connsiteY57" fmla="*/ 327578 h 1161397"/>
              <a:gd name="connsiteX58" fmla="*/ 3127968 w 6884912"/>
              <a:gd name="connsiteY58" fmla="*/ 287613 h 1161397"/>
              <a:gd name="connsiteX59" fmla="*/ 3222191 w 6884912"/>
              <a:gd name="connsiteY59" fmla="*/ 307887 h 1161397"/>
              <a:gd name="connsiteX60" fmla="*/ 3227953 w 6884912"/>
              <a:gd name="connsiteY60" fmla="*/ 297650 h 1161397"/>
              <a:gd name="connsiteX61" fmla="*/ 3287859 w 6884912"/>
              <a:gd name="connsiteY61" fmla="*/ 287558 h 1161397"/>
              <a:gd name="connsiteX62" fmla="*/ 3510042 w 6884912"/>
              <a:gd name="connsiteY62" fmla="*/ 311820 h 1161397"/>
              <a:gd name="connsiteX63" fmla="*/ 3626773 w 6884912"/>
              <a:gd name="connsiteY63" fmla="*/ 290452 h 1161397"/>
              <a:gd name="connsiteX64" fmla="*/ 3666217 w 6884912"/>
              <a:gd name="connsiteY64" fmla="*/ 273255 h 1161397"/>
              <a:gd name="connsiteX65" fmla="*/ 3732427 w 6884912"/>
              <a:gd name="connsiteY65" fmla="*/ 245039 h 1161397"/>
              <a:gd name="connsiteX66" fmla="*/ 3777022 w 6884912"/>
              <a:gd name="connsiteY66" fmla="*/ 200276 h 1161397"/>
              <a:gd name="connsiteX67" fmla="*/ 3791246 w 6884912"/>
              <a:gd name="connsiteY67" fmla="*/ 189996 h 1161397"/>
              <a:gd name="connsiteX68" fmla="*/ 3819864 w 6884912"/>
              <a:gd name="connsiteY68" fmla="*/ 194605 h 1161397"/>
              <a:gd name="connsiteX69" fmla="*/ 3830398 w 6884912"/>
              <a:gd name="connsiteY69" fmla="*/ 188383 h 1161397"/>
              <a:gd name="connsiteX70" fmla="*/ 3834360 w 6884912"/>
              <a:gd name="connsiteY70" fmla="*/ 188992 h 1161397"/>
              <a:gd name="connsiteX71" fmla="*/ 3843715 w 6884912"/>
              <a:gd name="connsiteY71" fmla="*/ 188752 h 1161397"/>
              <a:gd name="connsiteX72" fmla="*/ 3842609 w 6884912"/>
              <a:gd name="connsiteY72" fmla="*/ 197386 h 1161397"/>
              <a:gd name="connsiteX73" fmla="*/ 3853961 w 6884912"/>
              <a:gd name="connsiteY73" fmla="*/ 213380 h 1161397"/>
              <a:gd name="connsiteX74" fmla="*/ 3907640 w 6884912"/>
              <a:gd name="connsiteY74" fmla="*/ 207568 h 1161397"/>
              <a:gd name="connsiteX75" fmla="*/ 3910449 w 6884912"/>
              <a:gd name="connsiteY75" fmla="*/ 197808 h 1161397"/>
              <a:gd name="connsiteX76" fmla="*/ 3917197 w 6884912"/>
              <a:gd name="connsiteY76" fmla="*/ 196121 h 1161397"/>
              <a:gd name="connsiteX77" fmla="*/ 3922400 w 6884912"/>
              <a:gd name="connsiteY77" fmla="*/ 205056 h 1161397"/>
              <a:gd name="connsiteX78" fmla="*/ 4013061 w 6884912"/>
              <a:gd name="connsiteY78" fmla="*/ 224874 h 1161397"/>
              <a:gd name="connsiteX79" fmla="*/ 4134285 w 6884912"/>
              <a:gd name="connsiteY79" fmla="*/ 235592 h 1161397"/>
              <a:gd name="connsiteX80" fmla="*/ 4220717 w 6884912"/>
              <a:gd name="connsiteY80" fmla="*/ 192946 h 1161397"/>
              <a:gd name="connsiteX81" fmla="*/ 4228802 w 6884912"/>
              <a:gd name="connsiteY81" fmla="*/ 201468 h 1161397"/>
              <a:gd name="connsiteX82" fmla="*/ 4289361 w 6884912"/>
              <a:gd name="connsiteY82" fmla="*/ 196642 h 1161397"/>
              <a:gd name="connsiteX83" fmla="*/ 4498913 w 6884912"/>
              <a:gd name="connsiteY83" fmla="*/ 118915 h 1161397"/>
              <a:gd name="connsiteX84" fmla="*/ 4617330 w 6884912"/>
              <a:gd name="connsiteY84" fmla="*/ 111163 h 1161397"/>
              <a:gd name="connsiteX85" fmla="*/ 4659778 w 6884912"/>
              <a:gd name="connsiteY85" fmla="*/ 118219 h 1161397"/>
              <a:gd name="connsiteX86" fmla="*/ 4730870 w 6884912"/>
              <a:gd name="connsiteY86" fmla="*/ 129432 h 1161397"/>
              <a:gd name="connsiteX87" fmla="*/ 4785037 w 6884912"/>
              <a:gd name="connsiteY87" fmla="*/ 161964 h 1161397"/>
              <a:gd name="connsiteX88" fmla="*/ 4844073 w 6884912"/>
              <a:gd name="connsiteY88" fmla="*/ 161768 h 1161397"/>
              <a:gd name="connsiteX89" fmla="*/ 4856454 w 6884912"/>
              <a:gd name="connsiteY89" fmla="*/ 130488 h 1161397"/>
              <a:gd name="connsiteX90" fmla="*/ 4920038 w 6884912"/>
              <a:gd name="connsiteY90" fmla="*/ 140418 h 1161397"/>
              <a:gd name="connsiteX91" fmla="*/ 5016639 w 6884912"/>
              <a:gd name="connsiteY91" fmla="*/ 158905 h 1161397"/>
              <a:gd name="connsiteX92" fmla="*/ 5072009 w 6884912"/>
              <a:gd name="connsiteY92" fmla="*/ 161502 h 1161397"/>
              <a:gd name="connsiteX93" fmla="*/ 5223626 w 6884912"/>
              <a:gd name="connsiteY93" fmla="*/ 177356 h 1161397"/>
              <a:gd name="connsiteX94" fmla="*/ 5375773 w 6884912"/>
              <a:gd name="connsiteY94" fmla="*/ 199913 h 1161397"/>
              <a:gd name="connsiteX95" fmla="*/ 5467502 w 6884912"/>
              <a:gd name="connsiteY95" fmla="*/ 250963 h 1161397"/>
              <a:gd name="connsiteX96" fmla="*/ 5592395 w 6884912"/>
              <a:gd name="connsiteY96" fmla="*/ 265434 h 1161397"/>
              <a:gd name="connsiteX97" fmla="*/ 5613532 w 6884912"/>
              <a:gd name="connsiteY97" fmla="*/ 273379 h 1161397"/>
              <a:gd name="connsiteX98" fmla="*/ 5642173 w 6884912"/>
              <a:gd name="connsiteY98" fmla="*/ 266904 h 1161397"/>
              <a:gd name="connsiteX99" fmla="*/ 5756910 w 6884912"/>
              <a:gd name="connsiteY99" fmla="*/ 239211 h 1161397"/>
              <a:gd name="connsiteX100" fmla="*/ 5846667 w 6884912"/>
              <a:gd name="connsiteY100" fmla="*/ 201786 h 1161397"/>
              <a:gd name="connsiteX101" fmla="*/ 5960732 w 6884912"/>
              <a:gd name="connsiteY101" fmla="*/ 220708 h 1161397"/>
              <a:gd name="connsiteX102" fmla="*/ 6029542 w 6884912"/>
              <a:gd name="connsiteY102" fmla="*/ 210339 h 1161397"/>
              <a:gd name="connsiteX103" fmla="*/ 6141123 w 6884912"/>
              <a:gd name="connsiteY103" fmla="*/ 159923 h 1161397"/>
              <a:gd name="connsiteX104" fmla="*/ 6290640 w 6884912"/>
              <a:gd name="connsiteY104" fmla="*/ 167441 h 1161397"/>
              <a:gd name="connsiteX105" fmla="*/ 6322806 w 6884912"/>
              <a:gd name="connsiteY105" fmla="*/ 213293 h 1161397"/>
              <a:gd name="connsiteX106" fmla="*/ 6364914 w 6884912"/>
              <a:gd name="connsiteY106" fmla="*/ 240140 h 1161397"/>
              <a:gd name="connsiteX107" fmla="*/ 6380420 w 6884912"/>
              <a:gd name="connsiteY107" fmla="*/ 173195 h 1161397"/>
              <a:gd name="connsiteX108" fmla="*/ 6507891 w 6884912"/>
              <a:gd name="connsiteY108" fmla="*/ 118474 h 1161397"/>
              <a:gd name="connsiteX109" fmla="*/ 6571807 w 6884912"/>
              <a:gd name="connsiteY109" fmla="*/ 98636 h 1161397"/>
              <a:gd name="connsiteX110" fmla="*/ 6671880 w 6884912"/>
              <a:gd name="connsiteY110" fmla="*/ 82931 h 1161397"/>
              <a:gd name="connsiteX111" fmla="*/ 6702266 w 6884912"/>
              <a:gd name="connsiteY111" fmla="*/ 75470 h 1161397"/>
              <a:gd name="connsiteX112" fmla="*/ 6845802 w 6884912"/>
              <a:gd name="connsiteY112" fmla="*/ 24496 h 1161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6884912" h="1161397">
                <a:moveTo>
                  <a:pt x="6884912" y="0"/>
                </a:moveTo>
                <a:lnTo>
                  <a:pt x="6884912" y="1161397"/>
                </a:lnTo>
                <a:lnTo>
                  <a:pt x="0" y="1161397"/>
                </a:lnTo>
                <a:lnTo>
                  <a:pt x="27135" y="1147460"/>
                </a:lnTo>
                <a:cubicBezTo>
                  <a:pt x="57431" y="1167048"/>
                  <a:pt x="61886" y="1135904"/>
                  <a:pt x="115388" y="1159043"/>
                </a:cubicBezTo>
                <a:cubicBezTo>
                  <a:pt x="116121" y="1155340"/>
                  <a:pt x="117370" y="1151777"/>
                  <a:pt x="119094" y="1148463"/>
                </a:cubicBezTo>
                <a:cubicBezTo>
                  <a:pt x="129121" y="1129214"/>
                  <a:pt x="152727" y="1122391"/>
                  <a:pt x="171824" y="1133224"/>
                </a:cubicBezTo>
                <a:cubicBezTo>
                  <a:pt x="254344" y="1161369"/>
                  <a:pt x="315458" y="1143220"/>
                  <a:pt x="376455" y="1137381"/>
                </a:cubicBezTo>
                <a:cubicBezTo>
                  <a:pt x="443775" y="1125614"/>
                  <a:pt x="382885" y="1083927"/>
                  <a:pt x="478946" y="1106011"/>
                </a:cubicBezTo>
                <a:cubicBezTo>
                  <a:pt x="481662" y="1085172"/>
                  <a:pt x="491731" y="1081489"/>
                  <a:pt x="512111" y="1085599"/>
                </a:cubicBezTo>
                <a:cubicBezTo>
                  <a:pt x="544368" y="1078502"/>
                  <a:pt x="526559" y="1032754"/>
                  <a:pt x="567875" y="1051976"/>
                </a:cubicBezTo>
                <a:cubicBezTo>
                  <a:pt x="553871" y="1028602"/>
                  <a:pt x="624901" y="1025930"/>
                  <a:pt x="601644" y="1003997"/>
                </a:cubicBezTo>
                <a:cubicBezTo>
                  <a:pt x="614803" y="975652"/>
                  <a:pt x="637415" y="1010272"/>
                  <a:pt x="651408" y="984938"/>
                </a:cubicBezTo>
                <a:cubicBezTo>
                  <a:pt x="673042" y="974024"/>
                  <a:pt x="646948" y="1015207"/>
                  <a:pt x="673197" y="1010060"/>
                </a:cubicBezTo>
                <a:cubicBezTo>
                  <a:pt x="703527" y="999318"/>
                  <a:pt x="718626" y="1045053"/>
                  <a:pt x="723108" y="980081"/>
                </a:cubicBezTo>
                <a:cubicBezTo>
                  <a:pt x="760262" y="985126"/>
                  <a:pt x="757827" y="957145"/>
                  <a:pt x="797699" y="931362"/>
                </a:cubicBezTo>
                <a:cubicBezTo>
                  <a:pt x="821097" y="940623"/>
                  <a:pt x="833565" y="929189"/>
                  <a:pt x="843359" y="910894"/>
                </a:cubicBezTo>
                <a:cubicBezTo>
                  <a:pt x="887668" y="902160"/>
                  <a:pt x="919738" y="869376"/>
                  <a:pt x="965215" y="846701"/>
                </a:cubicBezTo>
                <a:cubicBezTo>
                  <a:pt x="1023081" y="848019"/>
                  <a:pt x="1036422" y="800154"/>
                  <a:pt x="1085080" y="776086"/>
                </a:cubicBezTo>
                <a:cubicBezTo>
                  <a:pt x="1140763" y="795544"/>
                  <a:pt x="1110309" y="730471"/>
                  <a:pt x="1131224" y="706160"/>
                </a:cubicBezTo>
                <a:lnTo>
                  <a:pt x="1138051" y="702034"/>
                </a:lnTo>
                <a:lnTo>
                  <a:pt x="1158800" y="700004"/>
                </a:lnTo>
                <a:lnTo>
                  <a:pt x="1166947" y="700762"/>
                </a:lnTo>
                <a:cubicBezTo>
                  <a:pt x="1172432" y="700717"/>
                  <a:pt x="1175913" y="699961"/>
                  <a:pt x="1178135" y="698631"/>
                </a:cubicBezTo>
                <a:lnTo>
                  <a:pt x="1178301" y="698094"/>
                </a:lnTo>
                <a:lnTo>
                  <a:pt x="1188995" y="697048"/>
                </a:lnTo>
                <a:cubicBezTo>
                  <a:pt x="1207294" y="696390"/>
                  <a:pt x="1225337" y="696802"/>
                  <a:pt x="1242716" y="698052"/>
                </a:cubicBezTo>
                <a:cubicBezTo>
                  <a:pt x="1250387" y="668345"/>
                  <a:pt x="1318259" y="689091"/>
                  <a:pt x="1299977" y="639196"/>
                </a:cubicBezTo>
                <a:cubicBezTo>
                  <a:pt x="1323072" y="639367"/>
                  <a:pt x="1341279" y="658105"/>
                  <a:pt x="1326190" y="625955"/>
                </a:cubicBezTo>
                <a:cubicBezTo>
                  <a:pt x="1333572" y="625050"/>
                  <a:pt x="1337406" y="621362"/>
                  <a:pt x="1339600" y="616295"/>
                </a:cubicBezTo>
                <a:lnTo>
                  <a:pt x="1340054" y="614022"/>
                </a:lnTo>
                <a:lnTo>
                  <a:pt x="1391606" y="615229"/>
                </a:lnTo>
                <a:lnTo>
                  <a:pt x="1397565" y="611490"/>
                </a:lnTo>
                <a:lnTo>
                  <a:pt x="1432302" y="617267"/>
                </a:lnTo>
                <a:lnTo>
                  <a:pt x="1449644" y="617591"/>
                </a:lnTo>
                <a:lnTo>
                  <a:pt x="1455793" y="623174"/>
                </a:lnTo>
                <a:cubicBezTo>
                  <a:pt x="1461744" y="626151"/>
                  <a:pt x="1469373" y="626493"/>
                  <a:pt x="1480758" y="620863"/>
                </a:cubicBezTo>
                <a:lnTo>
                  <a:pt x="1483154" y="618527"/>
                </a:lnTo>
                <a:lnTo>
                  <a:pt x="1505495" y="624325"/>
                </a:lnTo>
                <a:cubicBezTo>
                  <a:pt x="1512992" y="627532"/>
                  <a:pt x="1520025" y="632078"/>
                  <a:pt x="1526340" y="638496"/>
                </a:cubicBezTo>
                <a:cubicBezTo>
                  <a:pt x="1586113" y="586768"/>
                  <a:pt x="1659006" y="610309"/>
                  <a:pt x="1731986" y="589682"/>
                </a:cubicBezTo>
                <a:cubicBezTo>
                  <a:pt x="1750397" y="523106"/>
                  <a:pt x="1896056" y="573257"/>
                  <a:pt x="1927935" y="628540"/>
                </a:cubicBezTo>
                <a:cubicBezTo>
                  <a:pt x="1912854" y="559823"/>
                  <a:pt x="2112261" y="676347"/>
                  <a:pt x="2039075" y="599964"/>
                </a:cubicBezTo>
                <a:cubicBezTo>
                  <a:pt x="2066036" y="601198"/>
                  <a:pt x="2086366" y="569532"/>
                  <a:pt x="2066980" y="550413"/>
                </a:cubicBezTo>
                <a:cubicBezTo>
                  <a:pt x="2155364" y="582582"/>
                  <a:pt x="2259548" y="514786"/>
                  <a:pt x="2352236" y="519602"/>
                </a:cubicBezTo>
                <a:cubicBezTo>
                  <a:pt x="2388450" y="459394"/>
                  <a:pt x="2373298" y="511682"/>
                  <a:pt x="2420791" y="492826"/>
                </a:cubicBezTo>
                <a:cubicBezTo>
                  <a:pt x="2417962" y="542563"/>
                  <a:pt x="2475071" y="455098"/>
                  <a:pt x="2489932" y="507864"/>
                </a:cubicBezTo>
                <a:cubicBezTo>
                  <a:pt x="2498105" y="502761"/>
                  <a:pt x="2505553" y="496153"/>
                  <a:pt x="2512917" y="489127"/>
                </a:cubicBezTo>
                <a:lnTo>
                  <a:pt x="2516783" y="485473"/>
                </a:lnTo>
                <a:lnTo>
                  <a:pt x="2534360" y="480064"/>
                </a:lnTo>
                <a:lnTo>
                  <a:pt x="2536691" y="467018"/>
                </a:lnTo>
                <a:lnTo>
                  <a:pt x="2561265" y="450623"/>
                </a:lnTo>
                <a:cubicBezTo>
                  <a:pt x="2570872" y="446262"/>
                  <a:pt x="2581686" y="443655"/>
                  <a:pt x="2594349" y="443884"/>
                </a:cubicBezTo>
                <a:cubicBezTo>
                  <a:pt x="2640435" y="464638"/>
                  <a:pt x="2696955" y="396361"/>
                  <a:pt x="2754324" y="424766"/>
                </a:cubicBezTo>
                <a:cubicBezTo>
                  <a:pt x="2775130" y="430896"/>
                  <a:pt x="2837731" y="423458"/>
                  <a:pt x="2848470" y="405966"/>
                </a:cubicBezTo>
                <a:cubicBezTo>
                  <a:pt x="2861295" y="401100"/>
                  <a:pt x="2876936" y="405309"/>
                  <a:pt x="2881772" y="387260"/>
                </a:cubicBezTo>
                <a:cubicBezTo>
                  <a:pt x="2890299" y="365261"/>
                  <a:pt x="2938134" y="392997"/>
                  <a:pt x="2929932" y="368912"/>
                </a:cubicBezTo>
                <a:cubicBezTo>
                  <a:pt x="2963844" y="387799"/>
                  <a:pt x="2986550" y="341223"/>
                  <a:pt x="3013020" y="327578"/>
                </a:cubicBezTo>
                <a:cubicBezTo>
                  <a:pt x="3040041" y="346996"/>
                  <a:pt x="3068934" y="299222"/>
                  <a:pt x="3127968" y="287613"/>
                </a:cubicBezTo>
                <a:cubicBezTo>
                  <a:pt x="3157770" y="310215"/>
                  <a:pt x="3167695" y="279445"/>
                  <a:pt x="3222191" y="307887"/>
                </a:cubicBezTo>
                <a:cubicBezTo>
                  <a:pt x="3223593" y="304249"/>
                  <a:pt x="3225533" y="300801"/>
                  <a:pt x="3227953" y="297650"/>
                </a:cubicBezTo>
                <a:cubicBezTo>
                  <a:pt x="3242008" y="279345"/>
                  <a:pt x="3268831" y="274825"/>
                  <a:pt x="3287859" y="287558"/>
                </a:cubicBezTo>
                <a:cubicBezTo>
                  <a:pt x="3373144" y="323866"/>
                  <a:pt x="3442657" y="311681"/>
                  <a:pt x="3510042" y="311820"/>
                </a:cubicBezTo>
                <a:cubicBezTo>
                  <a:pt x="3585274" y="306641"/>
                  <a:pt x="3525753" y="258887"/>
                  <a:pt x="3626773" y="290452"/>
                </a:cubicBezTo>
                <a:cubicBezTo>
                  <a:pt x="3633124" y="269835"/>
                  <a:pt x="3644693" y="267134"/>
                  <a:pt x="3666217" y="273255"/>
                </a:cubicBezTo>
                <a:cubicBezTo>
                  <a:pt x="3702502" y="269310"/>
                  <a:pt x="3690563" y="221720"/>
                  <a:pt x="3732427" y="245039"/>
                </a:cubicBezTo>
                <a:cubicBezTo>
                  <a:pt x="3720985" y="220241"/>
                  <a:pt x="3798776" y="224539"/>
                  <a:pt x="3777022" y="200276"/>
                </a:cubicBezTo>
                <a:cubicBezTo>
                  <a:pt x="3781759" y="193499"/>
                  <a:pt x="3786499" y="190723"/>
                  <a:pt x="3791246" y="189996"/>
                </a:cubicBezTo>
                <a:cubicBezTo>
                  <a:pt x="3800740" y="188542"/>
                  <a:pt x="3810265" y="195284"/>
                  <a:pt x="3819864" y="194605"/>
                </a:cubicBezTo>
                <a:lnTo>
                  <a:pt x="3830398" y="188383"/>
                </a:lnTo>
                <a:lnTo>
                  <a:pt x="3834360" y="188992"/>
                </a:lnTo>
                <a:lnTo>
                  <a:pt x="3843715" y="188752"/>
                </a:lnTo>
                <a:lnTo>
                  <a:pt x="3842609" y="197386"/>
                </a:lnTo>
                <a:cubicBezTo>
                  <a:pt x="3840673" y="205638"/>
                  <a:pt x="3839248" y="214671"/>
                  <a:pt x="3853961" y="213380"/>
                </a:cubicBezTo>
                <a:cubicBezTo>
                  <a:pt x="3884396" y="206569"/>
                  <a:pt x="3895082" y="241941"/>
                  <a:pt x="3907640" y="207568"/>
                </a:cubicBezTo>
                <a:lnTo>
                  <a:pt x="3910449" y="197808"/>
                </a:lnTo>
                <a:lnTo>
                  <a:pt x="3917197" y="196121"/>
                </a:lnTo>
                <a:cubicBezTo>
                  <a:pt x="3920833" y="196372"/>
                  <a:pt x="3922919" y="198717"/>
                  <a:pt x="3922400" y="205056"/>
                </a:cubicBezTo>
                <a:cubicBezTo>
                  <a:pt x="3950680" y="178467"/>
                  <a:pt x="3984062" y="218098"/>
                  <a:pt x="4013061" y="224874"/>
                </a:cubicBezTo>
                <a:cubicBezTo>
                  <a:pt x="4034530" y="199451"/>
                  <a:pt x="4074202" y="238734"/>
                  <a:pt x="4134285" y="235592"/>
                </a:cubicBezTo>
                <a:cubicBezTo>
                  <a:pt x="4157674" y="206403"/>
                  <a:pt x="4174806" y="233822"/>
                  <a:pt x="4220717" y="192946"/>
                </a:cubicBezTo>
                <a:cubicBezTo>
                  <a:pt x="4222964" y="196132"/>
                  <a:pt x="4225687" y="199002"/>
                  <a:pt x="4228802" y="201468"/>
                </a:cubicBezTo>
                <a:cubicBezTo>
                  <a:pt x="4246898" y="215792"/>
                  <a:pt x="4274013" y="213632"/>
                  <a:pt x="4289361" y="196642"/>
                </a:cubicBezTo>
                <a:cubicBezTo>
                  <a:pt x="4363212" y="140627"/>
                  <a:pt x="4433598" y="135488"/>
                  <a:pt x="4498913" y="118915"/>
                </a:cubicBezTo>
                <a:cubicBezTo>
                  <a:pt x="4573135" y="105586"/>
                  <a:pt x="4527062" y="166416"/>
                  <a:pt x="4617330" y="111163"/>
                </a:cubicBezTo>
                <a:cubicBezTo>
                  <a:pt x="4628518" y="129608"/>
                  <a:pt x="4640397" y="129405"/>
                  <a:pt x="4659778" y="118219"/>
                </a:cubicBezTo>
                <a:cubicBezTo>
                  <a:pt x="4695929" y="113193"/>
                  <a:pt x="4695958" y="162259"/>
                  <a:pt x="4730870" y="129432"/>
                </a:cubicBezTo>
                <a:cubicBezTo>
                  <a:pt x="4725822" y="156271"/>
                  <a:pt x="4800214" y="133127"/>
                  <a:pt x="4785037" y="161964"/>
                </a:cubicBezTo>
                <a:cubicBezTo>
                  <a:pt x="4810025" y="183633"/>
                  <a:pt x="4819434" y="143205"/>
                  <a:pt x="4844073" y="161768"/>
                </a:cubicBezTo>
                <a:cubicBezTo>
                  <a:pt x="4870797" y="164132"/>
                  <a:pt x="4827288" y="135164"/>
                  <a:pt x="4856454" y="130488"/>
                </a:cubicBezTo>
                <a:cubicBezTo>
                  <a:pt x="4892086" y="129553"/>
                  <a:pt x="4889263" y="81477"/>
                  <a:pt x="4920038" y="140418"/>
                </a:cubicBezTo>
                <a:cubicBezTo>
                  <a:pt x="4956358" y="122308"/>
                  <a:pt x="4965108" y="149263"/>
                  <a:pt x="5016639" y="158905"/>
                </a:cubicBezTo>
                <a:cubicBezTo>
                  <a:pt x="5037063" y="141828"/>
                  <a:pt x="5054534" y="147986"/>
                  <a:pt x="5072009" y="161502"/>
                </a:cubicBezTo>
                <a:cubicBezTo>
                  <a:pt x="5121260" y="153653"/>
                  <a:pt x="5167555" y="172635"/>
                  <a:pt x="5223626" y="177356"/>
                </a:cubicBezTo>
                <a:cubicBezTo>
                  <a:pt x="5282824" y="155243"/>
                  <a:pt x="5315859" y="195041"/>
                  <a:pt x="5375773" y="199913"/>
                </a:cubicBezTo>
                <a:cubicBezTo>
                  <a:pt x="5432511" y="156218"/>
                  <a:pt x="5417550" y="256036"/>
                  <a:pt x="5467502" y="250963"/>
                </a:cubicBezTo>
                <a:cubicBezTo>
                  <a:pt x="5547124" y="209975"/>
                  <a:pt x="5467171" y="283839"/>
                  <a:pt x="5592395" y="265434"/>
                </a:cubicBezTo>
                <a:cubicBezTo>
                  <a:pt x="5599201" y="258867"/>
                  <a:pt x="5614752" y="264706"/>
                  <a:pt x="5613532" y="273379"/>
                </a:cubicBezTo>
                <a:cubicBezTo>
                  <a:pt x="5621390" y="270408"/>
                  <a:pt x="5639720" y="253173"/>
                  <a:pt x="5642173" y="266904"/>
                </a:cubicBezTo>
                <a:cubicBezTo>
                  <a:pt x="5682296" y="267049"/>
                  <a:pt x="5721812" y="257513"/>
                  <a:pt x="5756910" y="239211"/>
                </a:cubicBezTo>
                <a:cubicBezTo>
                  <a:pt x="5834998" y="260050"/>
                  <a:pt x="5790596" y="197229"/>
                  <a:pt x="5846667" y="201786"/>
                </a:cubicBezTo>
                <a:cubicBezTo>
                  <a:pt x="5892444" y="227312"/>
                  <a:pt x="5908324" y="204527"/>
                  <a:pt x="5960732" y="220708"/>
                </a:cubicBezTo>
                <a:cubicBezTo>
                  <a:pt x="5977124" y="175349"/>
                  <a:pt x="6009640" y="223654"/>
                  <a:pt x="6029542" y="210339"/>
                </a:cubicBezTo>
                <a:cubicBezTo>
                  <a:pt x="6063108" y="261420"/>
                  <a:pt x="6107411" y="160034"/>
                  <a:pt x="6141123" y="159923"/>
                </a:cubicBezTo>
                <a:cubicBezTo>
                  <a:pt x="6198068" y="167749"/>
                  <a:pt x="6260628" y="219715"/>
                  <a:pt x="6290640" y="167441"/>
                </a:cubicBezTo>
                <a:cubicBezTo>
                  <a:pt x="6295193" y="188689"/>
                  <a:pt x="6290494" y="217816"/>
                  <a:pt x="6322806" y="213293"/>
                </a:cubicBezTo>
                <a:cubicBezTo>
                  <a:pt x="6335911" y="223881"/>
                  <a:pt x="6338726" y="256581"/>
                  <a:pt x="6364914" y="240140"/>
                </a:cubicBezTo>
                <a:cubicBezTo>
                  <a:pt x="6331888" y="211628"/>
                  <a:pt x="6385856" y="207033"/>
                  <a:pt x="6380420" y="173195"/>
                </a:cubicBezTo>
                <a:cubicBezTo>
                  <a:pt x="6420580" y="151473"/>
                  <a:pt x="6513519" y="179296"/>
                  <a:pt x="6507891" y="118474"/>
                </a:cubicBezTo>
                <a:cubicBezTo>
                  <a:pt x="6519398" y="82452"/>
                  <a:pt x="6571830" y="137398"/>
                  <a:pt x="6571807" y="98636"/>
                </a:cubicBezTo>
                <a:cubicBezTo>
                  <a:pt x="6594702" y="123421"/>
                  <a:pt x="6634676" y="82071"/>
                  <a:pt x="6671880" y="82931"/>
                </a:cubicBezTo>
                <a:cubicBezTo>
                  <a:pt x="6678855" y="65407"/>
                  <a:pt x="6687415" y="66196"/>
                  <a:pt x="6702266" y="75470"/>
                </a:cubicBezTo>
                <a:cubicBezTo>
                  <a:pt x="6747004" y="78450"/>
                  <a:pt x="6798307" y="53072"/>
                  <a:pt x="6845802" y="24496"/>
                </a:cubicBez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0D84AACB-A583-B667-B2F4-A01A4CA449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5140957"/>
              </p:ext>
            </p:extLst>
          </p:nvPr>
        </p:nvGraphicFramePr>
        <p:xfrm>
          <a:off x="287383" y="3548291"/>
          <a:ext cx="11783312" cy="22064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Obraz 5">
            <a:extLst>
              <a:ext uri="{FF2B5EF4-FFF2-40B4-BE49-F238E27FC236}">
                <a16:creationId xmlns:a16="http://schemas.microsoft.com/office/drawing/2014/main" id="{449DFBCF-8C1D-9FBA-3BE8-A96475F93C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34668" y="635512"/>
            <a:ext cx="8473044" cy="2503474"/>
          </a:xfrm>
          <a:prstGeom prst="rect">
            <a:avLst/>
          </a:prstGeom>
        </p:spPr>
      </p:pic>
      <p:sp>
        <p:nvSpPr>
          <p:cNvPr id="5" name="pole tekstowe 4">
            <a:extLst>
              <a:ext uri="{FF2B5EF4-FFF2-40B4-BE49-F238E27FC236}">
                <a16:creationId xmlns:a16="http://schemas.microsoft.com/office/drawing/2014/main" id="{A11912F0-AF67-1727-EC7B-C6B38829BCAA}"/>
              </a:ext>
            </a:extLst>
          </p:cNvPr>
          <p:cNvSpPr txBox="1"/>
          <p:nvPr/>
        </p:nvSpPr>
        <p:spPr>
          <a:xfrm>
            <a:off x="9344297" y="6395105"/>
            <a:ext cx="4833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/>
              <a:t>Źródło: opracowanie własne</a:t>
            </a:r>
          </a:p>
        </p:txBody>
      </p:sp>
    </p:spTree>
    <p:extLst>
      <p:ext uri="{BB962C8B-B14F-4D97-AF65-F5344CB8AC3E}">
        <p14:creationId xmlns:p14="http://schemas.microsoft.com/office/powerpoint/2010/main" val="2917686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2B7CE77-8050-A5C0-1E17-1B3423A9E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C8E9F9F-42E4-F6EB-EED1-EB32D24BB8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6863A0B-2808-FE7B-F93C-10C865EBD4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1269336" cy="2008639"/>
          </a:xfrm>
          <a:custGeom>
            <a:avLst/>
            <a:gdLst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296127 w 11269336"/>
              <a:gd name="connsiteY139" fmla="*/ 2023208 h 2323145"/>
              <a:gd name="connsiteX140" fmla="*/ 5174645 w 11269336"/>
              <a:gd name="connsiteY140" fmla="*/ 2088358 h 2323145"/>
              <a:gd name="connsiteX141" fmla="*/ 5092476 w 11269336"/>
              <a:gd name="connsiteY141" fmla="*/ 2100737 h 2323145"/>
              <a:gd name="connsiteX142" fmla="*/ 5060738 w 11269336"/>
              <a:gd name="connsiteY142" fmla="*/ 2083274 h 2323145"/>
              <a:gd name="connsiteX143" fmla="*/ 4860988 w 11269336"/>
              <a:gd name="connsiteY143" fmla="*/ 2135698 h 2323145"/>
              <a:gd name="connsiteX144" fmla="*/ 4807902 w 11269336"/>
              <a:gd name="connsiteY144" fmla="*/ 2138894 h 2323145"/>
              <a:gd name="connsiteX145" fmla="*/ 4765388 w 11269336"/>
              <a:gd name="connsiteY145" fmla="*/ 2162525 h 2323145"/>
              <a:gd name="connsiteX146" fmla="*/ 4745033 w 11269336"/>
              <a:gd name="connsiteY146" fmla="*/ 2158859 h 2323145"/>
              <a:gd name="connsiteX147" fmla="*/ 4741475 w 11269336"/>
              <a:gd name="connsiteY147" fmla="*/ 2157998 h 2323145"/>
              <a:gd name="connsiteX148" fmla="*/ 4728247 w 11269336"/>
              <a:gd name="connsiteY148" fmla="*/ 2159526 h 2323145"/>
              <a:gd name="connsiteX149" fmla="*/ 4723263 w 11269336"/>
              <a:gd name="connsiteY149" fmla="*/ 2153742 h 2323145"/>
              <a:gd name="connsiteX150" fmla="*/ 4702453 w 11269336"/>
              <a:gd name="connsiteY150" fmla="*/ 2151586 h 2323145"/>
              <a:gd name="connsiteX151" fmla="*/ 4678455 w 11269336"/>
              <a:gd name="connsiteY151" fmla="*/ 2156131 h 2323145"/>
              <a:gd name="connsiteX152" fmla="*/ 4593061 w 11269336"/>
              <a:gd name="connsiteY152" fmla="*/ 2171597 h 2323145"/>
              <a:gd name="connsiteX153" fmla="*/ 4579902 w 11269336"/>
              <a:gd name="connsiteY153" fmla="*/ 2177927 h 2323145"/>
              <a:gd name="connsiteX154" fmla="*/ 4533444 w 11269336"/>
              <a:gd name="connsiteY154" fmla="*/ 2181200 h 2323145"/>
              <a:gd name="connsiteX155" fmla="*/ 4492832 w 11269336"/>
              <a:gd name="connsiteY155" fmla="*/ 2188033 h 2323145"/>
              <a:gd name="connsiteX156" fmla="*/ 4467257 w 11269336"/>
              <a:gd name="connsiteY156" fmla="*/ 2196121 h 2323145"/>
              <a:gd name="connsiteX157" fmla="*/ 4459937 w 11269336"/>
              <a:gd name="connsiteY157" fmla="*/ 2195182 h 2323145"/>
              <a:gd name="connsiteX158" fmla="*/ 4433312 w 11269336"/>
              <a:gd name="connsiteY158" fmla="*/ 2199004 h 2323145"/>
              <a:gd name="connsiteX159" fmla="*/ 4420601 w 11269336"/>
              <a:gd name="connsiteY159" fmla="*/ 2205158 h 2323145"/>
              <a:gd name="connsiteX160" fmla="*/ 4405765 w 11269336"/>
              <a:gd name="connsiteY160" fmla="*/ 2199902 h 2323145"/>
              <a:gd name="connsiteX161" fmla="*/ 4401354 w 11269336"/>
              <a:gd name="connsiteY161" fmla="*/ 2194745 h 2323145"/>
              <a:gd name="connsiteX162" fmla="*/ 4383151 w 11269336"/>
              <a:gd name="connsiteY162" fmla="*/ 2201140 h 2323145"/>
              <a:gd name="connsiteX163" fmla="*/ 4366646 w 11269336"/>
              <a:gd name="connsiteY163" fmla="*/ 2198564 h 2323145"/>
              <a:gd name="connsiteX164" fmla="*/ 4354009 w 11269336"/>
              <a:gd name="connsiteY164" fmla="*/ 2204984 h 2323145"/>
              <a:gd name="connsiteX165" fmla="*/ 4348284 w 11269336"/>
              <a:gd name="connsiteY165" fmla="*/ 2205270 h 2323145"/>
              <a:gd name="connsiteX166" fmla="*/ 4333906 w 11269336"/>
              <a:gd name="connsiteY166" fmla="*/ 2205251 h 2323145"/>
              <a:gd name="connsiteX167" fmla="*/ 4308819 w 11269336"/>
              <a:gd name="connsiteY167" fmla="*/ 2203822 h 2323145"/>
              <a:gd name="connsiteX168" fmla="*/ 4301210 w 11269336"/>
              <a:gd name="connsiteY168" fmla="*/ 2204456 h 2323145"/>
              <a:gd name="connsiteX169" fmla="*/ 4283095 w 11269336"/>
              <a:gd name="connsiteY169" fmla="*/ 2198177 h 2323145"/>
              <a:gd name="connsiteX170" fmla="*/ 4250119 w 11269336"/>
              <a:gd name="connsiteY170" fmla="*/ 2196342 h 2323145"/>
              <a:gd name="connsiteX171" fmla="*/ 4189203 w 11269336"/>
              <a:gd name="connsiteY171" fmla="*/ 2178994 h 2323145"/>
              <a:gd name="connsiteX172" fmla="*/ 4154035 w 11269336"/>
              <a:gd name="connsiteY172" fmla="*/ 2171950 h 2323145"/>
              <a:gd name="connsiteX173" fmla="*/ 4129569 w 11269336"/>
              <a:gd name="connsiteY173" fmla="*/ 2163850 h 2323145"/>
              <a:gd name="connsiteX174" fmla="*/ 4061250 w 11269336"/>
              <a:gd name="connsiteY174" fmla="*/ 2159236 h 2323145"/>
              <a:gd name="connsiteX175" fmla="*/ 3945480 w 11269336"/>
              <a:gd name="connsiteY175" fmla="*/ 2158279 h 2323145"/>
              <a:gd name="connsiteX176" fmla="*/ 3921468 w 11269336"/>
              <a:gd name="connsiteY176" fmla="*/ 2156588 h 2323145"/>
              <a:gd name="connsiteX177" fmla="*/ 3903348 w 11269336"/>
              <a:gd name="connsiteY177" fmla="*/ 2149220 h 2323145"/>
              <a:gd name="connsiteX178" fmla="*/ 3901342 w 11269336"/>
              <a:gd name="connsiteY178" fmla="*/ 2142355 h 2323145"/>
              <a:gd name="connsiteX179" fmla="*/ 3888539 w 11269336"/>
              <a:gd name="connsiteY179" fmla="*/ 2140476 h 2323145"/>
              <a:gd name="connsiteX180" fmla="*/ 3885662 w 11269336"/>
              <a:gd name="connsiteY180" fmla="*/ 2138740 h 2323145"/>
              <a:gd name="connsiteX181" fmla="*/ 3868627 w 11269336"/>
              <a:gd name="connsiteY181" fmla="*/ 2130023 h 2323145"/>
              <a:gd name="connsiteX182" fmla="*/ 3819177 w 11269336"/>
              <a:gd name="connsiteY182" fmla="*/ 2142111 h 2323145"/>
              <a:gd name="connsiteX183" fmla="*/ 3769100 w 11269336"/>
              <a:gd name="connsiteY183" fmla="*/ 2131731 h 2323145"/>
              <a:gd name="connsiteX184" fmla="*/ 3562752 w 11269336"/>
              <a:gd name="connsiteY184" fmla="*/ 2131785 h 2323145"/>
              <a:gd name="connsiteX185" fmla="*/ 3541402 w 11269336"/>
              <a:gd name="connsiteY185" fmla="*/ 2106821 h 2323145"/>
              <a:gd name="connsiteX186" fmla="*/ 3460591 w 11269336"/>
              <a:gd name="connsiteY186" fmla="*/ 2097951 h 2323145"/>
              <a:gd name="connsiteX187" fmla="*/ 3320348 w 11269336"/>
              <a:gd name="connsiteY187" fmla="*/ 2130191 h 2323145"/>
              <a:gd name="connsiteX188" fmla="*/ 3170922 w 11269336"/>
              <a:gd name="connsiteY188" fmla="*/ 2115957 h 2323145"/>
              <a:gd name="connsiteX189" fmla="*/ 3156256 w 11269336"/>
              <a:gd name="connsiteY189" fmla="*/ 2124773 h 2323145"/>
              <a:gd name="connsiteX190" fmla="*/ 3140298 w 11269336"/>
              <a:gd name="connsiteY190" fmla="*/ 2129182 h 2323145"/>
              <a:gd name="connsiteX191" fmla="*/ 3138514 w 11269336"/>
              <a:gd name="connsiteY191" fmla="*/ 2128069 h 2323145"/>
              <a:gd name="connsiteX192" fmla="*/ 3120467 w 11269336"/>
              <a:gd name="connsiteY192" fmla="*/ 2128281 h 2323145"/>
              <a:gd name="connsiteX193" fmla="*/ 3116175 w 11269336"/>
              <a:gd name="connsiteY193" fmla="*/ 2131633 h 2323145"/>
              <a:gd name="connsiteX194" fmla="*/ 3103685 w 11269336"/>
              <a:gd name="connsiteY194" fmla="*/ 2132814 h 2323145"/>
              <a:gd name="connsiteX195" fmla="*/ 3078794 w 11269336"/>
              <a:gd name="connsiteY195" fmla="*/ 2137935 h 2323145"/>
              <a:gd name="connsiteX196" fmla="*/ 3074407 w 11269336"/>
              <a:gd name="connsiteY196" fmla="*/ 2136274 h 2323145"/>
              <a:gd name="connsiteX197" fmla="*/ 3037285 w 11269336"/>
              <a:gd name="connsiteY197" fmla="*/ 2139919 h 2323145"/>
              <a:gd name="connsiteX198" fmla="*/ 3036901 w 11269336"/>
              <a:gd name="connsiteY198" fmla="*/ 2138726 h 2323145"/>
              <a:gd name="connsiteX199" fmla="*/ 3026996 w 11269336"/>
              <a:gd name="connsiteY199" fmla="*/ 2134322 h 2323145"/>
              <a:gd name="connsiteX200" fmla="*/ 3007772 w 11269336"/>
              <a:gd name="connsiteY200" fmla="*/ 2128742 h 2323145"/>
              <a:gd name="connsiteX201" fmla="*/ 2965030 w 11269336"/>
              <a:gd name="connsiteY201" fmla="*/ 2100494 h 2323145"/>
              <a:gd name="connsiteX202" fmla="*/ 2926342 w 11269336"/>
              <a:gd name="connsiteY202" fmla="*/ 2104155 h 2323145"/>
              <a:gd name="connsiteX203" fmla="*/ 2918608 w 11269336"/>
              <a:gd name="connsiteY203" fmla="*/ 2104215 h 2323145"/>
              <a:gd name="connsiteX204" fmla="*/ 2918475 w 11269336"/>
              <a:gd name="connsiteY204" fmla="*/ 2103937 h 2323145"/>
              <a:gd name="connsiteX205" fmla="*/ 2910360 w 11269336"/>
              <a:gd name="connsiteY205" fmla="*/ 2103444 h 2323145"/>
              <a:gd name="connsiteX206" fmla="*/ 2904507 w 11269336"/>
              <a:gd name="connsiteY206" fmla="*/ 2104326 h 2323145"/>
              <a:gd name="connsiteX207" fmla="*/ 2889503 w 11269336"/>
              <a:gd name="connsiteY207" fmla="*/ 2104443 h 2323145"/>
              <a:gd name="connsiteX208" fmla="*/ 2884480 w 11269336"/>
              <a:gd name="connsiteY208" fmla="*/ 2102626 h 2323145"/>
              <a:gd name="connsiteX209" fmla="*/ 2882689 w 11269336"/>
              <a:gd name="connsiteY209" fmla="*/ 2099228 h 2323145"/>
              <a:gd name="connsiteX210" fmla="*/ 2881291 w 11269336"/>
              <a:gd name="connsiteY210" fmla="*/ 2099618 h 2323145"/>
              <a:gd name="connsiteX211" fmla="*/ 2853979 w 11269336"/>
              <a:gd name="connsiteY211" fmla="*/ 2090388 h 2323145"/>
              <a:gd name="connsiteX212" fmla="*/ 2791790 w 11269336"/>
              <a:gd name="connsiteY212" fmla="*/ 2080332 h 2323145"/>
              <a:gd name="connsiteX213" fmla="*/ 2755844 w 11269336"/>
              <a:gd name="connsiteY213" fmla="*/ 2078874 h 2323145"/>
              <a:gd name="connsiteX214" fmla="*/ 2657742 w 11269336"/>
              <a:gd name="connsiteY214" fmla="*/ 2070179 h 2323145"/>
              <a:gd name="connsiteX215" fmla="*/ 2559549 w 11269336"/>
              <a:gd name="connsiteY215" fmla="*/ 2057873 h 2323145"/>
              <a:gd name="connsiteX216" fmla="*/ 2512054 w 11269336"/>
              <a:gd name="connsiteY216" fmla="*/ 2031671 h 2323145"/>
              <a:gd name="connsiteX217" fmla="*/ 2506437 w 11269336"/>
              <a:gd name="connsiteY217" fmla="*/ 2030918 h 2323145"/>
              <a:gd name="connsiteX218" fmla="*/ 2491752 w 11269336"/>
              <a:gd name="connsiteY218" fmla="*/ 2033906 h 2323145"/>
              <a:gd name="connsiteX219" fmla="*/ 2486338 w 11269336"/>
              <a:gd name="connsiteY219" fmla="*/ 2035862 h 2323145"/>
              <a:gd name="connsiteX220" fmla="*/ 2478186 w 11269336"/>
              <a:gd name="connsiteY220" fmla="*/ 2036953 h 2323145"/>
              <a:gd name="connsiteX221" fmla="*/ 2477950 w 11269336"/>
              <a:gd name="connsiteY221" fmla="*/ 2036715 h 2323145"/>
              <a:gd name="connsiteX222" fmla="*/ 2470381 w 11269336"/>
              <a:gd name="connsiteY222" fmla="*/ 2038256 h 2323145"/>
              <a:gd name="connsiteX223" fmla="*/ 2433781 w 11269336"/>
              <a:gd name="connsiteY223" fmla="*/ 2049140 h 2323145"/>
              <a:gd name="connsiteX224" fmla="*/ 2381172 w 11269336"/>
              <a:gd name="connsiteY224" fmla="*/ 2030645 h 2323145"/>
              <a:gd name="connsiteX225" fmla="*/ 2360198 w 11269336"/>
              <a:gd name="connsiteY225" fmla="*/ 2029059 h 2323145"/>
              <a:gd name="connsiteX226" fmla="*/ 2348815 w 11269336"/>
              <a:gd name="connsiteY226" fmla="*/ 2026798 h 2323145"/>
              <a:gd name="connsiteX227" fmla="*/ 2347988 w 11269336"/>
              <a:gd name="connsiteY227" fmla="*/ 2025745 h 2323145"/>
              <a:gd name="connsiteX228" fmla="*/ 2312920 w 11269336"/>
              <a:gd name="connsiteY228" fmla="*/ 2036311 h 2323145"/>
              <a:gd name="connsiteX229" fmla="*/ 2307986 w 11269336"/>
              <a:gd name="connsiteY229" fmla="*/ 2035583 h 2323145"/>
              <a:gd name="connsiteX230" fmla="*/ 2285481 w 11269336"/>
              <a:gd name="connsiteY230" fmla="*/ 2045197 h 2323145"/>
              <a:gd name="connsiteX231" fmla="*/ 2273666 w 11269336"/>
              <a:gd name="connsiteY231" fmla="*/ 2048710 h 2323145"/>
              <a:gd name="connsiteX232" fmla="*/ 2270719 w 11269336"/>
              <a:gd name="connsiteY232" fmla="*/ 2052702 h 2323145"/>
              <a:gd name="connsiteX233" fmla="*/ 2253080 w 11269336"/>
              <a:gd name="connsiteY233" fmla="*/ 2056363 h 2323145"/>
              <a:gd name="connsiteX234" fmla="*/ 2250906 w 11269336"/>
              <a:gd name="connsiteY234" fmla="*/ 2055654 h 2323145"/>
              <a:gd name="connsiteX235" fmla="*/ 2236905 w 11269336"/>
              <a:gd name="connsiteY235" fmla="*/ 2062882 h 2323145"/>
              <a:gd name="connsiteX236" fmla="*/ 2225830 w 11269336"/>
              <a:gd name="connsiteY236" fmla="*/ 2074027 h 2323145"/>
              <a:gd name="connsiteX237" fmla="*/ 2073776 w 11269336"/>
              <a:gd name="connsiteY237" fmla="*/ 2089244 h 2323145"/>
              <a:gd name="connsiteX238" fmla="*/ 1948256 w 11269336"/>
              <a:gd name="connsiteY238" fmla="*/ 2146616 h 2323145"/>
              <a:gd name="connsiteX239" fmla="*/ 1865582 w 11269336"/>
              <a:gd name="connsiteY239" fmla="*/ 2153738 h 2323145"/>
              <a:gd name="connsiteX240" fmla="*/ 1835210 w 11269336"/>
              <a:gd name="connsiteY240" fmla="*/ 2134244 h 2323145"/>
              <a:gd name="connsiteX241" fmla="*/ 1632661 w 11269336"/>
              <a:gd name="connsiteY241" fmla="*/ 2173882 h 2323145"/>
              <a:gd name="connsiteX242" fmla="*/ 1579590 w 11269336"/>
              <a:gd name="connsiteY242" fmla="*/ 2173680 h 2323145"/>
              <a:gd name="connsiteX243" fmla="*/ 1535601 w 11269336"/>
              <a:gd name="connsiteY243" fmla="*/ 2194590 h 2323145"/>
              <a:gd name="connsiteX244" fmla="*/ 1515594 w 11269336"/>
              <a:gd name="connsiteY244" fmla="*/ 2189622 h 2323145"/>
              <a:gd name="connsiteX245" fmla="*/ 1512113 w 11269336"/>
              <a:gd name="connsiteY245" fmla="*/ 2188534 h 2323145"/>
              <a:gd name="connsiteX246" fmla="*/ 1498838 w 11269336"/>
              <a:gd name="connsiteY246" fmla="*/ 2189213 h 2323145"/>
              <a:gd name="connsiteX247" fmla="*/ 1494279 w 11269336"/>
              <a:gd name="connsiteY247" fmla="*/ 2183112 h 2323145"/>
              <a:gd name="connsiteX248" fmla="*/ 1473714 w 11269336"/>
              <a:gd name="connsiteY248" fmla="*/ 2179625 h 2323145"/>
              <a:gd name="connsiteX249" fmla="*/ 1449503 w 11269336"/>
              <a:gd name="connsiteY249" fmla="*/ 2182633 h 2323145"/>
              <a:gd name="connsiteX250" fmla="*/ 1335495 w 11269336"/>
              <a:gd name="connsiteY250" fmla="*/ 2203940 h 2323145"/>
              <a:gd name="connsiteX251" fmla="*/ 1266687 w 11269336"/>
              <a:gd name="connsiteY251" fmla="*/ 2212688 h 2323145"/>
              <a:gd name="connsiteX252" fmla="*/ 1239614 w 11269336"/>
              <a:gd name="connsiteY252" fmla="*/ 2209727 h 2323145"/>
              <a:gd name="connsiteX253" fmla="*/ 1202436 w 11269336"/>
              <a:gd name="connsiteY253" fmla="*/ 2209817 h 2323145"/>
              <a:gd name="connsiteX254" fmla="*/ 1136097 w 11269336"/>
              <a:gd name="connsiteY254" fmla="*/ 2205112 h 2323145"/>
              <a:gd name="connsiteX255" fmla="*/ 1048229 w 11269336"/>
              <a:gd name="connsiteY255" fmla="*/ 2207249 h 2323145"/>
              <a:gd name="connsiteX256" fmla="*/ 988232 w 11269336"/>
              <a:gd name="connsiteY256" fmla="*/ 2235635 h 2323145"/>
              <a:gd name="connsiteX257" fmla="*/ 981959 w 11269336"/>
              <a:gd name="connsiteY257" fmla="*/ 2231607 h 2323145"/>
              <a:gd name="connsiteX258" fmla="*/ 938600 w 11269336"/>
              <a:gd name="connsiteY258" fmla="*/ 2238113 h 2323145"/>
              <a:gd name="connsiteX259" fmla="*/ 791788 w 11269336"/>
              <a:gd name="connsiteY259" fmla="*/ 2293224 h 2323145"/>
              <a:gd name="connsiteX260" fmla="*/ 706914 w 11269336"/>
              <a:gd name="connsiteY260" fmla="*/ 2305046 h 2323145"/>
              <a:gd name="connsiteX261" fmla="*/ 675971 w 11269336"/>
              <a:gd name="connsiteY261" fmla="*/ 2304030 h 2323145"/>
              <a:gd name="connsiteX262" fmla="*/ 624180 w 11269336"/>
              <a:gd name="connsiteY262" fmla="*/ 2302650 h 2323145"/>
              <a:gd name="connsiteX263" fmla="*/ 583453 w 11269336"/>
              <a:gd name="connsiteY263" fmla="*/ 2288788 h 2323145"/>
              <a:gd name="connsiteX264" fmla="*/ 540946 w 11269336"/>
              <a:gd name="connsiteY264" fmla="*/ 2292721 h 2323145"/>
              <a:gd name="connsiteX265" fmla="*/ 533680 w 11269336"/>
              <a:gd name="connsiteY265" fmla="*/ 2310233 h 2323145"/>
              <a:gd name="connsiteX266" fmla="*/ 487366 w 11269336"/>
              <a:gd name="connsiteY266" fmla="*/ 2309053 h 2323145"/>
              <a:gd name="connsiteX267" fmla="*/ 416820 w 11269336"/>
              <a:gd name="connsiteY267" fmla="*/ 2305443 h 2323145"/>
              <a:gd name="connsiteX268" fmla="*/ 376805 w 11269336"/>
              <a:gd name="connsiteY268" fmla="*/ 2307647 h 2323145"/>
              <a:gd name="connsiteX269" fmla="*/ 266777 w 11269336"/>
              <a:gd name="connsiteY269" fmla="*/ 2309012 h 2323145"/>
              <a:gd name="connsiteX270" fmla="*/ 156013 w 11269336"/>
              <a:gd name="connsiteY270" fmla="*/ 2306832 h 2323145"/>
              <a:gd name="connsiteX271" fmla="*/ 87258 w 11269336"/>
              <a:gd name="connsiteY271" fmla="*/ 2285511 h 2323145"/>
              <a:gd name="connsiteX272" fmla="*/ 23798 w 11269336"/>
              <a:gd name="connsiteY272" fmla="*/ 2281822 h 2323145"/>
              <a:gd name="connsiteX273" fmla="*/ 0 w 11269336"/>
              <a:gd name="connsiteY273" fmla="*/ 2285369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296127 w 11269336"/>
              <a:gd name="connsiteY139" fmla="*/ 2023208 h 2323145"/>
              <a:gd name="connsiteX140" fmla="*/ 5092476 w 11269336"/>
              <a:gd name="connsiteY140" fmla="*/ 2100737 h 2323145"/>
              <a:gd name="connsiteX141" fmla="*/ 5060738 w 11269336"/>
              <a:gd name="connsiteY141" fmla="*/ 2083274 h 2323145"/>
              <a:gd name="connsiteX142" fmla="*/ 4860988 w 11269336"/>
              <a:gd name="connsiteY142" fmla="*/ 2135698 h 2323145"/>
              <a:gd name="connsiteX143" fmla="*/ 4807902 w 11269336"/>
              <a:gd name="connsiteY143" fmla="*/ 2138894 h 2323145"/>
              <a:gd name="connsiteX144" fmla="*/ 4765388 w 11269336"/>
              <a:gd name="connsiteY144" fmla="*/ 2162525 h 2323145"/>
              <a:gd name="connsiteX145" fmla="*/ 4745033 w 11269336"/>
              <a:gd name="connsiteY145" fmla="*/ 2158859 h 2323145"/>
              <a:gd name="connsiteX146" fmla="*/ 4741475 w 11269336"/>
              <a:gd name="connsiteY146" fmla="*/ 2157998 h 2323145"/>
              <a:gd name="connsiteX147" fmla="*/ 4728247 w 11269336"/>
              <a:gd name="connsiteY147" fmla="*/ 2159526 h 2323145"/>
              <a:gd name="connsiteX148" fmla="*/ 4723263 w 11269336"/>
              <a:gd name="connsiteY148" fmla="*/ 2153742 h 2323145"/>
              <a:gd name="connsiteX149" fmla="*/ 4702453 w 11269336"/>
              <a:gd name="connsiteY149" fmla="*/ 2151586 h 2323145"/>
              <a:gd name="connsiteX150" fmla="*/ 4678455 w 11269336"/>
              <a:gd name="connsiteY150" fmla="*/ 2156131 h 2323145"/>
              <a:gd name="connsiteX151" fmla="*/ 4593061 w 11269336"/>
              <a:gd name="connsiteY151" fmla="*/ 2171597 h 2323145"/>
              <a:gd name="connsiteX152" fmla="*/ 4579902 w 11269336"/>
              <a:gd name="connsiteY152" fmla="*/ 2177927 h 2323145"/>
              <a:gd name="connsiteX153" fmla="*/ 4533444 w 11269336"/>
              <a:gd name="connsiteY153" fmla="*/ 2181200 h 2323145"/>
              <a:gd name="connsiteX154" fmla="*/ 4492832 w 11269336"/>
              <a:gd name="connsiteY154" fmla="*/ 2188033 h 2323145"/>
              <a:gd name="connsiteX155" fmla="*/ 4467257 w 11269336"/>
              <a:gd name="connsiteY155" fmla="*/ 2196121 h 2323145"/>
              <a:gd name="connsiteX156" fmla="*/ 4459937 w 11269336"/>
              <a:gd name="connsiteY156" fmla="*/ 2195182 h 2323145"/>
              <a:gd name="connsiteX157" fmla="*/ 4433312 w 11269336"/>
              <a:gd name="connsiteY157" fmla="*/ 2199004 h 2323145"/>
              <a:gd name="connsiteX158" fmla="*/ 4420601 w 11269336"/>
              <a:gd name="connsiteY158" fmla="*/ 2205158 h 2323145"/>
              <a:gd name="connsiteX159" fmla="*/ 4405765 w 11269336"/>
              <a:gd name="connsiteY159" fmla="*/ 2199902 h 2323145"/>
              <a:gd name="connsiteX160" fmla="*/ 4401354 w 11269336"/>
              <a:gd name="connsiteY160" fmla="*/ 2194745 h 2323145"/>
              <a:gd name="connsiteX161" fmla="*/ 4383151 w 11269336"/>
              <a:gd name="connsiteY161" fmla="*/ 2201140 h 2323145"/>
              <a:gd name="connsiteX162" fmla="*/ 4366646 w 11269336"/>
              <a:gd name="connsiteY162" fmla="*/ 2198564 h 2323145"/>
              <a:gd name="connsiteX163" fmla="*/ 4354009 w 11269336"/>
              <a:gd name="connsiteY163" fmla="*/ 2204984 h 2323145"/>
              <a:gd name="connsiteX164" fmla="*/ 4348284 w 11269336"/>
              <a:gd name="connsiteY164" fmla="*/ 2205270 h 2323145"/>
              <a:gd name="connsiteX165" fmla="*/ 4333906 w 11269336"/>
              <a:gd name="connsiteY165" fmla="*/ 2205251 h 2323145"/>
              <a:gd name="connsiteX166" fmla="*/ 4308819 w 11269336"/>
              <a:gd name="connsiteY166" fmla="*/ 2203822 h 2323145"/>
              <a:gd name="connsiteX167" fmla="*/ 4301210 w 11269336"/>
              <a:gd name="connsiteY167" fmla="*/ 2204456 h 2323145"/>
              <a:gd name="connsiteX168" fmla="*/ 4283095 w 11269336"/>
              <a:gd name="connsiteY168" fmla="*/ 2198177 h 2323145"/>
              <a:gd name="connsiteX169" fmla="*/ 4250119 w 11269336"/>
              <a:gd name="connsiteY169" fmla="*/ 2196342 h 2323145"/>
              <a:gd name="connsiteX170" fmla="*/ 4189203 w 11269336"/>
              <a:gd name="connsiteY170" fmla="*/ 2178994 h 2323145"/>
              <a:gd name="connsiteX171" fmla="*/ 4154035 w 11269336"/>
              <a:gd name="connsiteY171" fmla="*/ 2171950 h 2323145"/>
              <a:gd name="connsiteX172" fmla="*/ 4129569 w 11269336"/>
              <a:gd name="connsiteY172" fmla="*/ 2163850 h 2323145"/>
              <a:gd name="connsiteX173" fmla="*/ 4061250 w 11269336"/>
              <a:gd name="connsiteY173" fmla="*/ 2159236 h 2323145"/>
              <a:gd name="connsiteX174" fmla="*/ 3945480 w 11269336"/>
              <a:gd name="connsiteY174" fmla="*/ 2158279 h 2323145"/>
              <a:gd name="connsiteX175" fmla="*/ 3921468 w 11269336"/>
              <a:gd name="connsiteY175" fmla="*/ 2156588 h 2323145"/>
              <a:gd name="connsiteX176" fmla="*/ 3903348 w 11269336"/>
              <a:gd name="connsiteY176" fmla="*/ 2149220 h 2323145"/>
              <a:gd name="connsiteX177" fmla="*/ 3901342 w 11269336"/>
              <a:gd name="connsiteY177" fmla="*/ 2142355 h 2323145"/>
              <a:gd name="connsiteX178" fmla="*/ 3888539 w 11269336"/>
              <a:gd name="connsiteY178" fmla="*/ 2140476 h 2323145"/>
              <a:gd name="connsiteX179" fmla="*/ 3885662 w 11269336"/>
              <a:gd name="connsiteY179" fmla="*/ 2138740 h 2323145"/>
              <a:gd name="connsiteX180" fmla="*/ 3868627 w 11269336"/>
              <a:gd name="connsiteY180" fmla="*/ 2130023 h 2323145"/>
              <a:gd name="connsiteX181" fmla="*/ 3819177 w 11269336"/>
              <a:gd name="connsiteY181" fmla="*/ 2142111 h 2323145"/>
              <a:gd name="connsiteX182" fmla="*/ 3769100 w 11269336"/>
              <a:gd name="connsiteY182" fmla="*/ 2131731 h 2323145"/>
              <a:gd name="connsiteX183" fmla="*/ 3562752 w 11269336"/>
              <a:gd name="connsiteY183" fmla="*/ 2131785 h 2323145"/>
              <a:gd name="connsiteX184" fmla="*/ 3541402 w 11269336"/>
              <a:gd name="connsiteY184" fmla="*/ 2106821 h 2323145"/>
              <a:gd name="connsiteX185" fmla="*/ 3460591 w 11269336"/>
              <a:gd name="connsiteY185" fmla="*/ 2097951 h 2323145"/>
              <a:gd name="connsiteX186" fmla="*/ 3320348 w 11269336"/>
              <a:gd name="connsiteY186" fmla="*/ 2130191 h 2323145"/>
              <a:gd name="connsiteX187" fmla="*/ 3170922 w 11269336"/>
              <a:gd name="connsiteY187" fmla="*/ 2115957 h 2323145"/>
              <a:gd name="connsiteX188" fmla="*/ 3156256 w 11269336"/>
              <a:gd name="connsiteY188" fmla="*/ 2124773 h 2323145"/>
              <a:gd name="connsiteX189" fmla="*/ 3140298 w 11269336"/>
              <a:gd name="connsiteY189" fmla="*/ 2129182 h 2323145"/>
              <a:gd name="connsiteX190" fmla="*/ 3138514 w 11269336"/>
              <a:gd name="connsiteY190" fmla="*/ 2128069 h 2323145"/>
              <a:gd name="connsiteX191" fmla="*/ 3120467 w 11269336"/>
              <a:gd name="connsiteY191" fmla="*/ 2128281 h 2323145"/>
              <a:gd name="connsiteX192" fmla="*/ 3116175 w 11269336"/>
              <a:gd name="connsiteY192" fmla="*/ 2131633 h 2323145"/>
              <a:gd name="connsiteX193" fmla="*/ 3103685 w 11269336"/>
              <a:gd name="connsiteY193" fmla="*/ 2132814 h 2323145"/>
              <a:gd name="connsiteX194" fmla="*/ 3078794 w 11269336"/>
              <a:gd name="connsiteY194" fmla="*/ 2137935 h 2323145"/>
              <a:gd name="connsiteX195" fmla="*/ 3074407 w 11269336"/>
              <a:gd name="connsiteY195" fmla="*/ 2136274 h 2323145"/>
              <a:gd name="connsiteX196" fmla="*/ 3037285 w 11269336"/>
              <a:gd name="connsiteY196" fmla="*/ 2139919 h 2323145"/>
              <a:gd name="connsiteX197" fmla="*/ 3036901 w 11269336"/>
              <a:gd name="connsiteY197" fmla="*/ 2138726 h 2323145"/>
              <a:gd name="connsiteX198" fmla="*/ 3026996 w 11269336"/>
              <a:gd name="connsiteY198" fmla="*/ 2134322 h 2323145"/>
              <a:gd name="connsiteX199" fmla="*/ 3007772 w 11269336"/>
              <a:gd name="connsiteY199" fmla="*/ 2128742 h 2323145"/>
              <a:gd name="connsiteX200" fmla="*/ 2965030 w 11269336"/>
              <a:gd name="connsiteY200" fmla="*/ 2100494 h 2323145"/>
              <a:gd name="connsiteX201" fmla="*/ 2926342 w 11269336"/>
              <a:gd name="connsiteY201" fmla="*/ 2104155 h 2323145"/>
              <a:gd name="connsiteX202" fmla="*/ 2918608 w 11269336"/>
              <a:gd name="connsiteY202" fmla="*/ 2104215 h 2323145"/>
              <a:gd name="connsiteX203" fmla="*/ 2918475 w 11269336"/>
              <a:gd name="connsiteY203" fmla="*/ 2103937 h 2323145"/>
              <a:gd name="connsiteX204" fmla="*/ 2910360 w 11269336"/>
              <a:gd name="connsiteY204" fmla="*/ 2103444 h 2323145"/>
              <a:gd name="connsiteX205" fmla="*/ 2904507 w 11269336"/>
              <a:gd name="connsiteY205" fmla="*/ 2104326 h 2323145"/>
              <a:gd name="connsiteX206" fmla="*/ 2889503 w 11269336"/>
              <a:gd name="connsiteY206" fmla="*/ 2104443 h 2323145"/>
              <a:gd name="connsiteX207" fmla="*/ 2884480 w 11269336"/>
              <a:gd name="connsiteY207" fmla="*/ 2102626 h 2323145"/>
              <a:gd name="connsiteX208" fmla="*/ 2882689 w 11269336"/>
              <a:gd name="connsiteY208" fmla="*/ 2099228 h 2323145"/>
              <a:gd name="connsiteX209" fmla="*/ 2881291 w 11269336"/>
              <a:gd name="connsiteY209" fmla="*/ 2099618 h 2323145"/>
              <a:gd name="connsiteX210" fmla="*/ 2853979 w 11269336"/>
              <a:gd name="connsiteY210" fmla="*/ 2090388 h 2323145"/>
              <a:gd name="connsiteX211" fmla="*/ 2791790 w 11269336"/>
              <a:gd name="connsiteY211" fmla="*/ 2080332 h 2323145"/>
              <a:gd name="connsiteX212" fmla="*/ 2755844 w 11269336"/>
              <a:gd name="connsiteY212" fmla="*/ 2078874 h 2323145"/>
              <a:gd name="connsiteX213" fmla="*/ 2657742 w 11269336"/>
              <a:gd name="connsiteY213" fmla="*/ 2070179 h 2323145"/>
              <a:gd name="connsiteX214" fmla="*/ 2559549 w 11269336"/>
              <a:gd name="connsiteY214" fmla="*/ 2057873 h 2323145"/>
              <a:gd name="connsiteX215" fmla="*/ 2512054 w 11269336"/>
              <a:gd name="connsiteY215" fmla="*/ 2031671 h 2323145"/>
              <a:gd name="connsiteX216" fmla="*/ 2506437 w 11269336"/>
              <a:gd name="connsiteY216" fmla="*/ 2030918 h 2323145"/>
              <a:gd name="connsiteX217" fmla="*/ 2491752 w 11269336"/>
              <a:gd name="connsiteY217" fmla="*/ 2033906 h 2323145"/>
              <a:gd name="connsiteX218" fmla="*/ 2486338 w 11269336"/>
              <a:gd name="connsiteY218" fmla="*/ 2035862 h 2323145"/>
              <a:gd name="connsiteX219" fmla="*/ 2478186 w 11269336"/>
              <a:gd name="connsiteY219" fmla="*/ 2036953 h 2323145"/>
              <a:gd name="connsiteX220" fmla="*/ 2477950 w 11269336"/>
              <a:gd name="connsiteY220" fmla="*/ 2036715 h 2323145"/>
              <a:gd name="connsiteX221" fmla="*/ 2470381 w 11269336"/>
              <a:gd name="connsiteY221" fmla="*/ 2038256 h 2323145"/>
              <a:gd name="connsiteX222" fmla="*/ 2433781 w 11269336"/>
              <a:gd name="connsiteY222" fmla="*/ 2049140 h 2323145"/>
              <a:gd name="connsiteX223" fmla="*/ 2381172 w 11269336"/>
              <a:gd name="connsiteY223" fmla="*/ 2030645 h 2323145"/>
              <a:gd name="connsiteX224" fmla="*/ 2360198 w 11269336"/>
              <a:gd name="connsiteY224" fmla="*/ 2029059 h 2323145"/>
              <a:gd name="connsiteX225" fmla="*/ 2348815 w 11269336"/>
              <a:gd name="connsiteY225" fmla="*/ 2026798 h 2323145"/>
              <a:gd name="connsiteX226" fmla="*/ 2347988 w 11269336"/>
              <a:gd name="connsiteY226" fmla="*/ 2025745 h 2323145"/>
              <a:gd name="connsiteX227" fmla="*/ 2312920 w 11269336"/>
              <a:gd name="connsiteY227" fmla="*/ 2036311 h 2323145"/>
              <a:gd name="connsiteX228" fmla="*/ 2307986 w 11269336"/>
              <a:gd name="connsiteY228" fmla="*/ 2035583 h 2323145"/>
              <a:gd name="connsiteX229" fmla="*/ 2285481 w 11269336"/>
              <a:gd name="connsiteY229" fmla="*/ 2045197 h 2323145"/>
              <a:gd name="connsiteX230" fmla="*/ 2273666 w 11269336"/>
              <a:gd name="connsiteY230" fmla="*/ 2048710 h 2323145"/>
              <a:gd name="connsiteX231" fmla="*/ 2270719 w 11269336"/>
              <a:gd name="connsiteY231" fmla="*/ 2052702 h 2323145"/>
              <a:gd name="connsiteX232" fmla="*/ 2253080 w 11269336"/>
              <a:gd name="connsiteY232" fmla="*/ 2056363 h 2323145"/>
              <a:gd name="connsiteX233" fmla="*/ 2250906 w 11269336"/>
              <a:gd name="connsiteY233" fmla="*/ 2055654 h 2323145"/>
              <a:gd name="connsiteX234" fmla="*/ 2236905 w 11269336"/>
              <a:gd name="connsiteY234" fmla="*/ 2062882 h 2323145"/>
              <a:gd name="connsiteX235" fmla="*/ 2225830 w 11269336"/>
              <a:gd name="connsiteY235" fmla="*/ 2074027 h 2323145"/>
              <a:gd name="connsiteX236" fmla="*/ 2073776 w 11269336"/>
              <a:gd name="connsiteY236" fmla="*/ 2089244 h 2323145"/>
              <a:gd name="connsiteX237" fmla="*/ 1948256 w 11269336"/>
              <a:gd name="connsiteY237" fmla="*/ 2146616 h 2323145"/>
              <a:gd name="connsiteX238" fmla="*/ 1865582 w 11269336"/>
              <a:gd name="connsiteY238" fmla="*/ 2153738 h 2323145"/>
              <a:gd name="connsiteX239" fmla="*/ 1835210 w 11269336"/>
              <a:gd name="connsiteY239" fmla="*/ 2134244 h 2323145"/>
              <a:gd name="connsiteX240" fmla="*/ 1632661 w 11269336"/>
              <a:gd name="connsiteY240" fmla="*/ 2173882 h 2323145"/>
              <a:gd name="connsiteX241" fmla="*/ 1579590 w 11269336"/>
              <a:gd name="connsiteY241" fmla="*/ 2173680 h 2323145"/>
              <a:gd name="connsiteX242" fmla="*/ 1535601 w 11269336"/>
              <a:gd name="connsiteY242" fmla="*/ 2194590 h 2323145"/>
              <a:gd name="connsiteX243" fmla="*/ 1515594 w 11269336"/>
              <a:gd name="connsiteY243" fmla="*/ 2189622 h 2323145"/>
              <a:gd name="connsiteX244" fmla="*/ 1512113 w 11269336"/>
              <a:gd name="connsiteY244" fmla="*/ 2188534 h 2323145"/>
              <a:gd name="connsiteX245" fmla="*/ 1498838 w 11269336"/>
              <a:gd name="connsiteY245" fmla="*/ 2189213 h 2323145"/>
              <a:gd name="connsiteX246" fmla="*/ 1494279 w 11269336"/>
              <a:gd name="connsiteY246" fmla="*/ 2183112 h 2323145"/>
              <a:gd name="connsiteX247" fmla="*/ 1473714 w 11269336"/>
              <a:gd name="connsiteY247" fmla="*/ 2179625 h 2323145"/>
              <a:gd name="connsiteX248" fmla="*/ 1449503 w 11269336"/>
              <a:gd name="connsiteY248" fmla="*/ 2182633 h 2323145"/>
              <a:gd name="connsiteX249" fmla="*/ 1335495 w 11269336"/>
              <a:gd name="connsiteY249" fmla="*/ 2203940 h 2323145"/>
              <a:gd name="connsiteX250" fmla="*/ 1266687 w 11269336"/>
              <a:gd name="connsiteY250" fmla="*/ 2212688 h 2323145"/>
              <a:gd name="connsiteX251" fmla="*/ 1239614 w 11269336"/>
              <a:gd name="connsiteY251" fmla="*/ 2209727 h 2323145"/>
              <a:gd name="connsiteX252" fmla="*/ 1202436 w 11269336"/>
              <a:gd name="connsiteY252" fmla="*/ 2209817 h 2323145"/>
              <a:gd name="connsiteX253" fmla="*/ 1136097 w 11269336"/>
              <a:gd name="connsiteY253" fmla="*/ 2205112 h 2323145"/>
              <a:gd name="connsiteX254" fmla="*/ 1048229 w 11269336"/>
              <a:gd name="connsiteY254" fmla="*/ 2207249 h 2323145"/>
              <a:gd name="connsiteX255" fmla="*/ 988232 w 11269336"/>
              <a:gd name="connsiteY255" fmla="*/ 2235635 h 2323145"/>
              <a:gd name="connsiteX256" fmla="*/ 981959 w 11269336"/>
              <a:gd name="connsiteY256" fmla="*/ 2231607 h 2323145"/>
              <a:gd name="connsiteX257" fmla="*/ 938600 w 11269336"/>
              <a:gd name="connsiteY257" fmla="*/ 2238113 h 2323145"/>
              <a:gd name="connsiteX258" fmla="*/ 791788 w 11269336"/>
              <a:gd name="connsiteY258" fmla="*/ 2293224 h 2323145"/>
              <a:gd name="connsiteX259" fmla="*/ 706914 w 11269336"/>
              <a:gd name="connsiteY259" fmla="*/ 2305046 h 2323145"/>
              <a:gd name="connsiteX260" fmla="*/ 675971 w 11269336"/>
              <a:gd name="connsiteY260" fmla="*/ 2304030 h 2323145"/>
              <a:gd name="connsiteX261" fmla="*/ 624180 w 11269336"/>
              <a:gd name="connsiteY261" fmla="*/ 2302650 h 2323145"/>
              <a:gd name="connsiteX262" fmla="*/ 583453 w 11269336"/>
              <a:gd name="connsiteY262" fmla="*/ 2288788 h 2323145"/>
              <a:gd name="connsiteX263" fmla="*/ 540946 w 11269336"/>
              <a:gd name="connsiteY263" fmla="*/ 2292721 h 2323145"/>
              <a:gd name="connsiteX264" fmla="*/ 533680 w 11269336"/>
              <a:gd name="connsiteY264" fmla="*/ 2310233 h 2323145"/>
              <a:gd name="connsiteX265" fmla="*/ 487366 w 11269336"/>
              <a:gd name="connsiteY265" fmla="*/ 2309053 h 2323145"/>
              <a:gd name="connsiteX266" fmla="*/ 416820 w 11269336"/>
              <a:gd name="connsiteY266" fmla="*/ 2305443 h 2323145"/>
              <a:gd name="connsiteX267" fmla="*/ 376805 w 11269336"/>
              <a:gd name="connsiteY267" fmla="*/ 2307647 h 2323145"/>
              <a:gd name="connsiteX268" fmla="*/ 266777 w 11269336"/>
              <a:gd name="connsiteY268" fmla="*/ 2309012 h 2323145"/>
              <a:gd name="connsiteX269" fmla="*/ 156013 w 11269336"/>
              <a:gd name="connsiteY269" fmla="*/ 2306832 h 2323145"/>
              <a:gd name="connsiteX270" fmla="*/ 87258 w 11269336"/>
              <a:gd name="connsiteY270" fmla="*/ 2285511 h 2323145"/>
              <a:gd name="connsiteX271" fmla="*/ 23798 w 11269336"/>
              <a:gd name="connsiteY271" fmla="*/ 2281822 h 2323145"/>
              <a:gd name="connsiteX272" fmla="*/ 0 w 11269336"/>
              <a:gd name="connsiteY272" fmla="*/ 2285369 h 2323145"/>
              <a:gd name="connsiteX273" fmla="*/ 0 w 11269336"/>
              <a:gd name="connsiteY27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092476 w 11269336"/>
              <a:gd name="connsiteY139" fmla="*/ 2100737 h 2323145"/>
              <a:gd name="connsiteX140" fmla="*/ 5060738 w 11269336"/>
              <a:gd name="connsiteY140" fmla="*/ 208327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60738 w 11269336"/>
              <a:gd name="connsiteY140" fmla="*/ 208327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1048229 w 11269336"/>
              <a:gd name="connsiteY252" fmla="*/ 2207249 h 2323145"/>
              <a:gd name="connsiteX253" fmla="*/ 988232 w 11269336"/>
              <a:gd name="connsiteY253" fmla="*/ 2235635 h 2323145"/>
              <a:gd name="connsiteX254" fmla="*/ 981959 w 11269336"/>
              <a:gd name="connsiteY254" fmla="*/ 2231607 h 2323145"/>
              <a:gd name="connsiteX255" fmla="*/ 938600 w 11269336"/>
              <a:gd name="connsiteY255" fmla="*/ 2238113 h 2323145"/>
              <a:gd name="connsiteX256" fmla="*/ 791788 w 11269336"/>
              <a:gd name="connsiteY256" fmla="*/ 2293224 h 2323145"/>
              <a:gd name="connsiteX257" fmla="*/ 706914 w 11269336"/>
              <a:gd name="connsiteY257" fmla="*/ 2305046 h 2323145"/>
              <a:gd name="connsiteX258" fmla="*/ 675971 w 11269336"/>
              <a:gd name="connsiteY258" fmla="*/ 2304030 h 2323145"/>
              <a:gd name="connsiteX259" fmla="*/ 624180 w 11269336"/>
              <a:gd name="connsiteY259" fmla="*/ 2302650 h 2323145"/>
              <a:gd name="connsiteX260" fmla="*/ 583453 w 11269336"/>
              <a:gd name="connsiteY260" fmla="*/ 2288788 h 2323145"/>
              <a:gd name="connsiteX261" fmla="*/ 540946 w 11269336"/>
              <a:gd name="connsiteY261" fmla="*/ 2292721 h 2323145"/>
              <a:gd name="connsiteX262" fmla="*/ 533680 w 11269336"/>
              <a:gd name="connsiteY262" fmla="*/ 2310233 h 2323145"/>
              <a:gd name="connsiteX263" fmla="*/ 487366 w 11269336"/>
              <a:gd name="connsiteY263" fmla="*/ 2309053 h 2323145"/>
              <a:gd name="connsiteX264" fmla="*/ 416820 w 11269336"/>
              <a:gd name="connsiteY264" fmla="*/ 2305443 h 2323145"/>
              <a:gd name="connsiteX265" fmla="*/ 376805 w 11269336"/>
              <a:gd name="connsiteY265" fmla="*/ 2307647 h 2323145"/>
              <a:gd name="connsiteX266" fmla="*/ 266777 w 11269336"/>
              <a:gd name="connsiteY266" fmla="*/ 2309012 h 2323145"/>
              <a:gd name="connsiteX267" fmla="*/ 156013 w 11269336"/>
              <a:gd name="connsiteY267" fmla="*/ 2306832 h 2323145"/>
              <a:gd name="connsiteX268" fmla="*/ 87258 w 11269336"/>
              <a:gd name="connsiteY268" fmla="*/ 2285511 h 2323145"/>
              <a:gd name="connsiteX269" fmla="*/ 23798 w 11269336"/>
              <a:gd name="connsiteY269" fmla="*/ 2281822 h 2323145"/>
              <a:gd name="connsiteX270" fmla="*/ 0 w 11269336"/>
              <a:gd name="connsiteY270" fmla="*/ 2285369 h 2323145"/>
              <a:gd name="connsiteX271" fmla="*/ 0 w 11269336"/>
              <a:gd name="connsiteY27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1048229 w 11269336"/>
              <a:gd name="connsiteY252" fmla="*/ 2207249 h 2323145"/>
              <a:gd name="connsiteX253" fmla="*/ 988232 w 11269336"/>
              <a:gd name="connsiteY253" fmla="*/ 2235635 h 2323145"/>
              <a:gd name="connsiteX254" fmla="*/ 981959 w 11269336"/>
              <a:gd name="connsiteY254" fmla="*/ 2231607 h 2323145"/>
              <a:gd name="connsiteX255" fmla="*/ 938600 w 11269336"/>
              <a:gd name="connsiteY255" fmla="*/ 2238113 h 2323145"/>
              <a:gd name="connsiteX256" fmla="*/ 791788 w 11269336"/>
              <a:gd name="connsiteY256" fmla="*/ 2293224 h 2323145"/>
              <a:gd name="connsiteX257" fmla="*/ 706914 w 11269336"/>
              <a:gd name="connsiteY257" fmla="*/ 2305046 h 2323145"/>
              <a:gd name="connsiteX258" fmla="*/ 675971 w 11269336"/>
              <a:gd name="connsiteY258" fmla="*/ 2304030 h 2323145"/>
              <a:gd name="connsiteX259" fmla="*/ 624180 w 11269336"/>
              <a:gd name="connsiteY259" fmla="*/ 2302650 h 2323145"/>
              <a:gd name="connsiteX260" fmla="*/ 583453 w 11269336"/>
              <a:gd name="connsiteY260" fmla="*/ 2288788 h 2323145"/>
              <a:gd name="connsiteX261" fmla="*/ 540946 w 11269336"/>
              <a:gd name="connsiteY261" fmla="*/ 2292721 h 2323145"/>
              <a:gd name="connsiteX262" fmla="*/ 533680 w 11269336"/>
              <a:gd name="connsiteY262" fmla="*/ 2310233 h 2323145"/>
              <a:gd name="connsiteX263" fmla="*/ 487366 w 11269336"/>
              <a:gd name="connsiteY263" fmla="*/ 2309053 h 2323145"/>
              <a:gd name="connsiteX264" fmla="*/ 416820 w 11269336"/>
              <a:gd name="connsiteY264" fmla="*/ 2305443 h 2323145"/>
              <a:gd name="connsiteX265" fmla="*/ 376805 w 11269336"/>
              <a:gd name="connsiteY265" fmla="*/ 2307647 h 2323145"/>
              <a:gd name="connsiteX266" fmla="*/ 266777 w 11269336"/>
              <a:gd name="connsiteY266" fmla="*/ 2309012 h 2323145"/>
              <a:gd name="connsiteX267" fmla="*/ 156013 w 11269336"/>
              <a:gd name="connsiteY267" fmla="*/ 2306832 h 2323145"/>
              <a:gd name="connsiteX268" fmla="*/ 87258 w 11269336"/>
              <a:gd name="connsiteY268" fmla="*/ 2285511 h 2323145"/>
              <a:gd name="connsiteX269" fmla="*/ 23798 w 11269336"/>
              <a:gd name="connsiteY269" fmla="*/ 2281822 h 2323145"/>
              <a:gd name="connsiteX270" fmla="*/ 0 w 11269336"/>
              <a:gd name="connsiteY270" fmla="*/ 2285369 h 2323145"/>
              <a:gd name="connsiteX271" fmla="*/ 0 w 11269336"/>
              <a:gd name="connsiteY27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988232 w 11269336"/>
              <a:gd name="connsiteY252" fmla="*/ 2235635 h 2323145"/>
              <a:gd name="connsiteX253" fmla="*/ 981959 w 11269336"/>
              <a:gd name="connsiteY253" fmla="*/ 2231607 h 2323145"/>
              <a:gd name="connsiteX254" fmla="*/ 938600 w 11269336"/>
              <a:gd name="connsiteY254" fmla="*/ 2238113 h 2323145"/>
              <a:gd name="connsiteX255" fmla="*/ 791788 w 11269336"/>
              <a:gd name="connsiteY255" fmla="*/ 2293224 h 2323145"/>
              <a:gd name="connsiteX256" fmla="*/ 706914 w 11269336"/>
              <a:gd name="connsiteY256" fmla="*/ 2305046 h 2323145"/>
              <a:gd name="connsiteX257" fmla="*/ 675971 w 11269336"/>
              <a:gd name="connsiteY257" fmla="*/ 2304030 h 2323145"/>
              <a:gd name="connsiteX258" fmla="*/ 624180 w 11269336"/>
              <a:gd name="connsiteY258" fmla="*/ 2302650 h 2323145"/>
              <a:gd name="connsiteX259" fmla="*/ 583453 w 11269336"/>
              <a:gd name="connsiteY259" fmla="*/ 2288788 h 2323145"/>
              <a:gd name="connsiteX260" fmla="*/ 540946 w 11269336"/>
              <a:gd name="connsiteY260" fmla="*/ 2292721 h 2323145"/>
              <a:gd name="connsiteX261" fmla="*/ 533680 w 11269336"/>
              <a:gd name="connsiteY261" fmla="*/ 2310233 h 2323145"/>
              <a:gd name="connsiteX262" fmla="*/ 487366 w 11269336"/>
              <a:gd name="connsiteY262" fmla="*/ 2309053 h 2323145"/>
              <a:gd name="connsiteX263" fmla="*/ 416820 w 11269336"/>
              <a:gd name="connsiteY263" fmla="*/ 2305443 h 2323145"/>
              <a:gd name="connsiteX264" fmla="*/ 376805 w 11269336"/>
              <a:gd name="connsiteY264" fmla="*/ 2307647 h 2323145"/>
              <a:gd name="connsiteX265" fmla="*/ 266777 w 11269336"/>
              <a:gd name="connsiteY265" fmla="*/ 2309012 h 2323145"/>
              <a:gd name="connsiteX266" fmla="*/ 156013 w 11269336"/>
              <a:gd name="connsiteY266" fmla="*/ 2306832 h 2323145"/>
              <a:gd name="connsiteX267" fmla="*/ 87258 w 11269336"/>
              <a:gd name="connsiteY267" fmla="*/ 2285511 h 2323145"/>
              <a:gd name="connsiteX268" fmla="*/ 23798 w 11269336"/>
              <a:gd name="connsiteY268" fmla="*/ 2281822 h 2323145"/>
              <a:gd name="connsiteX269" fmla="*/ 0 w 11269336"/>
              <a:gd name="connsiteY269" fmla="*/ 2285369 h 2323145"/>
              <a:gd name="connsiteX270" fmla="*/ 0 w 11269336"/>
              <a:gd name="connsiteY270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266687 w 11269336"/>
              <a:gd name="connsiteY247" fmla="*/ 2212688 h 2323145"/>
              <a:gd name="connsiteX248" fmla="*/ 1239614 w 11269336"/>
              <a:gd name="connsiteY248" fmla="*/ 2209727 h 2323145"/>
              <a:gd name="connsiteX249" fmla="*/ 1202436 w 11269336"/>
              <a:gd name="connsiteY249" fmla="*/ 2209817 h 2323145"/>
              <a:gd name="connsiteX250" fmla="*/ 1136097 w 11269336"/>
              <a:gd name="connsiteY250" fmla="*/ 2205112 h 2323145"/>
              <a:gd name="connsiteX251" fmla="*/ 988232 w 11269336"/>
              <a:gd name="connsiteY251" fmla="*/ 2235635 h 2323145"/>
              <a:gd name="connsiteX252" fmla="*/ 981959 w 11269336"/>
              <a:gd name="connsiteY252" fmla="*/ 2231607 h 2323145"/>
              <a:gd name="connsiteX253" fmla="*/ 938600 w 11269336"/>
              <a:gd name="connsiteY253" fmla="*/ 2238113 h 2323145"/>
              <a:gd name="connsiteX254" fmla="*/ 791788 w 11269336"/>
              <a:gd name="connsiteY254" fmla="*/ 2293224 h 2323145"/>
              <a:gd name="connsiteX255" fmla="*/ 706914 w 11269336"/>
              <a:gd name="connsiteY255" fmla="*/ 2305046 h 2323145"/>
              <a:gd name="connsiteX256" fmla="*/ 675971 w 11269336"/>
              <a:gd name="connsiteY256" fmla="*/ 2304030 h 2323145"/>
              <a:gd name="connsiteX257" fmla="*/ 624180 w 11269336"/>
              <a:gd name="connsiteY257" fmla="*/ 2302650 h 2323145"/>
              <a:gd name="connsiteX258" fmla="*/ 583453 w 11269336"/>
              <a:gd name="connsiteY258" fmla="*/ 2288788 h 2323145"/>
              <a:gd name="connsiteX259" fmla="*/ 540946 w 11269336"/>
              <a:gd name="connsiteY259" fmla="*/ 2292721 h 2323145"/>
              <a:gd name="connsiteX260" fmla="*/ 533680 w 11269336"/>
              <a:gd name="connsiteY260" fmla="*/ 2310233 h 2323145"/>
              <a:gd name="connsiteX261" fmla="*/ 487366 w 11269336"/>
              <a:gd name="connsiteY261" fmla="*/ 2309053 h 2323145"/>
              <a:gd name="connsiteX262" fmla="*/ 416820 w 11269336"/>
              <a:gd name="connsiteY262" fmla="*/ 2305443 h 2323145"/>
              <a:gd name="connsiteX263" fmla="*/ 376805 w 11269336"/>
              <a:gd name="connsiteY263" fmla="*/ 2307647 h 2323145"/>
              <a:gd name="connsiteX264" fmla="*/ 266777 w 11269336"/>
              <a:gd name="connsiteY264" fmla="*/ 2309012 h 2323145"/>
              <a:gd name="connsiteX265" fmla="*/ 156013 w 11269336"/>
              <a:gd name="connsiteY265" fmla="*/ 2306832 h 2323145"/>
              <a:gd name="connsiteX266" fmla="*/ 87258 w 11269336"/>
              <a:gd name="connsiteY266" fmla="*/ 2285511 h 2323145"/>
              <a:gd name="connsiteX267" fmla="*/ 23798 w 11269336"/>
              <a:gd name="connsiteY267" fmla="*/ 2281822 h 2323145"/>
              <a:gd name="connsiteX268" fmla="*/ 0 w 11269336"/>
              <a:gd name="connsiteY268" fmla="*/ 2285369 h 2323145"/>
              <a:gd name="connsiteX269" fmla="*/ 0 w 11269336"/>
              <a:gd name="connsiteY269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197391 w 11269336"/>
              <a:gd name="connsiteY54" fmla="*/ 1107746 h 2323145"/>
              <a:gd name="connsiteX55" fmla="*/ 8081474 w 11269336"/>
              <a:gd name="connsiteY55" fmla="*/ 1130125 h 2323145"/>
              <a:gd name="connsiteX56" fmla="*/ 8053585 w 11269336"/>
              <a:gd name="connsiteY56" fmla="*/ 1129169 h 2323145"/>
              <a:gd name="connsiteX57" fmla="*/ 8038422 w 11269336"/>
              <a:gd name="connsiteY57" fmla="*/ 1119092 h 2323145"/>
              <a:gd name="connsiteX58" fmla="*/ 8029450 w 11269336"/>
              <a:gd name="connsiteY58" fmla="*/ 1125592 h 2323145"/>
              <a:gd name="connsiteX59" fmla="*/ 7959552 w 11269336"/>
              <a:gd name="connsiteY59" fmla="*/ 1140188 h 2323145"/>
              <a:gd name="connsiteX60" fmla="*/ 7914188 w 11269336"/>
              <a:gd name="connsiteY60" fmla="*/ 1150862 h 2323145"/>
              <a:gd name="connsiteX61" fmla="*/ 7914918 w 11269336"/>
              <a:gd name="connsiteY61" fmla="*/ 1168758 h 2323145"/>
              <a:gd name="connsiteX62" fmla="*/ 7875510 w 11269336"/>
              <a:gd name="connsiteY62" fmla="*/ 1183153 h 2323145"/>
              <a:gd name="connsiteX63" fmla="*/ 7829932 w 11269336"/>
              <a:gd name="connsiteY63" fmla="*/ 1180782 h 2323145"/>
              <a:gd name="connsiteX64" fmla="*/ 7779182 w 11269336"/>
              <a:gd name="connsiteY64" fmla="*/ 1192665 h 2323145"/>
              <a:gd name="connsiteX65" fmla="*/ 7748774 w 11269336"/>
              <a:gd name="connsiteY65" fmla="*/ 1199586 h 2323145"/>
              <a:gd name="connsiteX66" fmla="*/ 7671846 w 11269336"/>
              <a:gd name="connsiteY66" fmla="*/ 1231966 h 2323145"/>
              <a:gd name="connsiteX67" fmla="*/ 7554146 w 11269336"/>
              <a:gd name="connsiteY67" fmla="*/ 1319748 h 2323145"/>
              <a:gd name="connsiteX68" fmla="*/ 7515052 w 11269336"/>
              <a:gd name="connsiteY68" fmla="*/ 1336718 h 2323145"/>
              <a:gd name="connsiteX69" fmla="*/ 7507193 w 11269336"/>
              <a:gd name="connsiteY69" fmla="*/ 1334617 h 2323145"/>
              <a:gd name="connsiteX70" fmla="*/ 7461694 w 11269336"/>
              <a:gd name="connsiteY70" fmla="*/ 1375866 h 2323145"/>
              <a:gd name="connsiteX71" fmla="*/ 7377571 w 11269336"/>
              <a:gd name="connsiteY71" fmla="*/ 1400128 h 2323145"/>
              <a:gd name="connsiteX72" fmla="*/ 7311261 w 11269336"/>
              <a:gd name="connsiteY72" fmla="*/ 1412652 h 2323145"/>
              <a:gd name="connsiteX73" fmla="*/ 7275307 w 11269336"/>
              <a:gd name="connsiteY73" fmla="*/ 1422171 h 2323145"/>
              <a:gd name="connsiteX74" fmla="*/ 7247783 w 11269336"/>
              <a:gd name="connsiteY74" fmla="*/ 1426330 h 2323145"/>
              <a:gd name="connsiteX75" fmla="*/ 7185047 w 11269336"/>
              <a:gd name="connsiteY75" fmla="*/ 1451812 h 2323145"/>
              <a:gd name="connsiteX76" fmla="*/ 7084117 w 11269336"/>
              <a:gd name="connsiteY76" fmla="*/ 1500281 h 2323145"/>
              <a:gd name="connsiteX77" fmla="*/ 7062011 w 11269336"/>
              <a:gd name="connsiteY77" fmla="*/ 1509183 h 2323145"/>
              <a:gd name="connsiteX78" fmla="*/ 7040555 w 11269336"/>
              <a:gd name="connsiteY78" fmla="*/ 1511207 h 2323145"/>
              <a:gd name="connsiteX79" fmla="*/ 7033438 w 11269336"/>
              <a:gd name="connsiteY79" fmla="*/ 1506772 h 2323145"/>
              <a:gd name="connsiteX80" fmla="*/ 7020886 w 11269336"/>
              <a:gd name="connsiteY80" fmla="*/ 1510764 h 2323145"/>
              <a:gd name="connsiteX81" fmla="*/ 7017033 w 11269336"/>
              <a:gd name="connsiteY81" fmla="*/ 1510650 h 2323145"/>
              <a:gd name="connsiteX82" fmla="*/ 6995460 w 11269336"/>
              <a:gd name="connsiteY82" fmla="*/ 1511173 h 2323145"/>
              <a:gd name="connsiteX83" fmla="*/ 6962144 w 11269336"/>
              <a:gd name="connsiteY83" fmla="*/ 1541508 h 2323145"/>
              <a:gd name="connsiteX84" fmla="*/ 6910674 w 11269336"/>
              <a:gd name="connsiteY84" fmla="*/ 1554793 h 2323145"/>
              <a:gd name="connsiteX85" fmla="*/ 6732152 w 11269336"/>
              <a:gd name="connsiteY85" fmla="*/ 1642538 h 2323145"/>
              <a:gd name="connsiteX86" fmla="*/ 6694106 w 11269336"/>
              <a:gd name="connsiteY86" fmla="*/ 1632377 h 2323145"/>
              <a:gd name="connsiteX87" fmla="*/ 6617223 w 11269336"/>
              <a:gd name="connsiteY87" fmla="*/ 1659889 h 2323145"/>
              <a:gd name="connsiteX88" fmla="*/ 6521138 w 11269336"/>
              <a:gd name="connsiteY88" fmla="*/ 1744340 h 2323145"/>
              <a:gd name="connsiteX89" fmla="*/ 6380677 w 11269336"/>
              <a:gd name="connsiteY89" fmla="*/ 1796883 h 2323145"/>
              <a:gd name="connsiteX90" fmla="*/ 6374897 w 11269336"/>
              <a:gd name="connsiteY90" fmla="*/ 1809910 h 2323145"/>
              <a:gd name="connsiteX91" fmla="*/ 6364545 w 11269336"/>
              <a:gd name="connsiteY91" fmla="*/ 1820090 h 2323145"/>
              <a:gd name="connsiteX92" fmla="*/ 6362126 w 11269336"/>
              <a:gd name="connsiteY92" fmla="*/ 1819991 h 2323145"/>
              <a:gd name="connsiteX93" fmla="*/ 6346673 w 11269336"/>
              <a:gd name="connsiteY93" fmla="*/ 1827824 h 2323145"/>
              <a:gd name="connsiteX94" fmla="*/ 6345588 w 11269336"/>
              <a:gd name="connsiteY94" fmla="*/ 1832232 h 2323145"/>
              <a:gd name="connsiteX95" fmla="*/ 6335708 w 11269336"/>
              <a:gd name="connsiteY95" fmla="*/ 1838451 h 2323145"/>
              <a:gd name="connsiteX96" fmla="*/ 6318182 w 11269336"/>
              <a:gd name="connsiteY96" fmla="*/ 1852975 h 2323145"/>
              <a:gd name="connsiteX97" fmla="*/ 6313084 w 11269336"/>
              <a:gd name="connsiteY97" fmla="*/ 1853561 h 2323145"/>
              <a:gd name="connsiteX98" fmla="*/ 6283816 w 11269336"/>
              <a:gd name="connsiteY98" fmla="*/ 1872148 h 2323145"/>
              <a:gd name="connsiteX99" fmla="*/ 6282550 w 11269336"/>
              <a:gd name="connsiteY99" fmla="*/ 1871392 h 2323145"/>
              <a:gd name="connsiteX100" fmla="*/ 6270527 w 11269336"/>
              <a:gd name="connsiteY100" fmla="*/ 1872208 h 2323145"/>
              <a:gd name="connsiteX101" fmla="*/ 6249518 w 11269336"/>
              <a:gd name="connsiteY101" fmla="*/ 1876079 h 2323145"/>
              <a:gd name="connsiteX102" fmla="*/ 6190386 w 11269336"/>
              <a:gd name="connsiteY102" fmla="*/ 1872478 h 2323145"/>
              <a:gd name="connsiteX103" fmla="*/ 6159777 w 11269336"/>
              <a:gd name="connsiteY103" fmla="*/ 1891745 h 2323145"/>
              <a:gd name="connsiteX104" fmla="*/ 6153131 w 11269336"/>
              <a:gd name="connsiteY104" fmla="*/ 1895079 h 2323145"/>
              <a:gd name="connsiteX105" fmla="*/ 6152798 w 11269336"/>
              <a:gd name="connsiteY105" fmla="*/ 1894920 h 2323145"/>
              <a:gd name="connsiteX106" fmla="*/ 6145388 w 11269336"/>
              <a:gd name="connsiteY106" fmla="*/ 1897990 h 2323145"/>
              <a:gd name="connsiteX107" fmla="*/ 6141014 w 11269336"/>
              <a:gd name="connsiteY107" fmla="*/ 1901155 h 2323145"/>
              <a:gd name="connsiteX108" fmla="*/ 6128122 w 11269336"/>
              <a:gd name="connsiteY108" fmla="*/ 1907623 h 2323145"/>
              <a:gd name="connsiteX109" fmla="*/ 6122351 w 11269336"/>
              <a:gd name="connsiteY109" fmla="*/ 1908359 h 2323145"/>
              <a:gd name="connsiteX110" fmla="*/ 6064750 w 11269336"/>
              <a:gd name="connsiteY110" fmla="*/ 1896394 h 2323145"/>
              <a:gd name="connsiteX111" fmla="*/ 5964230 w 11269336"/>
              <a:gd name="connsiteY111" fmla="*/ 1910038 h 2323145"/>
              <a:gd name="connsiteX112" fmla="*/ 5865399 w 11269336"/>
              <a:gd name="connsiteY112" fmla="*/ 1926966 h 2323145"/>
              <a:gd name="connsiteX113" fmla="*/ 5829951 w 11269336"/>
              <a:gd name="connsiteY113" fmla="*/ 1934755 h 2323145"/>
              <a:gd name="connsiteX114" fmla="*/ 5765285 w 11269336"/>
              <a:gd name="connsiteY114" fmla="*/ 1941322 h 2323145"/>
              <a:gd name="connsiteX115" fmla="*/ 5734750 w 11269336"/>
              <a:gd name="connsiteY115" fmla="*/ 1939793 h 2323145"/>
              <a:gd name="connsiteX116" fmla="*/ 5733569 w 11269336"/>
              <a:gd name="connsiteY116" fmla="*/ 1940505 h 2323145"/>
              <a:gd name="connsiteX117" fmla="*/ 5730329 w 11269336"/>
              <a:gd name="connsiteY117" fmla="*/ 1937845 h 2323145"/>
              <a:gd name="connsiteX118" fmla="*/ 5724661 w 11269336"/>
              <a:gd name="connsiteY118" fmla="*/ 1937455 h 2323145"/>
              <a:gd name="connsiteX119" fmla="*/ 5710186 w 11269336"/>
              <a:gd name="connsiteY119" fmla="*/ 1941370 h 2323145"/>
              <a:gd name="connsiteX120" fmla="*/ 5704910 w 11269336"/>
              <a:gd name="connsiteY120" fmla="*/ 1943663 h 2323145"/>
              <a:gd name="connsiteX121" fmla="*/ 5696836 w 11269336"/>
              <a:gd name="connsiteY121" fmla="*/ 1945271 h 2323145"/>
              <a:gd name="connsiteX122" fmla="*/ 5696583 w 11269336"/>
              <a:gd name="connsiteY122" fmla="*/ 1945050 h 2323145"/>
              <a:gd name="connsiteX123" fmla="*/ 5689123 w 11269336"/>
              <a:gd name="connsiteY123" fmla="*/ 1947067 h 2323145"/>
              <a:gd name="connsiteX124" fmla="*/ 5653291 w 11269336"/>
              <a:gd name="connsiteY124" fmla="*/ 1960245 h 2323145"/>
              <a:gd name="connsiteX125" fmla="*/ 5599385 w 11269336"/>
              <a:gd name="connsiteY125" fmla="*/ 1945198 h 2323145"/>
              <a:gd name="connsiteX126" fmla="*/ 5578300 w 11269336"/>
              <a:gd name="connsiteY126" fmla="*/ 1944963 h 2323145"/>
              <a:gd name="connsiteX127" fmla="*/ 5566758 w 11269336"/>
              <a:gd name="connsiteY127" fmla="*/ 1943441 h 2323145"/>
              <a:gd name="connsiteX128" fmla="*/ 5565857 w 11269336"/>
              <a:gd name="connsiteY128" fmla="*/ 1942445 h 2323145"/>
              <a:gd name="connsiteX129" fmla="*/ 5531534 w 11269336"/>
              <a:gd name="connsiteY129" fmla="*/ 1955208 h 2323145"/>
              <a:gd name="connsiteX130" fmla="*/ 5526552 w 11269336"/>
              <a:gd name="connsiteY130" fmla="*/ 1954799 h 2323145"/>
              <a:gd name="connsiteX131" fmla="*/ 5504723 w 11269336"/>
              <a:gd name="connsiteY131" fmla="*/ 1965811 h 2323145"/>
              <a:gd name="connsiteX132" fmla="*/ 5493156 w 11269336"/>
              <a:gd name="connsiteY132" fmla="*/ 1970063 h 2323145"/>
              <a:gd name="connsiteX133" fmla="*/ 5490486 w 11269336"/>
              <a:gd name="connsiteY133" fmla="*/ 1974227 h 2323145"/>
              <a:gd name="connsiteX134" fmla="*/ 5473107 w 11269336"/>
              <a:gd name="connsiteY134" fmla="*/ 1979001 h 2323145"/>
              <a:gd name="connsiteX135" fmla="*/ 5470885 w 11269336"/>
              <a:gd name="connsiteY135" fmla="*/ 1978432 h 2323145"/>
              <a:gd name="connsiteX136" fmla="*/ 5457393 w 11269336"/>
              <a:gd name="connsiteY136" fmla="*/ 1986525 h 2323145"/>
              <a:gd name="connsiteX137" fmla="*/ 5447102 w 11269336"/>
              <a:gd name="connsiteY137" fmla="*/ 1998329 h 2323145"/>
              <a:gd name="connsiteX138" fmla="*/ 5159151 w 11269336"/>
              <a:gd name="connsiteY138" fmla="*/ 2029640 h 2323145"/>
              <a:gd name="connsiteX139" fmla="*/ 5041688 w 11269336"/>
              <a:gd name="connsiteY139" fmla="*/ 2022334 h 2323145"/>
              <a:gd name="connsiteX140" fmla="*/ 4860988 w 11269336"/>
              <a:gd name="connsiteY140" fmla="*/ 2135698 h 2323145"/>
              <a:gd name="connsiteX141" fmla="*/ 4807902 w 11269336"/>
              <a:gd name="connsiteY141" fmla="*/ 2138894 h 2323145"/>
              <a:gd name="connsiteX142" fmla="*/ 4765388 w 11269336"/>
              <a:gd name="connsiteY142" fmla="*/ 2162525 h 2323145"/>
              <a:gd name="connsiteX143" fmla="*/ 4745033 w 11269336"/>
              <a:gd name="connsiteY143" fmla="*/ 2158859 h 2323145"/>
              <a:gd name="connsiteX144" fmla="*/ 4741475 w 11269336"/>
              <a:gd name="connsiteY144" fmla="*/ 2157998 h 2323145"/>
              <a:gd name="connsiteX145" fmla="*/ 4728247 w 11269336"/>
              <a:gd name="connsiteY145" fmla="*/ 2159526 h 2323145"/>
              <a:gd name="connsiteX146" fmla="*/ 4723263 w 11269336"/>
              <a:gd name="connsiteY146" fmla="*/ 2153742 h 2323145"/>
              <a:gd name="connsiteX147" fmla="*/ 4702453 w 11269336"/>
              <a:gd name="connsiteY147" fmla="*/ 2151586 h 2323145"/>
              <a:gd name="connsiteX148" fmla="*/ 4678455 w 11269336"/>
              <a:gd name="connsiteY148" fmla="*/ 2156131 h 2323145"/>
              <a:gd name="connsiteX149" fmla="*/ 4593061 w 11269336"/>
              <a:gd name="connsiteY149" fmla="*/ 2171597 h 2323145"/>
              <a:gd name="connsiteX150" fmla="*/ 4579902 w 11269336"/>
              <a:gd name="connsiteY150" fmla="*/ 2177927 h 2323145"/>
              <a:gd name="connsiteX151" fmla="*/ 4533444 w 11269336"/>
              <a:gd name="connsiteY151" fmla="*/ 2181200 h 2323145"/>
              <a:gd name="connsiteX152" fmla="*/ 4492832 w 11269336"/>
              <a:gd name="connsiteY152" fmla="*/ 2188033 h 2323145"/>
              <a:gd name="connsiteX153" fmla="*/ 4467257 w 11269336"/>
              <a:gd name="connsiteY153" fmla="*/ 2196121 h 2323145"/>
              <a:gd name="connsiteX154" fmla="*/ 4459937 w 11269336"/>
              <a:gd name="connsiteY154" fmla="*/ 2195182 h 2323145"/>
              <a:gd name="connsiteX155" fmla="*/ 4433312 w 11269336"/>
              <a:gd name="connsiteY155" fmla="*/ 2199004 h 2323145"/>
              <a:gd name="connsiteX156" fmla="*/ 4420601 w 11269336"/>
              <a:gd name="connsiteY156" fmla="*/ 2205158 h 2323145"/>
              <a:gd name="connsiteX157" fmla="*/ 4405765 w 11269336"/>
              <a:gd name="connsiteY157" fmla="*/ 2199902 h 2323145"/>
              <a:gd name="connsiteX158" fmla="*/ 4401354 w 11269336"/>
              <a:gd name="connsiteY158" fmla="*/ 2194745 h 2323145"/>
              <a:gd name="connsiteX159" fmla="*/ 4383151 w 11269336"/>
              <a:gd name="connsiteY159" fmla="*/ 2201140 h 2323145"/>
              <a:gd name="connsiteX160" fmla="*/ 4366646 w 11269336"/>
              <a:gd name="connsiteY160" fmla="*/ 2198564 h 2323145"/>
              <a:gd name="connsiteX161" fmla="*/ 4354009 w 11269336"/>
              <a:gd name="connsiteY161" fmla="*/ 2204984 h 2323145"/>
              <a:gd name="connsiteX162" fmla="*/ 4348284 w 11269336"/>
              <a:gd name="connsiteY162" fmla="*/ 2205270 h 2323145"/>
              <a:gd name="connsiteX163" fmla="*/ 4333906 w 11269336"/>
              <a:gd name="connsiteY163" fmla="*/ 2205251 h 2323145"/>
              <a:gd name="connsiteX164" fmla="*/ 4308819 w 11269336"/>
              <a:gd name="connsiteY164" fmla="*/ 2203822 h 2323145"/>
              <a:gd name="connsiteX165" fmla="*/ 4301210 w 11269336"/>
              <a:gd name="connsiteY165" fmla="*/ 2204456 h 2323145"/>
              <a:gd name="connsiteX166" fmla="*/ 4283095 w 11269336"/>
              <a:gd name="connsiteY166" fmla="*/ 2198177 h 2323145"/>
              <a:gd name="connsiteX167" fmla="*/ 4250119 w 11269336"/>
              <a:gd name="connsiteY167" fmla="*/ 2196342 h 2323145"/>
              <a:gd name="connsiteX168" fmla="*/ 4189203 w 11269336"/>
              <a:gd name="connsiteY168" fmla="*/ 2178994 h 2323145"/>
              <a:gd name="connsiteX169" fmla="*/ 4154035 w 11269336"/>
              <a:gd name="connsiteY169" fmla="*/ 2171950 h 2323145"/>
              <a:gd name="connsiteX170" fmla="*/ 4129569 w 11269336"/>
              <a:gd name="connsiteY170" fmla="*/ 2163850 h 2323145"/>
              <a:gd name="connsiteX171" fmla="*/ 4061250 w 11269336"/>
              <a:gd name="connsiteY171" fmla="*/ 2159236 h 2323145"/>
              <a:gd name="connsiteX172" fmla="*/ 3945480 w 11269336"/>
              <a:gd name="connsiteY172" fmla="*/ 2158279 h 2323145"/>
              <a:gd name="connsiteX173" fmla="*/ 3921468 w 11269336"/>
              <a:gd name="connsiteY173" fmla="*/ 2156588 h 2323145"/>
              <a:gd name="connsiteX174" fmla="*/ 3903348 w 11269336"/>
              <a:gd name="connsiteY174" fmla="*/ 2149220 h 2323145"/>
              <a:gd name="connsiteX175" fmla="*/ 3901342 w 11269336"/>
              <a:gd name="connsiteY175" fmla="*/ 2142355 h 2323145"/>
              <a:gd name="connsiteX176" fmla="*/ 3888539 w 11269336"/>
              <a:gd name="connsiteY176" fmla="*/ 2140476 h 2323145"/>
              <a:gd name="connsiteX177" fmla="*/ 3885662 w 11269336"/>
              <a:gd name="connsiteY177" fmla="*/ 2138740 h 2323145"/>
              <a:gd name="connsiteX178" fmla="*/ 3868627 w 11269336"/>
              <a:gd name="connsiteY178" fmla="*/ 2130023 h 2323145"/>
              <a:gd name="connsiteX179" fmla="*/ 3819177 w 11269336"/>
              <a:gd name="connsiteY179" fmla="*/ 2142111 h 2323145"/>
              <a:gd name="connsiteX180" fmla="*/ 3769100 w 11269336"/>
              <a:gd name="connsiteY180" fmla="*/ 2131731 h 2323145"/>
              <a:gd name="connsiteX181" fmla="*/ 3562752 w 11269336"/>
              <a:gd name="connsiteY181" fmla="*/ 2131785 h 2323145"/>
              <a:gd name="connsiteX182" fmla="*/ 3541402 w 11269336"/>
              <a:gd name="connsiteY182" fmla="*/ 2106821 h 2323145"/>
              <a:gd name="connsiteX183" fmla="*/ 3365341 w 11269336"/>
              <a:gd name="connsiteY183" fmla="*/ 2077638 h 2323145"/>
              <a:gd name="connsiteX184" fmla="*/ 3170922 w 11269336"/>
              <a:gd name="connsiteY184" fmla="*/ 2115957 h 2323145"/>
              <a:gd name="connsiteX185" fmla="*/ 3156256 w 11269336"/>
              <a:gd name="connsiteY185" fmla="*/ 2124773 h 2323145"/>
              <a:gd name="connsiteX186" fmla="*/ 3140298 w 11269336"/>
              <a:gd name="connsiteY186" fmla="*/ 2129182 h 2323145"/>
              <a:gd name="connsiteX187" fmla="*/ 3138514 w 11269336"/>
              <a:gd name="connsiteY187" fmla="*/ 2128069 h 2323145"/>
              <a:gd name="connsiteX188" fmla="*/ 3120467 w 11269336"/>
              <a:gd name="connsiteY188" fmla="*/ 2128281 h 2323145"/>
              <a:gd name="connsiteX189" fmla="*/ 3116175 w 11269336"/>
              <a:gd name="connsiteY189" fmla="*/ 2131633 h 2323145"/>
              <a:gd name="connsiteX190" fmla="*/ 3103685 w 11269336"/>
              <a:gd name="connsiteY190" fmla="*/ 2132814 h 2323145"/>
              <a:gd name="connsiteX191" fmla="*/ 3078794 w 11269336"/>
              <a:gd name="connsiteY191" fmla="*/ 2137935 h 2323145"/>
              <a:gd name="connsiteX192" fmla="*/ 3074407 w 11269336"/>
              <a:gd name="connsiteY192" fmla="*/ 2136274 h 2323145"/>
              <a:gd name="connsiteX193" fmla="*/ 3037285 w 11269336"/>
              <a:gd name="connsiteY193" fmla="*/ 2139919 h 2323145"/>
              <a:gd name="connsiteX194" fmla="*/ 3036901 w 11269336"/>
              <a:gd name="connsiteY194" fmla="*/ 2138726 h 2323145"/>
              <a:gd name="connsiteX195" fmla="*/ 3026996 w 11269336"/>
              <a:gd name="connsiteY195" fmla="*/ 2134322 h 2323145"/>
              <a:gd name="connsiteX196" fmla="*/ 3007772 w 11269336"/>
              <a:gd name="connsiteY196" fmla="*/ 2128742 h 2323145"/>
              <a:gd name="connsiteX197" fmla="*/ 2965030 w 11269336"/>
              <a:gd name="connsiteY197" fmla="*/ 2100494 h 2323145"/>
              <a:gd name="connsiteX198" fmla="*/ 2926342 w 11269336"/>
              <a:gd name="connsiteY198" fmla="*/ 2104155 h 2323145"/>
              <a:gd name="connsiteX199" fmla="*/ 2918608 w 11269336"/>
              <a:gd name="connsiteY199" fmla="*/ 2104215 h 2323145"/>
              <a:gd name="connsiteX200" fmla="*/ 2918475 w 11269336"/>
              <a:gd name="connsiteY200" fmla="*/ 2103937 h 2323145"/>
              <a:gd name="connsiteX201" fmla="*/ 2910360 w 11269336"/>
              <a:gd name="connsiteY201" fmla="*/ 2103444 h 2323145"/>
              <a:gd name="connsiteX202" fmla="*/ 2904507 w 11269336"/>
              <a:gd name="connsiteY202" fmla="*/ 2104326 h 2323145"/>
              <a:gd name="connsiteX203" fmla="*/ 2889503 w 11269336"/>
              <a:gd name="connsiteY203" fmla="*/ 2104443 h 2323145"/>
              <a:gd name="connsiteX204" fmla="*/ 2884480 w 11269336"/>
              <a:gd name="connsiteY204" fmla="*/ 2102626 h 2323145"/>
              <a:gd name="connsiteX205" fmla="*/ 2882689 w 11269336"/>
              <a:gd name="connsiteY205" fmla="*/ 2099228 h 2323145"/>
              <a:gd name="connsiteX206" fmla="*/ 2881291 w 11269336"/>
              <a:gd name="connsiteY206" fmla="*/ 2099618 h 2323145"/>
              <a:gd name="connsiteX207" fmla="*/ 2853979 w 11269336"/>
              <a:gd name="connsiteY207" fmla="*/ 2090388 h 2323145"/>
              <a:gd name="connsiteX208" fmla="*/ 2791790 w 11269336"/>
              <a:gd name="connsiteY208" fmla="*/ 2080332 h 2323145"/>
              <a:gd name="connsiteX209" fmla="*/ 2755844 w 11269336"/>
              <a:gd name="connsiteY209" fmla="*/ 2078874 h 2323145"/>
              <a:gd name="connsiteX210" fmla="*/ 2657742 w 11269336"/>
              <a:gd name="connsiteY210" fmla="*/ 2070179 h 2323145"/>
              <a:gd name="connsiteX211" fmla="*/ 2559549 w 11269336"/>
              <a:gd name="connsiteY211" fmla="*/ 2057873 h 2323145"/>
              <a:gd name="connsiteX212" fmla="*/ 2512054 w 11269336"/>
              <a:gd name="connsiteY212" fmla="*/ 2031671 h 2323145"/>
              <a:gd name="connsiteX213" fmla="*/ 2506437 w 11269336"/>
              <a:gd name="connsiteY213" fmla="*/ 2030918 h 2323145"/>
              <a:gd name="connsiteX214" fmla="*/ 2491752 w 11269336"/>
              <a:gd name="connsiteY214" fmla="*/ 2033906 h 2323145"/>
              <a:gd name="connsiteX215" fmla="*/ 2486338 w 11269336"/>
              <a:gd name="connsiteY215" fmla="*/ 2035862 h 2323145"/>
              <a:gd name="connsiteX216" fmla="*/ 2478186 w 11269336"/>
              <a:gd name="connsiteY216" fmla="*/ 2036953 h 2323145"/>
              <a:gd name="connsiteX217" fmla="*/ 2477950 w 11269336"/>
              <a:gd name="connsiteY217" fmla="*/ 2036715 h 2323145"/>
              <a:gd name="connsiteX218" fmla="*/ 2470381 w 11269336"/>
              <a:gd name="connsiteY218" fmla="*/ 2038256 h 2323145"/>
              <a:gd name="connsiteX219" fmla="*/ 2433781 w 11269336"/>
              <a:gd name="connsiteY219" fmla="*/ 2049140 h 2323145"/>
              <a:gd name="connsiteX220" fmla="*/ 2381172 w 11269336"/>
              <a:gd name="connsiteY220" fmla="*/ 2030645 h 2323145"/>
              <a:gd name="connsiteX221" fmla="*/ 2360198 w 11269336"/>
              <a:gd name="connsiteY221" fmla="*/ 2029059 h 2323145"/>
              <a:gd name="connsiteX222" fmla="*/ 2348815 w 11269336"/>
              <a:gd name="connsiteY222" fmla="*/ 2026798 h 2323145"/>
              <a:gd name="connsiteX223" fmla="*/ 2347988 w 11269336"/>
              <a:gd name="connsiteY223" fmla="*/ 2025745 h 2323145"/>
              <a:gd name="connsiteX224" fmla="*/ 2312920 w 11269336"/>
              <a:gd name="connsiteY224" fmla="*/ 2036311 h 2323145"/>
              <a:gd name="connsiteX225" fmla="*/ 2307986 w 11269336"/>
              <a:gd name="connsiteY225" fmla="*/ 2035583 h 2323145"/>
              <a:gd name="connsiteX226" fmla="*/ 2285481 w 11269336"/>
              <a:gd name="connsiteY226" fmla="*/ 2045197 h 2323145"/>
              <a:gd name="connsiteX227" fmla="*/ 2273666 w 11269336"/>
              <a:gd name="connsiteY227" fmla="*/ 2048710 h 2323145"/>
              <a:gd name="connsiteX228" fmla="*/ 2270719 w 11269336"/>
              <a:gd name="connsiteY228" fmla="*/ 2052702 h 2323145"/>
              <a:gd name="connsiteX229" fmla="*/ 2253080 w 11269336"/>
              <a:gd name="connsiteY229" fmla="*/ 2056363 h 2323145"/>
              <a:gd name="connsiteX230" fmla="*/ 2250906 w 11269336"/>
              <a:gd name="connsiteY230" fmla="*/ 2055654 h 2323145"/>
              <a:gd name="connsiteX231" fmla="*/ 2236905 w 11269336"/>
              <a:gd name="connsiteY231" fmla="*/ 2062882 h 2323145"/>
              <a:gd name="connsiteX232" fmla="*/ 2225830 w 11269336"/>
              <a:gd name="connsiteY232" fmla="*/ 2074027 h 2323145"/>
              <a:gd name="connsiteX233" fmla="*/ 2073776 w 11269336"/>
              <a:gd name="connsiteY233" fmla="*/ 2089244 h 2323145"/>
              <a:gd name="connsiteX234" fmla="*/ 1948256 w 11269336"/>
              <a:gd name="connsiteY234" fmla="*/ 2146616 h 2323145"/>
              <a:gd name="connsiteX235" fmla="*/ 1865582 w 11269336"/>
              <a:gd name="connsiteY235" fmla="*/ 2153738 h 2323145"/>
              <a:gd name="connsiteX236" fmla="*/ 1835210 w 11269336"/>
              <a:gd name="connsiteY236" fmla="*/ 2134244 h 2323145"/>
              <a:gd name="connsiteX237" fmla="*/ 1632661 w 11269336"/>
              <a:gd name="connsiteY237" fmla="*/ 2173882 h 2323145"/>
              <a:gd name="connsiteX238" fmla="*/ 1579590 w 11269336"/>
              <a:gd name="connsiteY238" fmla="*/ 2173680 h 2323145"/>
              <a:gd name="connsiteX239" fmla="*/ 1535601 w 11269336"/>
              <a:gd name="connsiteY239" fmla="*/ 2194590 h 2323145"/>
              <a:gd name="connsiteX240" fmla="*/ 1515594 w 11269336"/>
              <a:gd name="connsiteY240" fmla="*/ 2189622 h 2323145"/>
              <a:gd name="connsiteX241" fmla="*/ 1512113 w 11269336"/>
              <a:gd name="connsiteY241" fmla="*/ 2188534 h 2323145"/>
              <a:gd name="connsiteX242" fmla="*/ 1498838 w 11269336"/>
              <a:gd name="connsiteY242" fmla="*/ 2189213 h 2323145"/>
              <a:gd name="connsiteX243" fmla="*/ 1494279 w 11269336"/>
              <a:gd name="connsiteY243" fmla="*/ 2183112 h 2323145"/>
              <a:gd name="connsiteX244" fmla="*/ 1473714 w 11269336"/>
              <a:gd name="connsiteY244" fmla="*/ 2179625 h 2323145"/>
              <a:gd name="connsiteX245" fmla="*/ 1449503 w 11269336"/>
              <a:gd name="connsiteY245" fmla="*/ 2182633 h 2323145"/>
              <a:gd name="connsiteX246" fmla="*/ 1266687 w 11269336"/>
              <a:gd name="connsiteY246" fmla="*/ 2212688 h 2323145"/>
              <a:gd name="connsiteX247" fmla="*/ 1239614 w 11269336"/>
              <a:gd name="connsiteY247" fmla="*/ 2209727 h 2323145"/>
              <a:gd name="connsiteX248" fmla="*/ 1202436 w 11269336"/>
              <a:gd name="connsiteY248" fmla="*/ 2209817 h 2323145"/>
              <a:gd name="connsiteX249" fmla="*/ 1136097 w 11269336"/>
              <a:gd name="connsiteY249" fmla="*/ 2205112 h 2323145"/>
              <a:gd name="connsiteX250" fmla="*/ 988232 w 11269336"/>
              <a:gd name="connsiteY250" fmla="*/ 2235635 h 2323145"/>
              <a:gd name="connsiteX251" fmla="*/ 981959 w 11269336"/>
              <a:gd name="connsiteY251" fmla="*/ 2231607 h 2323145"/>
              <a:gd name="connsiteX252" fmla="*/ 938600 w 11269336"/>
              <a:gd name="connsiteY252" fmla="*/ 2238113 h 2323145"/>
              <a:gd name="connsiteX253" fmla="*/ 791788 w 11269336"/>
              <a:gd name="connsiteY253" fmla="*/ 2293224 h 2323145"/>
              <a:gd name="connsiteX254" fmla="*/ 706914 w 11269336"/>
              <a:gd name="connsiteY254" fmla="*/ 2305046 h 2323145"/>
              <a:gd name="connsiteX255" fmla="*/ 675971 w 11269336"/>
              <a:gd name="connsiteY255" fmla="*/ 2304030 h 2323145"/>
              <a:gd name="connsiteX256" fmla="*/ 624180 w 11269336"/>
              <a:gd name="connsiteY256" fmla="*/ 2302650 h 2323145"/>
              <a:gd name="connsiteX257" fmla="*/ 583453 w 11269336"/>
              <a:gd name="connsiteY257" fmla="*/ 2288788 h 2323145"/>
              <a:gd name="connsiteX258" fmla="*/ 540946 w 11269336"/>
              <a:gd name="connsiteY258" fmla="*/ 2292721 h 2323145"/>
              <a:gd name="connsiteX259" fmla="*/ 533680 w 11269336"/>
              <a:gd name="connsiteY259" fmla="*/ 2310233 h 2323145"/>
              <a:gd name="connsiteX260" fmla="*/ 487366 w 11269336"/>
              <a:gd name="connsiteY260" fmla="*/ 2309053 h 2323145"/>
              <a:gd name="connsiteX261" fmla="*/ 416820 w 11269336"/>
              <a:gd name="connsiteY261" fmla="*/ 2305443 h 2323145"/>
              <a:gd name="connsiteX262" fmla="*/ 376805 w 11269336"/>
              <a:gd name="connsiteY262" fmla="*/ 2307647 h 2323145"/>
              <a:gd name="connsiteX263" fmla="*/ 266777 w 11269336"/>
              <a:gd name="connsiteY263" fmla="*/ 2309012 h 2323145"/>
              <a:gd name="connsiteX264" fmla="*/ 156013 w 11269336"/>
              <a:gd name="connsiteY264" fmla="*/ 2306832 h 2323145"/>
              <a:gd name="connsiteX265" fmla="*/ 87258 w 11269336"/>
              <a:gd name="connsiteY265" fmla="*/ 2285511 h 2323145"/>
              <a:gd name="connsiteX266" fmla="*/ 23798 w 11269336"/>
              <a:gd name="connsiteY266" fmla="*/ 2281822 h 2323145"/>
              <a:gd name="connsiteX267" fmla="*/ 0 w 11269336"/>
              <a:gd name="connsiteY267" fmla="*/ 2285369 h 2323145"/>
              <a:gd name="connsiteX268" fmla="*/ 0 w 11269336"/>
              <a:gd name="connsiteY268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795998 w 11269336"/>
              <a:gd name="connsiteY32" fmla="*/ 863337 h 2323145"/>
              <a:gd name="connsiteX33" fmla="*/ 8776970 w 11269336"/>
              <a:gd name="connsiteY33" fmla="*/ 885177 h 2323145"/>
              <a:gd name="connsiteX34" fmla="*/ 8755719 w 11269336"/>
              <a:gd name="connsiteY34" fmla="*/ 889754 h 2323145"/>
              <a:gd name="connsiteX35" fmla="*/ 8743257 w 11269336"/>
              <a:gd name="connsiteY35" fmla="*/ 904723 h 2323145"/>
              <a:gd name="connsiteX36" fmla="*/ 8721366 w 11269336"/>
              <a:gd name="connsiteY36" fmla="*/ 904711 h 2323145"/>
              <a:gd name="connsiteX37" fmla="*/ 8678353 w 11269336"/>
              <a:gd name="connsiteY37" fmla="*/ 926318 h 2323145"/>
              <a:gd name="connsiteX38" fmla="*/ 8636849 w 11269336"/>
              <a:gd name="connsiteY38" fmla="*/ 937900 h 2323145"/>
              <a:gd name="connsiteX39" fmla="*/ 8620213 w 11269336"/>
              <a:gd name="connsiteY39" fmla="*/ 943068 h 2323145"/>
              <a:gd name="connsiteX40" fmla="*/ 8612581 w 11269336"/>
              <a:gd name="connsiteY40" fmla="*/ 952695 h 2323145"/>
              <a:gd name="connsiteX41" fmla="*/ 8589038 w 11269336"/>
              <a:gd name="connsiteY41" fmla="*/ 963892 h 2323145"/>
              <a:gd name="connsiteX42" fmla="*/ 8579950 w 11269336"/>
              <a:gd name="connsiteY42" fmla="*/ 960899 h 2323145"/>
              <a:gd name="connsiteX43" fmla="*/ 8579319 w 11269336"/>
              <a:gd name="connsiteY43" fmla="*/ 965630 h 2323145"/>
              <a:gd name="connsiteX44" fmla="*/ 8547429 w 11269336"/>
              <a:gd name="connsiteY44" fmla="*/ 984506 h 2323145"/>
              <a:gd name="connsiteX45" fmla="*/ 8478704 w 11269336"/>
              <a:gd name="connsiteY45" fmla="*/ 1025490 h 2323145"/>
              <a:gd name="connsiteX46" fmla="*/ 8461421 w 11269336"/>
              <a:gd name="connsiteY46" fmla="*/ 1035512 h 2323145"/>
              <a:gd name="connsiteX47" fmla="*/ 8445003 w 11269336"/>
              <a:gd name="connsiteY47" fmla="*/ 1036851 h 2323145"/>
              <a:gd name="connsiteX48" fmla="*/ 8357350 w 11269336"/>
              <a:gd name="connsiteY48" fmla="*/ 1060213 h 2323145"/>
              <a:gd name="connsiteX49" fmla="*/ 8335565 w 11269336"/>
              <a:gd name="connsiteY49" fmla="*/ 1061151 h 2323145"/>
              <a:gd name="connsiteX50" fmla="*/ 8325267 w 11269336"/>
              <a:gd name="connsiteY50" fmla="*/ 1055919 h 2323145"/>
              <a:gd name="connsiteX51" fmla="*/ 8293586 w 11269336"/>
              <a:gd name="connsiteY51" fmla="*/ 1076144 h 2323145"/>
              <a:gd name="connsiteX52" fmla="*/ 8242405 w 11269336"/>
              <a:gd name="connsiteY52" fmla="*/ 1095960 h 2323145"/>
              <a:gd name="connsiteX53" fmla="*/ 8197391 w 11269336"/>
              <a:gd name="connsiteY53" fmla="*/ 1107746 h 2323145"/>
              <a:gd name="connsiteX54" fmla="*/ 8081474 w 11269336"/>
              <a:gd name="connsiteY54" fmla="*/ 1130125 h 2323145"/>
              <a:gd name="connsiteX55" fmla="*/ 8053585 w 11269336"/>
              <a:gd name="connsiteY55" fmla="*/ 1129169 h 2323145"/>
              <a:gd name="connsiteX56" fmla="*/ 8038422 w 11269336"/>
              <a:gd name="connsiteY56" fmla="*/ 1119092 h 2323145"/>
              <a:gd name="connsiteX57" fmla="*/ 8029450 w 11269336"/>
              <a:gd name="connsiteY57" fmla="*/ 1125592 h 2323145"/>
              <a:gd name="connsiteX58" fmla="*/ 7959552 w 11269336"/>
              <a:gd name="connsiteY58" fmla="*/ 1140188 h 2323145"/>
              <a:gd name="connsiteX59" fmla="*/ 7914188 w 11269336"/>
              <a:gd name="connsiteY59" fmla="*/ 1150862 h 2323145"/>
              <a:gd name="connsiteX60" fmla="*/ 7914918 w 11269336"/>
              <a:gd name="connsiteY60" fmla="*/ 1168758 h 2323145"/>
              <a:gd name="connsiteX61" fmla="*/ 7875510 w 11269336"/>
              <a:gd name="connsiteY61" fmla="*/ 1183153 h 2323145"/>
              <a:gd name="connsiteX62" fmla="*/ 7829932 w 11269336"/>
              <a:gd name="connsiteY62" fmla="*/ 1180782 h 2323145"/>
              <a:gd name="connsiteX63" fmla="*/ 7779182 w 11269336"/>
              <a:gd name="connsiteY63" fmla="*/ 1192665 h 2323145"/>
              <a:gd name="connsiteX64" fmla="*/ 7748774 w 11269336"/>
              <a:gd name="connsiteY64" fmla="*/ 1199586 h 2323145"/>
              <a:gd name="connsiteX65" fmla="*/ 7671846 w 11269336"/>
              <a:gd name="connsiteY65" fmla="*/ 1231966 h 2323145"/>
              <a:gd name="connsiteX66" fmla="*/ 7554146 w 11269336"/>
              <a:gd name="connsiteY66" fmla="*/ 1319748 h 2323145"/>
              <a:gd name="connsiteX67" fmla="*/ 7515052 w 11269336"/>
              <a:gd name="connsiteY67" fmla="*/ 1336718 h 2323145"/>
              <a:gd name="connsiteX68" fmla="*/ 7507193 w 11269336"/>
              <a:gd name="connsiteY68" fmla="*/ 1334617 h 2323145"/>
              <a:gd name="connsiteX69" fmla="*/ 7461694 w 11269336"/>
              <a:gd name="connsiteY69" fmla="*/ 1375866 h 2323145"/>
              <a:gd name="connsiteX70" fmla="*/ 7377571 w 11269336"/>
              <a:gd name="connsiteY70" fmla="*/ 1400128 h 2323145"/>
              <a:gd name="connsiteX71" fmla="*/ 7311261 w 11269336"/>
              <a:gd name="connsiteY71" fmla="*/ 1412652 h 2323145"/>
              <a:gd name="connsiteX72" fmla="*/ 7275307 w 11269336"/>
              <a:gd name="connsiteY72" fmla="*/ 1422171 h 2323145"/>
              <a:gd name="connsiteX73" fmla="*/ 7247783 w 11269336"/>
              <a:gd name="connsiteY73" fmla="*/ 1426330 h 2323145"/>
              <a:gd name="connsiteX74" fmla="*/ 7185047 w 11269336"/>
              <a:gd name="connsiteY74" fmla="*/ 1451812 h 2323145"/>
              <a:gd name="connsiteX75" fmla="*/ 7084117 w 11269336"/>
              <a:gd name="connsiteY75" fmla="*/ 1500281 h 2323145"/>
              <a:gd name="connsiteX76" fmla="*/ 7062011 w 11269336"/>
              <a:gd name="connsiteY76" fmla="*/ 1509183 h 2323145"/>
              <a:gd name="connsiteX77" fmla="*/ 7040555 w 11269336"/>
              <a:gd name="connsiteY77" fmla="*/ 1511207 h 2323145"/>
              <a:gd name="connsiteX78" fmla="*/ 7033438 w 11269336"/>
              <a:gd name="connsiteY78" fmla="*/ 1506772 h 2323145"/>
              <a:gd name="connsiteX79" fmla="*/ 7020886 w 11269336"/>
              <a:gd name="connsiteY79" fmla="*/ 1510764 h 2323145"/>
              <a:gd name="connsiteX80" fmla="*/ 7017033 w 11269336"/>
              <a:gd name="connsiteY80" fmla="*/ 1510650 h 2323145"/>
              <a:gd name="connsiteX81" fmla="*/ 6995460 w 11269336"/>
              <a:gd name="connsiteY81" fmla="*/ 1511173 h 2323145"/>
              <a:gd name="connsiteX82" fmla="*/ 6962144 w 11269336"/>
              <a:gd name="connsiteY82" fmla="*/ 1541508 h 2323145"/>
              <a:gd name="connsiteX83" fmla="*/ 6910674 w 11269336"/>
              <a:gd name="connsiteY83" fmla="*/ 1554793 h 2323145"/>
              <a:gd name="connsiteX84" fmla="*/ 6732152 w 11269336"/>
              <a:gd name="connsiteY84" fmla="*/ 1642538 h 2323145"/>
              <a:gd name="connsiteX85" fmla="*/ 6694106 w 11269336"/>
              <a:gd name="connsiteY85" fmla="*/ 1632377 h 2323145"/>
              <a:gd name="connsiteX86" fmla="*/ 6617223 w 11269336"/>
              <a:gd name="connsiteY86" fmla="*/ 1659889 h 2323145"/>
              <a:gd name="connsiteX87" fmla="*/ 6521138 w 11269336"/>
              <a:gd name="connsiteY87" fmla="*/ 1744340 h 2323145"/>
              <a:gd name="connsiteX88" fmla="*/ 6380677 w 11269336"/>
              <a:gd name="connsiteY88" fmla="*/ 1796883 h 2323145"/>
              <a:gd name="connsiteX89" fmla="*/ 6374897 w 11269336"/>
              <a:gd name="connsiteY89" fmla="*/ 1809910 h 2323145"/>
              <a:gd name="connsiteX90" fmla="*/ 6364545 w 11269336"/>
              <a:gd name="connsiteY90" fmla="*/ 1820090 h 2323145"/>
              <a:gd name="connsiteX91" fmla="*/ 6362126 w 11269336"/>
              <a:gd name="connsiteY91" fmla="*/ 1819991 h 2323145"/>
              <a:gd name="connsiteX92" fmla="*/ 6346673 w 11269336"/>
              <a:gd name="connsiteY92" fmla="*/ 1827824 h 2323145"/>
              <a:gd name="connsiteX93" fmla="*/ 6345588 w 11269336"/>
              <a:gd name="connsiteY93" fmla="*/ 1832232 h 2323145"/>
              <a:gd name="connsiteX94" fmla="*/ 6335708 w 11269336"/>
              <a:gd name="connsiteY94" fmla="*/ 1838451 h 2323145"/>
              <a:gd name="connsiteX95" fmla="*/ 6318182 w 11269336"/>
              <a:gd name="connsiteY95" fmla="*/ 1852975 h 2323145"/>
              <a:gd name="connsiteX96" fmla="*/ 6313084 w 11269336"/>
              <a:gd name="connsiteY96" fmla="*/ 1853561 h 2323145"/>
              <a:gd name="connsiteX97" fmla="*/ 6283816 w 11269336"/>
              <a:gd name="connsiteY97" fmla="*/ 1872148 h 2323145"/>
              <a:gd name="connsiteX98" fmla="*/ 6282550 w 11269336"/>
              <a:gd name="connsiteY98" fmla="*/ 1871392 h 2323145"/>
              <a:gd name="connsiteX99" fmla="*/ 6270527 w 11269336"/>
              <a:gd name="connsiteY99" fmla="*/ 1872208 h 2323145"/>
              <a:gd name="connsiteX100" fmla="*/ 6249518 w 11269336"/>
              <a:gd name="connsiteY100" fmla="*/ 1876079 h 2323145"/>
              <a:gd name="connsiteX101" fmla="*/ 6190386 w 11269336"/>
              <a:gd name="connsiteY101" fmla="*/ 1872478 h 2323145"/>
              <a:gd name="connsiteX102" fmla="*/ 6159777 w 11269336"/>
              <a:gd name="connsiteY102" fmla="*/ 1891745 h 2323145"/>
              <a:gd name="connsiteX103" fmla="*/ 6153131 w 11269336"/>
              <a:gd name="connsiteY103" fmla="*/ 1895079 h 2323145"/>
              <a:gd name="connsiteX104" fmla="*/ 6152798 w 11269336"/>
              <a:gd name="connsiteY104" fmla="*/ 1894920 h 2323145"/>
              <a:gd name="connsiteX105" fmla="*/ 6145388 w 11269336"/>
              <a:gd name="connsiteY105" fmla="*/ 1897990 h 2323145"/>
              <a:gd name="connsiteX106" fmla="*/ 6141014 w 11269336"/>
              <a:gd name="connsiteY106" fmla="*/ 1901155 h 2323145"/>
              <a:gd name="connsiteX107" fmla="*/ 6128122 w 11269336"/>
              <a:gd name="connsiteY107" fmla="*/ 1907623 h 2323145"/>
              <a:gd name="connsiteX108" fmla="*/ 6122351 w 11269336"/>
              <a:gd name="connsiteY108" fmla="*/ 1908359 h 2323145"/>
              <a:gd name="connsiteX109" fmla="*/ 6064750 w 11269336"/>
              <a:gd name="connsiteY109" fmla="*/ 1896394 h 2323145"/>
              <a:gd name="connsiteX110" fmla="*/ 5964230 w 11269336"/>
              <a:gd name="connsiteY110" fmla="*/ 1910038 h 2323145"/>
              <a:gd name="connsiteX111" fmla="*/ 5865399 w 11269336"/>
              <a:gd name="connsiteY111" fmla="*/ 1926966 h 2323145"/>
              <a:gd name="connsiteX112" fmla="*/ 5829951 w 11269336"/>
              <a:gd name="connsiteY112" fmla="*/ 1934755 h 2323145"/>
              <a:gd name="connsiteX113" fmla="*/ 5765285 w 11269336"/>
              <a:gd name="connsiteY113" fmla="*/ 1941322 h 2323145"/>
              <a:gd name="connsiteX114" fmla="*/ 5734750 w 11269336"/>
              <a:gd name="connsiteY114" fmla="*/ 1939793 h 2323145"/>
              <a:gd name="connsiteX115" fmla="*/ 5733569 w 11269336"/>
              <a:gd name="connsiteY115" fmla="*/ 1940505 h 2323145"/>
              <a:gd name="connsiteX116" fmla="*/ 5730329 w 11269336"/>
              <a:gd name="connsiteY116" fmla="*/ 1937845 h 2323145"/>
              <a:gd name="connsiteX117" fmla="*/ 5724661 w 11269336"/>
              <a:gd name="connsiteY117" fmla="*/ 1937455 h 2323145"/>
              <a:gd name="connsiteX118" fmla="*/ 5710186 w 11269336"/>
              <a:gd name="connsiteY118" fmla="*/ 1941370 h 2323145"/>
              <a:gd name="connsiteX119" fmla="*/ 5704910 w 11269336"/>
              <a:gd name="connsiteY119" fmla="*/ 1943663 h 2323145"/>
              <a:gd name="connsiteX120" fmla="*/ 5696836 w 11269336"/>
              <a:gd name="connsiteY120" fmla="*/ 1945271 h 2323145"/>
              <a:gd name="connsiteX121" fmla="*/ 5696583 w 11269336"/>
              <a:gd name="connsiteY121" fmla="*/ 1945050 h 2323145"/>
              <a:gd name="connsiteX122" fmla="*/ 5689123 w 11269336"/>
              <a:gd name="connsiteY122" fmla="*/ 1947067 h 2323145"/>
              <a:gd name="connsiteX123" fmla="*/ 5653291 w 11269336"/>
              <a:gd name="connsiteY123" fmla="*/ 1960245 h 2323145"/>
              <a:gd name="connsiteX124" fmla="*/ 5599385 w 11269336"/>
              <a:gd name="connsiteY124" fmla="*/ 1945198 h 2323145"/>
              <a:gd name="connsiteX125" fmla="*/ 5578300 w 11269336"/>
              <a:gd name="connsiteY125" fmla="*/ 1944963 h 2323145"/>
              <a:gd name="connsiteX126" fmla="*/ 5566758 w 11269336"/>
              <a:gd name="connsiteY126" fmla="*/ 1943441 h 2323145"/>
              <a:gd name="connsiteX127" fmla="*/ 5565857 w 11269336"/>
              <a:gd name="connsiteY127" fmla="*/ 1942445 h 2323145"/>
              <a:gd name="connsiteX128" fmla="*/ 5531534 w 11269336"/>
              <a:gd name="connsiteY128" fmla="*/ 1955208 h 2323145"/>
              <a:gd name="connsiteX129" fmla="*/ 5526552 w 11269336"/>
              <a:gd name="connsiteY129" fmla="*/ 1954799 h 2323145"/>
              <a:gd name="connsiteX130" fmla="*/ 5504723 w 11269336"/>
              <a:gd name="connsiteY130" fmla="*/ 1965811 h 2323145"/>
              <a:gd name="connsiteX131" fmla="*/ 5493156 w 11269336"/>
              <a:gd name="connsiteY131" fmla="*/ 1970063 h 2323145"/>
              <a:gd name="connsiteX132" fmla="*/ 5490486 w 11269336"/>
              <a:gd name="connsiteY132" fmla="*/ 1974227 h 2323145"/>
              <a:gd name="connsiteX133" fmla="*/ 5473107 w 11269336"/>
              <a:gd name="connsiteY133" fmla="*/ 1979001 h 2323145"/>
              <a:gd name="connsiteX134" fmla="*/ 5470885 w 11269336"/>
              <a:gd name="connsiteY134" fmla="*/ 1978432 h 2323145"/>
              <a:gd name="connsiteX135" fmla="*/ 5457393 w 11269336"/>
              <a:gd name="connsiteY135" fmla="*/ 1986525 h 2323145"/>
              <a:gd name="connsiteX136" fmla="*/ 5447102 w 11269336"/>
              <a:gd name="connsiteY136" fmla="*/ 1998329 h 2323145"/>
              <a:gd name="connsiteX137" fmla="*/ 5159151 w 11269336"/>
              <a:gd name="connsiteY137" fmla="*/ 2029640 h 2323145"/>
              <a:gd name="connsiteX138" fmla="*/ 5041688 w 11269336"/>
              <a:gd name="connsiteY138" fmla="*/ 2022334 h 2323145"/>
              <a:gd name="connsiteX139" fmla="*/ 4860988 w 11269336"/>
              <a:gd name="connsiteY139" fmla="*/ 2135698 h 2323145"/>
              <a:gd name="connsiteX140" fmla="*/ 4807902 w 11269336"/>
              <a:gd name="connsiteY140" fmla="*/ 2138894 h 2323145"/>
              <a:gd name="connsiteX141" fmla="*/ 4765388 w 11269336"/>
              <a:gd name="connsiteY141" fmla="*/ 2162525 h 2323145"/>
              <a:gd name="connsiteX142" fmla="*/ 4745033 w 11269336"/>
              <a:gd name="connsiteY142" fmla="*/ 2158859 h 2323145"/>
              <a:gd name="connsiteX143" fmla="*/ 4741475 w 11269336"/>
              <a:gd name="connsiteY143" fmla="*/ 2157998 h 2323145"/>
              <a:gd name="connsiteX144" fmla="*/ 4728247 w 11269336"/>
              <a:gd name="connsiteY144" fmla="*/ 2159526 h 2323145"/>
              <a:gd name="connsiteX145" fmla="*/ 4723263 w 11269336"/>
              <a:gd name="connsiteY145" fmla="*/ 2153742 h 2323145"/>
              <a:gd name="connsiteX146" fmla="*/ 4702453 w 11269336"/>
              <a:gd name="connsiteY146" fmla="*/ 2151586 h 2323145"/>
              <a:gd name="connsiteX147" fmla="*/ 4678455 w 11269336"/>
              <a:gd name="connsiteY147" fmla="*/ 2156131 h 2323145"/>
              <a:gd name="connsiteX148" fmla="*/ 4593061 w 11269336"/>
              <a:gd name="connsiteY148" fmla="*/ 2171597 h 2323145"/>
              <a:gd name="connsiteX149" fmla="*/ 4579902 w 11269336"/>
              <a:gd name="connsiteY149" fmla="*/ 2177927 h 2323145"/>
              <a:gd name="connsiteX150" fmla="*/ 4533444 w 11269336"/>
              <a:gd name="connsiteY150" fmla="*/ 2181200 h 2323145"/>
              <a:gd name="connsiteX151" fmla="*/ 4492832 w 11269336"/>
              <a:gd name="connsiteY151" fmla="*/ 2188033 h 2323145"/>
              <a:gd name="connsiteX152" fmla="*/ 4467257 w 11269336"/>
              <a:gd name="connsiteY152" fmla="*/ 2196121 h 2323145"/>
              <a:gd name="connsiteX153" fmla="*/ 4459937 w 11269336"/>
              <a:gd name="connsiteY153" fmla="*/ 2195182 h 2323145"/>
              <a:gd name="connsiteX154" fmla="*/ 4433312 w 11269336"/>
              <a:gd name="connsiteY154" fmla="*/ 2199004 h 2323145"/>
              <a:gd name="connsiteX155" fmla="*/ 4420601 w 11269336"/>
              <a:gd name="connsiteY155" fmla="*/ 2205158 h 2323145"/>
              <a:gd name="connsiteX156" fmla="*/ 4405765 w 11269336"/>
              <a:gd name="connsiteY156" fmla="*/ 2199902 h 2323145"/>
              <a:gd name="connsiteX157" fmla="*/ 4401354 w 11269336"/>
              <a:gd name="connsiteY157" fmla="*/ 2194745 h 2323145"/>
              <a:gd name="connsiteX158" fmla="*/ 4383151 w 11269336"/>
              <a:gd name="connsiteY158" fmla="*/ 2201140 h 2323145"/>
              <a:gd name="connsiteX159" fmla="*/ 4366646 w 11269336"/>
              <a:gd name="connsiteY159" fmla="*/ 2198564 h 2323145"/>
              <a:gd name="connsiteX160" fmla="*/ 4354009 w 11269336"/>
              <a:gd name="connsiteY160" fmla="*/ 2204984 h 2323145"/>
              <a:gd name="connsiteX161" fmla="*/ 4348284 w 11269336"/>
              <a:gd name="connsiteY161" fmla="*/ 2205270 h 2323145"/>
              <a:gd name="connsiteX162" fmla="*/ 4333906 w 11269336"/>
              <a:gd name="connsiteY162" fmla="*/ 2205251 h 2323145"/>
              <a:gd name="connsiteX163" fmla="*/ 4308819 w 11269336"/>
              <a:gd name="connsiteY163" fmla="*/ 2203822 h 2323145"/>
              <a:gd name="connsiteX164" fmla="*/ 4301210 w 11269336"/>
              <a:gd name="connsiteY164" fmla="*/ 2204456 h 2323145"/>
              <a:gd name="connsiteX165" fmla="*/ 4283095 w 11269336"/>
              <a:gd name="connsiteY165" fmla="*/ 2198177 h 2323145"/>
              <a:gd name="connsiteX166" fmla="*/ 4250119 w 11269336"/>
              <a:gd name="connsiteY166" fmla="*/ 2196342 h 2323145"/>
              <a:gd name="connsiteX167" fmla="*/ 4189203 w 11269336"/>
              <a:gd name="connsiteY167" fmla="*/ 2178994 h 2323145"/>
              <a:gd name="connsiteX168" fmla="*/ 4154035 w 11269336"/>
              <a:gd name="connsiteY168" fmla="*/ 2171950 h 2323145"/>
              <a:gd name="connsiteX169" fmla="*/ 4129569 w 11269336"/>
              <a:gd name="connsiteY169" fmla="*/ 2163850 h 2323145"/>
              <a:gd name="connsiteX170" fmla="*/ 4061250 w 11269336"/>
              <a:gd name="connsiteY170" fmla="*/ 2159236 h 2323145"/>
              <a:gd name="connsiteX171" fmla="*/ 3945480 w 11269336"/>
              <a:gd name="connsiteY171" fmla="*/ 2158279 h 2323145"/>
              <a:gd name="connsiteX172" fmla="*/ 3921468 w 11269336"/>
              <a:gd name="connsiteY172" fmla="*/ 2156588 h 2323145"/>
              <a:gd name="connsiteX173" fmla="*/ 3903348 w 11269336"/>
              <a:gd name="connsiteY173" fmla="*/ 2149220 h 2323145"/>
              <a:gd name="connsiteX174" fmla="*/ 3901342 w 11269336"/>
              <a:gd name="connsiteY174" fmla="*/ 2142355 h 2323145"/>
              <a:gd name="connsiteX175" fmla="*/ 3888539 w 11269336"/>
              <a:gd name="connsiteY175" fmla="*/ 2140476 h 2323145"/>
              <a:gd name="connsiteX176" fmla="*/ 3885662 w 11269336"/>
              <a:gd name="connsiteY176" fmla="*/ 2138740 h 2323145"/>
              <a:gd name="connsiteX177" fmla="*/ 3868627 w 11269336"/>
              <a:gd name="connsiteY177" fmla="*/ 2130023 h 2323145"/>
              <a:gd name="connsiteX178" fmla="*/ 3819177 w 11269336"/>
              <a:gd name="connsiteY178" fmla="*/ 2142111 h 2323145"/>
              <a:gd name="connsiteX179" fmla="*/ 3769100 w 11269336"/>
              <a:gd name="connsiteY179" fmla="*/ 2131731 h 2323145"/>
              <a:gd name="connsiteX180" fmla="*/ 3562752 w 11269336"/>
              <a:gd name="connsiteY180" fmla="*/ 2131785 h 2323145"/>
              <a:gd name="connsiteX181" fmla="*/ 3541402 w 11269336"/>
              <a:gd name="connsiteY181" fmla="*/ 2106821 h 2323145"/>
              <a:gd name="connsiteX182" fmla="*/ 3365341 w 11269336"/>
              <a:gd name="connsiteY182" fmla="*/ 2077638 h 2323145"/>
              <a:gd name="connsiteX183" fmla="*/ 3170922 w 11269336"/>
              <a:gd name="connsiteY183" fmla="*/ 2115957 h 2323145"/>
              <a:gd name="connsiteX184" fmla="*/ 3156256 w 11269336"/>
              <a:gd name="connsiteY184" fmla="*/ 2124773 h 2323145"/>
              <a:gd name="connsiteX185" fmla="*/ 3140298 w 11269336"/>
              <a:gd name="connsiteY185" fmla="*/ 2129182 h 2323145"/>
              <a:gd name="connsiteX186" fmla="*/ 3138514 w 11269336"/>
              <a:gd name="connsiteY186" fmla="*/ 2128069 h 2323145"/>
              <a:gd name="connsiteX187" fmla="*/ 3120467 w 11269336"/>
              <a:gd name="connsiteY187" fmla="*/ 2128281 h 2323145"/>
              <a:gd name="connsiteX188" fmla="*/ 3116175 w 11269336"/>
              <a:gd name="connsiteY188" fmla="*/ 2131633 h 2323145"/>
              <a:gd name="connsiteX189" fmla="*/ 3103685 w 11269336"/>
              <a:gd name="connsiteY189" fmla="*/ 2132814 h 2323145"/>
              <a:gd name="connsiteX190" fmla="*/ 3078794 w 11269336"/>
              <a:gd name="connsiteY190" fmla="*/ 2137935 h 2323145"/>
              <a:gd name="connsiteX191" fmla="*/ 3074407 w 11269336"/>
              <a:gd name="connsiteY191" fmla="*/ 2136274 h 2323145"/>
              <a:gd name="connsiteX192" fmla="*/ 3037285 w 11269336"/>
              <a:gd name="connsiteY192" fmla="*/ 2139919 h 2323145"/>
              <a:gd name="connsiteX193" fmla="*/ 3036901 w 11269336"/>
              <a:gd name="connsiteY193" fmla="*/ 2138726 h 2323145"/>
              <a:gd name="connsiteX194" fmla="*/ 3026996 w 11269336"/>
              <a:gd name="connsiteY194" fmla="*/ 2134322 h 2323145"/>
              <a:gd name="connsiteX195" fmla="*/ 3007772 w 11269336"/>
              <a:gd name="connsiteY195" fmla="*/ 2128742 h 2323145"/>
              <a:gd name="connsiteX196" fmla="*/ 2965030 w 11269336"/>
              <a:gd name="connsiteY196" fmla="*/ 2100494 h 2323145"/>
              <a:gd name="connsiteX197" fmla="*/ 2926342 w 11269336"/>
              <a:gd name="connsiteY197" fmla="*/ 2104155 h 2323145"/>
              <a:gd name="connsiteX198" fmla="*/ 2918608 w 11269336"/>
              <a:gd name="connsiteY198" fmla="*/ 2104215 h 2323145"/>
              <a:gd name="connsiteX199" fmla="*/ 2918475 w 11269336"/>
              <a:gd name="connsiteY199" fmla="*/ 2103937 h 2323145"/>
              <a:gd name="connsiteX200" fmla="*/ 2910360 w 11269336"/>
              <a:gd name="connsiteY200" fmla="*/ 2103444 h 2323145"/>
              <a:gd name="connsiteX201" fmla="*/ 2904507 w 11269336"/>
              <a:gd name="connsiteY201" fmla="*/ 2104326 h 2323145"/>
              <a:gd name="connsiteX202" fmla="*/ 2889503 w 11269336"/>
              <a:gd name="connsiteY202" fmla="*/ 2104443 h 2323145"/>
              <a:gd name="connsiteX203" fmla="*/ 2884480 w 11269336"/>
              <a:gd name="connsiteY203" fmla="*/ 2102626 h 2323145"/>
              <a:gd name="connsiteX204" fmla="*/ 2882689 w 11269336"/>
              <a:gd name="connsiteY204" fmla="*/ 2099228 h 2323145"/>
              <a:gd name="connsiteX205" fmla="*/ 2881291 w 11269336"/>
              <a:gd name="connsiteY205" fmla="*/ 2099618 h 2323145"/>
              <a:gd name="connsiteX206" fmla="*/ 2853979 w 11269336"/>
              <a:gd name="connsiteY206" fmla="*/ 2090388 h 2323145"/>
              <a:gd name="connsiteX207" fmla="*/ 2791790 w 11269336"/>
              <a:gd name="connsiteY207" fmla="*/ 2080332 h 2323145"/>
              <a:gd name="connsiteX208" fmla="*/ 2755844 w 11269336"/>
              <a:gd name="connsiteY208" fmla="*/ 2078874 h 2323145"/>
              <a:gd name="connsiteX209" fmla="*/ 2657742 w 11269336"/>
              <a:gd name="connsiteY209" fmla="*/ 2070179 h 2323145"/>
              <a:gd name="connsiteX210" fmla="*/ 2559549 w 11269336"/>
              <a:gd name="connsiteY210" fmla="*/ 2057873 h 2323145"/>
              <a:gd name="connsiteX211" fmla="*/ 2512054 w 11269336"/>
              <a:gd name="connsiteY211" fmla="*/ 2031671 h 2323145"/>
              <a:gd name="connsiteX212" fmla="*/ 2506437 w 11269336"/>
              <a:gd name="connsiteY212" fmla="*/ 2030918 h 2323145"/>
              <a:gd name="connsiteX213" fmla="*/ 2491752 w 11269336"/>
              <a:gd name="connsiteY213" fmla="*/ 2033906 h 2323145"/>
              <a:gd name="connsiteX214" fmla="*/ 2486338 w 11269336"/>
              <a:gd name="connsiteY214" fmla="*/ 2035862 h 2323145"/>
              <a:gd name="connsiteX215" fmla="*/ 2478186 w 11269336"/>
              <a:gd name="connsiteY215" fmla="*/ 2036953 h 2323145"/>
              <a:gd name="connsiteX216" fmla="*/ 2477950 w 11269336"/>
              <a:gd name="connsiteY216" fmla="*/ 2036715 h 2323145"/>
              <a:gd name="connsiteX217" fmla="*/ 2470381 w 11269336"/>
              <a:gd name="connsiteY217" fmla="*/ 2038256 h 2323145"/>
              <a:gd name="connsiteX218" fmla="*/ 2433781 w 11269336"/>
              <a:gd name="connsiteY218" fmla="*/ 2049140 h 2323145"/>
              <a:gd name="connsiteX219" fmla="*/ 2381172 w 11269336"/>
              <a:gd name="connsiteY219" fmla="*/ 2030645 h 2323145"/>
              <a:gd name="connsiteX220" fmla="*/ 2360198 w 11269336"/>
              <a:gd name="connsiteY220" fmla="*/ 2029059 h 2323145"/>
              <a:gd name="connsiteX221" fmla="*/ 2348815 w 11269336"/>
              <a:gd name="connsiteY221" fmla="*/ 2026798 h 2323145"/>
              <a:gd name="connsiteX222" fmla="*/ 2347988 w 11269336"/>
              <a:gd name="connsiteY222" fmla="*/ 2025745 h 2323145"/>
              <a:gd name="connsiteX223" fmla="*/ 2312920 w 11269336"/>
              <a:gd name="connsiteY223" fmla="*/ 2036311 h 2323145"/>
              <a:gd name="connsiteX224" fmla="*/ 2307986 w 11269336"/>
              <a:gd name="connsiteY224" fmla="*/ 2035583 h 2323145"/>
              <a:gd name="connsiteX225" fmla="*/ 2285481 w 11269336"/>
              <a:gd name="connsiteY225" fmla="*/ 2045197 h 2323145"/>
              <a:gd name="connsiteX226" fmla="*/ 2273666 w 11269336"/>
              <a:gd name="connsiteY226" fmla="*/ 2048710 h 2323145"/>
              <a:gd name="connsiteX227" fmla="*/ 2270719 w 11269336"/>
              <a:gd name="connsiteY227" fmla="*/ 2052702 h 2323145"/>
              <a:gd name="connsiteX228" fmla="*/ 2253080 w 11269336"/>
              <a:gd name="connsiteY228" fmla="*/ 2056363 h 2323145"/>
              <a:gd name="connsiteX229" fmla="*/ 2250906 w 11269336"/>
              <a:gd name="connsiteY229" fmla="*/ 2055654 h 2323145"/>
              <a:gd name="connsiteX230" fmla="*/ 2236905 w 11269336"/>
              <a:gd name="connsiteY230" fmla="*/ 2062882 h 2323145"/>
              <a:gd name="connsiteX231" fmla="*/ 2225830 w 11269336"/>
              <a:gd name="connsiteY231" fmla="*/ 2074027 h 2323145"/>
              <a:gd name="connsiteX232" fmla="*/ 2073776 w 11269336"/>
              <a:gd name="connsiteY232" fmla="*/ 2089244 h 2323145"/>
              <a:gd name="connsiteX233" fmla="*/ 1948256 w 11269336"/>
              <a:gd name="connsiteY233" fmla="*/ 2146616 h 2323145"/>
              <a:gd name="connsiteX234" fmla="*/ 1865582 w 11269336"/>
              <a:gd name="connsiteY234" fmla="*/ 2153738 h 2323145"/>
              <a:gd name="connsiteX235" fmla="*/ 1835210 w 11269336"/>
              <a:gd name="connsiteY235" fmla="*/ 2134244 h 2323145"/>
              <a:gd name="connsiteX236" fmla="*/ 1632661 w 11269336"/>
              <a:gd name="connsiteY236" fmla="*/ 2173882 h 2323145"/>
              <a:gd name="connsiteX237" fmla="*/ 1579590 w 11269336"/>
              <a:gd name="connsiteY237" fmla="*/ 2173680 h 2323145"/>
              <a:gd name="connsiteX238" fmla="*/ 1535601 w 11269336"/>
              <a:gd name="connsiteY238" fmla="*/ 2194590 h 2323145"/>
              <a:gd name="connsiteX239" fmla="*/ 1515594 w 11269336"/>
              <a:gd name="connsiteY239" fmla="*/ 2189622 h 2323145"/>
              <a:gd name="connsiteX240" fmla="*/ 1512113 w 11269336"/>
              <a:gd name="connsiteY240" fmla="*/ 2188534 h 2323145"/>
              <a:gd name="connsiteX241" fmla="*/ 1498838 w 11269336"/>
              <a:gd name="connsiteY241" fmla="*/ 2189213 h 2323145"/>
              <a:gd name="connsiteX242" fmla="*/ 1494279 w 11269336"/>
              <a:gd name="connsiteY242" fmla="*/ 2183112 h 2323145"/>
              <a:gd name="connsiteX243" fmla="*/ 1473714 w 11269336"/>
              <a:gd name="connsiteY243" fmla="*/ 2179625 h 2323145"/>
              <a:gd name="connsiteX244" fmla="*/ 1449503 w 11269336"/>
              <a:gd name="connsiteY244" fmla="*/ 2182633 h 2323145"/>
              <a:gd name="connsiteX245" fmla="*/ 1266687 w 11269336"/>
              <a:gd name="connsiteY245" fmla="*/ 2212688 h 2323145"/>
              <a:gd name="connsiteX246" fmla="*/ 1239614 w 11269336"/>
              <a:gd name="connsiteY246" fmla="*/ 2209727 h 2323145"/>
              <a:gd name="connsiteX247" fmla="*/ 1202436 w 11269336"/>
              <a:gd name="connsiteY247" fmla="*/ 2209817 h 2323145"/>
              <a:gd name="connsiteX248" fmla="*/ 1136097 w 11269336"/>
              <a:gd name="connsiteY248" fmla="*/ 2205112 h 2323145"/>
              <a:gd name="connsiteX249" fmla="*/ 988232 w 11269336"/>
              <a:gd name="connsiteY249" fmla="*/ 2235635 h 2323145"/>
              <a:gd name="connsiteX250" fmla="*/ 981959 w 11269336"/>
              <a:gd name="connsiteY250" fmla="*/ 2231607 h 2323145"/>
              <a:gd name="connsiteX251" fmla="*/ 938600 w 11269336"/>
              <a:gd name="connsiteY251" fmla="*/ 2238113 h 2323145"/>
              <a:gd name="connsiteX252" fmla="*/ 791788 w 11269336"/>
              <a:gd name="connsiteY252" fmla="*/ 2293224 h 2323145"/>
              <a:gd name="connsiteX253" fmla="*/ 706914 w 11269336"/>
              <a:gd name="connsiteY253" fmla="*/ 2305046 h 2323145"/>
              <a:gd name="connsiteX254" fmla="*/ 675971 w 11269336"/>
              <a:gd name="connsiteY254" fmla="*/ 2304030 h 2323145"/>
              <a:gd name="connsiteX255" fmla="*/ 624180 w 11269336"/>
              <a:gd name="connsiteY255" fmla="*/ 2302650 h 2323145"/>
              <a:gd name="connsiteX256" fmla="*/ 583453 w 11269336"/>
              <a:gd name="connsiteY256" fmla="*/ 2288788 h 2323145"/>
              <a:gd name="connsiteX257" fmla="*/ 540946 w 11269336"/>
              <a:gd name="connsiteY257" fmla="*/ 2292721 h 2323145"/>
              <a:gd name="connsiteX258" fmla="*/ 533680 w 11269336"/>
              <a:gd name="connsiteY258" fmla="*/ 2310233 h 2323145"/>
              <a:gd name="connsiteX259" fmla="*/ 487366 w 11269336"/>
              <a:gd name="connsiteY259" fmla="*/ 2309053 h 2323145"/>
              <a:gd name="connsiteX260" fmla="*/ 416820 w 11269336"/>
              <a:gd name="connsiteY260" fmla="*/ 2305443 h 2323145"/>
              <a:gd name="connsiteX261" fmla="*/ 376805 w 11269336"/>
              <a:gd name="connsiteY261" fmla="*/ 2307647 h 2323145"/>
              <a:gd name="connsiteX262" fmla="*/ 266777 w 11269336"/>
              <a:gd name="connsiteY262" fmla="*/ 2309012 h 2323145"/>
              <a:gd name="connsiteX263" fmla="*/ 156013 w 11269336"/>
              <a:gd name="connsiteY263" fmla="*/ 2306832 h 2323145"/>
              <a:gd name="connsiteX264" fmla="*/ 87258 w 11269336"/>
              <a:gd name="connsiteY264" fmla="*/ 2285511 h 2323145"/>
              <a:gd name="connsiteX265" fmla="*/ 23798 w 11269336"/>
              <a:gd name="connsiteY265" fmla="*/ 2281822 h 2323145"/>
              <a:gd name="connsiteX266" fmla="*/ 0 w 11269336"/>
              <a:gd name="connsiteY266" fmla="*/ 2285369 h 2323145"/>
              <a:gd name="connsiteX267" fmla="*/ 0 w 11269336"/>
              <a:gd name="connsiteY267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114263 w 11269336"/>
              <a:gd name="connsiteY21" fmla="*/ 709213 h 2323145"/>
              <a:gd name="connsiteX22" fmla="*/ 9028928 w 11269336"/>
              <a:gd name="connsiteY22" fmla="*/ 745350 h 2323145"/>
              <a:gd name="connsiteX23" fmla="*/ 8977138 w 11269336"/>
              <a:gd name="connsiteY23" fmla="*/ 774970 h 2323145"/>
              <a:gd name="connsiteX24" fmla="*/ 8947030 w 11269336"/>
              <a:gd name="connsiteY24" fmla="*/ 814934 h 2323145"/>
              <a:gd name="connsiteX25" fmla="*/ 8914746 w 11269336"/>
              <a:gd name="connsiteY25" fmla="*/ 826428 h 2323145"/>
              <a:gd name="connsiteX26" fmla="*/ 8917778 w 11269336"/>
              <a:gd name="connsiteY26" fmla="*/ 835198 h 2323145"/>
              <a:gd name="connsiteX27" fmla="*/ 8905560 w 11269336"/>
              <a:gd name="connsiteY27" fmla="*/ 838358 h 2323145"/>
              <a:gd name="connsiteX28" fmla="*/ 8897564 w 11269336"/>
              <a:gd name="connsiteY28" fmla="*/ 834287 h 2323145"/>
              <a:gd name="connsiteX29" fmla="*/ 8878040 w 11269336"/>
              <a:gd name="connsiteY29" fmla="*/ 844150 h 2323145"/>
              <a:gd name="connsiteX30" fmla="*/ 8882654 w 11269336"/>
              <a:gd name="connsiteY30" fmla="*/ 892768 h 2323145"/>
              <a:gd name="connsiteX31" fmla="*/ 8795998 w 11269336"/>
              <a:gd name="connsiteY31" fmla="*/ 863337 h 2323145"/>
              <a:gd name="connsiteX32" fmla="*/ 8776970 w 11269336"/>
              <a:gd name="connsiteY32" fmla="*/ 885177 h 2323145"/>
              <a:gd name="connsiteX33" fmla="*/ 8755719 w 11269336"/>
              <a:gd name="connsiteY33" fmla="*/ 889754 h 2323145"/>
              <a:gd name="connsiteX34" fmla="*/ 8743257 w 11269336"/>
              <a:gd name="connsiteY34" fmla="*/ 904723 h 2323145"/>
              <a:gd name="connsiteX35" fmla="*/ 8721366 w 11269336"/>
              <a:gd name="connsiteY35" fmla="*/ 904711 h 2323145"/>
              <a:gd name="connsiteX36" fmla="*/ 8678353 w 11269336"/>
              <a:gd name="connsiteY36" fmla="*/ 926318 h 2323145"/>
              <a:gd name="connsiteX37" fmla="*/ 8636849 w 11269336"/>
              <a:gd name="connsiteY37" fmla="*/ 937900 h 2323145"/>
              <a:gd name="connsiteX38" fmla="*/ 8620213 w 11269336"/>
              <a:gd name="connsiteY38" fmla="*/ 943068 h 2323145"/>
              <a:gd name="connsiteX39" fmla="*/ 8612581 w 11269336"/>
              <a:gd name="connsiteY39" fmla="*/ 952695 h 2323145"/>
              <a:gd name="connsiteX40" fmla="*/ 8589038 w 11269336"/>
              <a:gd name="connsiteY40" fmla="*/ 963892 h 2323145"/>
              <a:gd name="connsiteX41" fmla="*/ 8579950 w 11269336"/>
              <a:gd name="connsiteY41" fmla="*/ 960899 h 2323145"/>
              <a:gd name="connsiteX42" fmla="*/ 8579319 w 11269336"/>
              <a:gd name="connsiteY42" fmla="*/ 965630 h 2323145"/>
              <a:gd name="connsiteX43" fmla="*/ 8547429 w 11269336"/>
              <a:gd name="connsiteY43" fmla="*/ 984506 h 2323145"/>
              <a:gd name="connsiteX44" fmla="*/ 8478704 w 11269336"/>
              <a:gd name="connsiteY44" fmla="*/ 1025490 h 2323145"/>
              <a:gd name="connsiteX45" fmla="*/ 8461421 w 11269336"/>
              <a:gd name="connsiteY45" fmla="*/ 1035512 h 2323145"/>
              <a:gd name="connsiteX46" fmla="*/ 8445003 w 11269336"/>
              <a:gd name="connsiteY46" fmla="*/ 1036851 h 2323145"/>
              <a:gd name="connsiteX47" fmla="*/ 8357350 w 11269336"/>
              <a:gd name="connsiteY47" fmla="*/ 1060213 h 2323145"/>
              <a:gd name="connsiteX48" fmla="*/ 8335565 w 11269336"/>
              <a:gd name="connsiteY48" fmla="*/ 1061151 h 2323145"/>
              <a:gd name="connsiteX49" fmla="*/ 8325267 w 11269336"/>
              <a:gd name="connsiteY49" fmla="*/ 1055919 h 2323145"/>
              <a:gd name="connsiteX50" fmla="*/ 8293586 w 11269336"/>
              <a:gd name="connsiteY50" fmla="*/ 1076144 h 2323145"/>
              <a:gd name="connsiteX51" fmla="*/ 8242405 w 11269336"/>
              <a:gd name="connsiteY51" fmla="*/ 1095960 h 2323145"/>
              <a:gd name="connsiteX52" fmla="*/ 8197391 w 11269336"/>
              <a:gd name="connsiteY52" fmla="*/ 1107746 h 2323145"/>
              <a:gd name="connsiteX53" fmla="*/ 8081474 w 11269336"/>
              <a:gd name="connsiteY53" fmla="*/ 1130125 h 2323145"/>
              <a:gd name="connsiteX54" fmla="*/ 8053585 w 11269336"/>
              <a:gd name="connsiteY54" fmla="*/ 1129169 h 2323145"/>
              <a:gd name="connsiteX55" fmla="*/ 8038422 w 11269336"/>
              <a:gd name="connsiteY55" fmla="*/ 1119092 h 2323145"/>
              <a:gd name="connsiteX56" fmla="*/ 8029450 w 11269336"/>
              <a:gd name="connsiteY56" fmla="*/ 1125592 h 2323145"/>
              <a:gd name="connsiteX57" fmla="*/ 7959552 w 11269336"/>
              <a:gd name="connsiteY57" fmla="*/ 1140188 h 2323145"/>
              <a:gd name="connsiteX58" fmla="*/ 7914188 w 11269336"/>
              <a:gd name="connsiteY58" fmla="*/ 1150862 h 2323145"/>
              <a:gd name="connsiteX59" fmla="*/ 7914918 w 11269336"/>
              <a:gd name="connsiteY59" fmla="*/ 1168758 h 2323145"/>
              <a:gd name="connsiteX60" fmla="*/ 7875510 w 11269336"/>
              <a:gd name="connsiteY60" fmla="*/ 1183153 h 2323145"/>
              <a:gd name="connsiteX61" fmla="*/ 7829932 w 11269336"/>
              <a:gd name="connsiteY61" fmla="*/ 1180782 h 2323145"/>
              <a:gd name="connsiteX62" fmla="*/ 7779182 w 11269336"/>
              <a:gd name="connsiteY62" fmla="*/ 1192665 h 2323145"/>
              <a:gd name="connsiteX63" fmla="*/ 7748774 w 11269336"/>
              <a:gd name="connsiteY63" fmla="*/ 1199586 h 2323145"/>
              <a:gd name="connsiteX64" fmla="*/ 7671846 w 11269336"/>
              <a:gd name="connsiteY64" fmla="*/ 1231966 h 2323145"/>
              <a:gd name="connsiteX65" fmla="*/ 7554146 w 11269336"/>
              <a:gd name="connsiteY65" fmla="*/ 1319748 h 2323145"/>
              <a:gd name="connsiteX66" fmla="*/ 7515052 w 11269336"/>
              <a:gd name="connsiteY66" fmla="*/ 1336718 h 2323145"/>
              <a:gd name="connsiteX67" fmla="*/ 7507193 w 11269336"/>
              <a:gd name="connsiteY67" fmla="*/ 1334617 h 2323145"/>
              <a:gd name="connsiteX68" fmla="*/ 7461694 w 11269336"/>
              <a:gd name="connsiteY68" fmla="*/ 1375866 h 2323145"/>
              <a:gd name="connsiteX69" fmla="*/ 7377571 w 11269336"/>
              <a:gd name="connsiteY69" fmla="*/ 1400128 h 2323145"/>
              <a:gd name="connsiteX70" fmla="*/ 7311261 w 11269336"/>
              <a:gd name="connsiteY70" fmla="*/ 1412652 h 2323145"/>
              <a:gd name="connsiteX71" fmla="*/ 7275307 w 11269336"/>
              <a:gd name="connsiteY71" fmla="*/ 1422171 h 2323145"/>
              <a:gd name="connsiteX72" fmla="*/ 7247783 w 11269336"/>
              <a:gd name="connsiteY72" fmla="*/ 1426330 h 2323145"/>
              <a:gd name="connsiteX73" fmla="*/ 7185047 w 11269336"/>
              <a:gd name="connsiteY73" fmla="*/ 1451812 h 2323145"/>
              <a:gd name="connsiteX74" fmla="*/ 7084117 w 11269336"/>
              <a:gd name="connsiteY74" fmla="*/ 1500281 h 2323145"/>
              <a:gd name="connsiteX75" fmla="*/ 7062011 w 11269336"/>
              <a:gd name="connsiteY75" fmla="*/ 1509183 h 2323145"/>
              <a:gd name="connsiteX76" fmla="*/ 7040555 w 11269336"/>
              <a:gd name="connsiteY76" fmla="*/ 1511207 h 2323145"/>
              <a:gd name="connsiteX77" fmla="*/ 7033438 w 11269336"/>
              <a:gd name="connsiteY77" fmla="*/ 1506772 h 2323145"/>
              <a:gd name="connsiteX78" fmla="*/ 7020886 w 11269336"/>
              <a:gd name="connsiteY78" fmla="*/ 1510764 h 2323145"/>
              <a:gd name="connsiteX79" fmla="*/ 7017033 w 11269336"/>
              <a:gd name="connsiteY79" fmla="*/ 1510650 h 2323145"/>
              <a:gd name="connsiteX80" fmla="*/ 6995460 w 11269336"/>
              <a:gd name="connsiteY80" fmla="*/ 1511173 h 2323145"/>
              <a:gd name="connsiteX81" fmla="*/ 6962144 w 11269336"/>
              <a:gd name="connsiteY81" fmla="*/ 1541508 h 2323145"/>
              <a:gd name="connsiteX82" fmla="*/ 6910674 w 11269336"/>
              <a:gd name="connsiteY82" fmla="*/ 1554793 h 2323145"/>
              <a:gd name="connsiteX83" fmla="*/ 6732152 w 11269336"/>
              <a:gd name="connsiteY83" fmla="*/ 1642538 h 2323145"/>
              <a:gd name="connsiteX84" fmla="*/ 6694106 w 11269336"/>
              <a:gd name="connsiteY84" fmla="*/ 1632377 h 2323145"/>
              <a:gd name="connsiteX85" fmla="*/ 6617223 w 11269336"/>
              <a:gd name="connsiteY85" fmla="*/ 1659889 h 2323145"/>
              <a:gd name="connsiteX86" fmla="*/ 6521138 w 11269336"/>
              <a:gd name="connsiteY86" fmla="*/ 1744340 h 2323145"/>
              <a:gd name="connsiteX87" fmla="*/ 6380677 w 11269336"/>
              <a:gd name="connsiteY87" fmla="*/ 1796883 h 2323145"/>
              <a:gd name="connsiteX88" fmla="*/ 6374897 w 11269336"/>
              <a:gd name="connsiteY88" fmla="*/ 1809910 h 2323145"/>
              <a:gd name="connsiteX89" fmla="*/ 6364545 w 11269336"/>
              <a:gd name="connsiteY89" fmla="*/ 1820090 h 2323145"/>
              <a:gd name="connsiteX90" fmla="*/ 6362126 w 11269336"/>
              <a:gd name="connsiteY90" fmla="*/ 1819991 h 2323145"/>
              <a:gd name="connsiteX91" fmla="*/ 6346673 w 11269336"/>
              <a:gd name="connsiteY91" fmla="*/ 1827824 h 2323145"/>
              <a:gd name="connsiteX92" fmla="*/ 6345588 w 11269336"/>
              <a:gd name="connsiteY92" fmla="*/ 1832232 h 2323145"/>
              <a:gd name="connsiteX93" fmla="*/ 6335708 w 11269336"/>
              <a:gd name="connsiteY93" fmla="*/ 1838451 h 2323145"/>
              <a:gd name="connsiteX94" fmla="*/ 6318182 w 11269336"/>
              <a:gd name="connsiteY94" fmla="*/ 1852975 h 2323145"/>
              <a:gd name="connsiteX95" fmla="*/ 6313084 w 11269336"/>
              <a:gd name="connsiteY95" fmla="*/ 1853561 h 2323145"/>
              <a:gd name="connsiteX96" fmla="*/ 6283816 w 11269336"/>
              <a:gd name="connsiteY96" fmla="*/ 1872148 h 2323145"/>
              <a:gd name="connsiteX97" fmla="*/ 6282550 w 11269336"/>
              <a:gd name="connsiteY97" fmla="*/ 1871392 h 2323145"/>
              <a:gd name="connsiteX98" fmla="*/ 6270527 w 11269336"/>
              <a:gd name="connsiteY98" fmla="*/ 1872208 h 2323145"/>
              <a:gd name="connsiteX99" fmla="*/ 6249518 w 11269336"/>
              <a:gd name="connsiteY99" fmla="*/ 1876079 h 2323145"/>
              <a:gd name="connsiteX100" fmla="*/ 6190386 w 11269336"/>
              <a:gd name="connsiteY100" fmla="*/ 1872478 h 2323145"/>
              <a:gd name="connsiteX101" fmla="*/ 6159777 w 11269336"/>
              <a:gd name="connsiteY101" fmla="*/ 1891745 h 2323145"/>
              <a:gd name="connsiteX102" fmla="*/ 6153131 w 11269336"/>
              <a:gd name="connsiteY102" fmla="*/ 1895079 h 2323145"/>
              <a:gd name="connsiteX103" fmla="*/ 6152798 w 11269336"/>
              <a:gd name="connsiteY103" fmla="*/ 1894920 h 2323145"/>
              <a:gd name="connsiteX104" fmla="*/ 6145388 w 11269336"/>
              <a:gd name="connsiteY104" fmla="*/ 1897990 h 2323145"/>
              <a:gd name="connsiteX105" fmla="*/ 6141014 w 11269336"/>
              <a:gd name="connsiteY105" fmla="*/ 1901155 h 2323145"/>
              <a:gd name="connsiteX106" fmla="*/ 6128122 w 11269336"/>
              <a:gd name="connsiteY106" fmla="*/ 1907623 h 2323145"/>
              <a:gd name="connsiteX107" fmla="*/ 6122351 w 11269336"/>
              <a:gd name="connsiteY107" fmla="*/ 1908359 h 2323145"/>
              <a:gd name="connsiteX108" fmla="*/ 6064750 w 11269336"/>
              <a:gd name="connsiteY108" fmla="*/ 1896394 h 2323145"/>
              <a:gd name="connsiteX109" fmla="*/ 5964230 w 11269336"/>
              <a:gd name="connsiteY109" fmla="*/ 1910038 h 2323145"/>
              <a:gd name="connsiteX110" fmla="*/ 5865399 w 11269336"/>
              <a:gd name="connsiteY110" fmla="*/ 1926966 h 2323145"/>
              <a:gd name="connsiteX111" fmla="*/ 5829951 w 11269336"/>
              <a:gd name="connsiteY111" fmla="*/ 1934755 h 2323145"/>
              <a:gd name="connsiteX112" fmla="*/ 5765285 w 11269336"/>
              <a:gd name="connsiteY112" fmla="*/ 1941322 h 2323145"/>
              <a:gd name="connsiteX113" fmla="*/ 5734750 w 11269336"/>
              <a:gd name="connsiteY113" fmla="*/ 1939793 h 2323145"/>
              <a:gd name="connsiteX114" fmla="*/ 5733569 w 11269336"/>
              <a:gd name="connsiteY114" fmla="*/ 1940505 h 2323145"/>
              <a:gd name="connsiteX115" fmla="*/ 5730329 w 11269336"/>
              <a:gd name="connsiteY115" fmla="*/ 1937845 h 2323145"/>
              <a:gd name="connsiteX116" fmla="*/ 5724661 w 11269336"/>
              <a:gd name="connsiteY116" fmla="*/ 1937455 h 2323145"/>
              <a:gd name="connsiteX117" fmla="*/ 5710186 w 11269336"/>
              <a:gd name="connsiteY117" fmla="*/ 1941370 h 2323145"/>
              <a:gd name="connsiteX118" fmla="*/ 5704910 w 11269336"/>
              <a:gd name="connsiteY118" fmla="*/ 1943663 h 2323145"/>
              <a:gd name="connsiteX119" fmla="*/ 5696836 w 11269336"/>
              <a:gd name="connsiteY119" fmla="*/ 1945271 h 2323145"/>
              <a:gd name="connsiteX120" fmla="*/ 5696583 w 11269336"/>
              <a:gd name="connsiteY120" fmla="*/ 1945050 h 2323145"/>
              <a:gd name="connsiteX121" fmla="*/ 5689123 w 11269336"/>
              <a:gd name="connsiteY121" fmla="*/ 1947067 h 2323145"/>
              <a:gd name="connsiteX122" fmla="*/ 5653291 w 11269336"/>
              <a:gd name="connsiteY122" fmla="*/ 1960245 h 2323145"/>
              <a:gd name="connsiteX123" fmla="*/ 5599385 w 11269336"/>
              <a:gd name="connsiteY123" fmla="*/ 1945198 h 2323145"/>
              <a:gd name="connsiteX124" fmla="*/ 5578300 w 11269336"/>
              <a:gd name="connsiteY124" fmla="*/ 1944963 h 2323145"/>
              <a:gd name="connsiteX125" fmla="*/ 5566758 w 11269336"/>
              <a:gd name="connsiteY125" fmla="*/ 1943441 h 2323145"/>
              <a:gd name="connsiteX126" fmla="*/ 5565857 w 11269336"/>
              <a:gd name="connsiteY126" fmla="*/ 1942445 h 2323145"/>
              <a:gd name="connsiteX127" fmla="*/ 5531534 w 11269336"/>
              <a:gd name="connsiteY127" fmla="*/ 1955208 h 2323145"/>
              <a:gd name="connsiteX128" fmla="*/ 5526552 w 11269336"/>
              <a:gd name="connsiteY128" fmla="*/ 1954799 h 2323145"/>
              <a:gd name="connsiteX129" fmla="*/ 5504723 w 11269336"/>
              <a:gd name="connsiteY129" fmla="*/ 1965811 h 2323145"/>
              <a:gd name="connsiteX130" fmla="*/ 5493156 w 11269336"/>
              <a:gd name="connsiteY130" fmla="*/ 1970063 h 2323145"/>
              <a:gd name="connsiteX131" fmla="*/ 5490486 w 11269336"/>
              <a:gd name="connsiteY131" fmla="*/ 1974227 h 2323145"/>
              <a:gd name="connsiteX132" fmla="*/ 5473107 w 11269336"/>
              <a:gd name="connsiteY132" fmla="*/ 1979001 h 2323145"/>
              <a:gd name="connsiteX133" fmla="*/ 5470885 w 11269336"/>
              <a:gd name="connsiteY133" fmla="*/ 1978432 h 2323145"/>
              <a:gd name="connsiteX134" fmla="*/ 5457393 w 11269336"/>
              <a:gd name="connsiteY134" fmla="*/ 1986525 h 2323145"/>
              <a:gd name="connsiteX135" fmla="*/ 5447102 w 11269336"/>
              <a:gd name="connsiteY135" fmla="*/ 1998329 h 2323145"/>
              <a:gd name="connsiteX136" fmla="*/ 5159151 w 11269336"/>
              <a:gd name="connsiteY136" fmla="*/ 2029640 h 2323145"/>
              <a:gd name="connsiteX137" fmla="*/ 5041688 w 11269336"/>
              <a:gd name="connsiteY137" fmla="*/ 2022334 h 2323145"/>
              <a:gd name="connsiteX138" fmla="*/ 4860988 w 11269336"/>
              <a:gd name="connsiteY138" fmla="*/ 2135698 h 2323145"/>
              <a:gd name="connsiteX139" fmla="*/ 4807902 w 11269336"/>
              <a:gd name="connsiteY139" fmla="*/ 2138894 h 2323145"/>
              <a:gd name="connsiteX140" fmla="*/ 4765388 w 11269336"/>
              <a:gd name="connsiteY140" fmla="*/ 2162525 h 2323145"/>
              <a:gd name="connsiteX141" fmla="*/ 4745033 w 11269336"/>
              <a:gd name="connsiteY141" fmla="*/ 2158859 h 2323145"/>
              <a:gd name="connsiteX142" fmla="*/ 4741475 w 11269336"/>
              <a:gd name="connsiteY142" fmla="*/ 2157998 h 2323145"/>
              <a:gd name="connsiteX143" fmla="*/ 4728247 w 11269336"/>
              <a:gd name="connsiteY143" fmla="*/ 2159526 h 2323145"/>
              <a:gd name="connsiteX144" fmla="*/ 4723263 w 11269336"/>
              <a:gd name="connsiteY144" fmla="*/ 2153742 h 2323145"/>
              <a:gd name="connsiteX145" fmla="*/ 4702453 w 11269336"/>
              <a:gd name="connsiteY145" fmla="*/ 2151586 h 2323145"/>
              <a:gd name="connsiteX146" fmla="*/ 4678455 w 11269336"/>
              <a:gd name="connsiteY146" fmla="*/ 2156131 h 2323145"/>
              <a:gd name="connsiteX147" fmla="*/ 4593061 w 11269336"/>
              <a:gd name="connsiteY147" fmla="*/ 2171597 h 2323145"/>
              <a:gd name="connsiteX148" fmla="*/ 4579902 w 11269336"/>
              <a:gd name="connsiteY148" fmla="*/ 2177927 h 2323145"/>
              <a:gd name="connsiteX149" fmla="*/ 4533444 w 11269336"/>
              <a:gd name="connsiteY149" fmla="*/ 2181200 h 2323145"/>
              <a:gd name="connsiteX150" fmla="*/ 4492832 w 11269336"/>
              <a:gd name="connsiteY150" fmla="*/ 2188033 h 2323145"/>
              <a:gd name="connsiteX151" fmla="*/ 4467257 w 11269336"/>
              <a:gd name="connsiteY151" fmla="*/ 2196121 h 2323145"/>
              <a:gd name="connsiteX152" fmla="*/ 4459937 w 11269336"/>
              <a:gd name="connsiteY152" fmla="*/ 2195182 h 2323145"/>
              <a:gd name="connsiteX153" fmla="*/ 4433312 w 11269336"/>
              <a:gd name="connsiteY153" fmla="*/ 2199004 h 2323145"/>
              <a:gd name="connsiteX154" fmla="*/ 4420601 w 11269336"/>
              <a:gd name="connsiteY154" fmla="*/ 2205158 h 2323145"/>
              <a:gd name="connsiteX155" fmla="*/ 4405765 w 11269336"/>
              <a:gd name="connsiteY155" fmla="*/ 2199902 h 2323145"/>
              <a:gd name="connsiteX156" fmla="*/ 4401354 w 11269336"/>
              <a:gd name="connsiteY156" fmla="*/ 2194745 h 2323145"/>
              <a:gd name="connsiteX157" fmla="*/ 4383151 w 11269336"/>
              <a:gd name="connsiteY157" fmla="*/ 2201140 h 2323145"/>
              <a:gd name="connsiteX158" fmla="*/ 4366646 w 11269336"/>
              <a:gd name="connsiteY158" fmla="*/ 2198564 h 2323145"/>
              <a:gd name="connsiteX159" fmla="*/ 4354009 w 11269336"/>
              <a:gd name="connsiteY159" fmla="*/ 2204984 h 2323145"/>
              <a:gd name="connsiteX160" fmla="*/ 4348284 w 11269336"/>
              <a:gd name="connsiteY160" fmla="*/ 2205270 h 2323145"/>
              <a:gd name="connsiteX161" fmla="*/ 4333906 w 11269336"/>
              <a:gd name="connsiteY161" fmla="*/ 2205251 h 2323145"/>
              <a:gd name="connsiteX162" fmla="*/ 4308819 w 11269336"/>
              <a:gd name="connsiteY162" fmla="*/ 2203822 h 2323145"/>
              <a:gd name="connsiteX163" fmla="*/ 4301210 w 11269336"/>
              <a:gd name="connsiteY163" fmla="*/ 2204456 h 2323145"/>
              <a:gd name="connsiteX164" fmla="*/ 4283095 w 11269336"/>
              <a:gd name="connsiteY164" fmla="*/ 2198177 h 2323145"/>
              <a:gd name="connsiteX165" fmla="*/ 4250119 w 11269336"/>
              <a:gd name="connsiteY165" fmla="*/ 2196342 h 2323145"/>
              <a:gd name="connsiteX166" fmla="*/ 4189203 w 11269336"/>
              <a:gd name="connsiteY166" fmla="*/ 2178994 h 2323145"/>
              <a:gd name="connsiteX167" fmla="*/ 4154035 w 11269336"/>
              <a:gd name="connsiteY167" fmla="*/ 2171950 h 2323145"/>
              <a:gd name="connsiteX168" fmla="*/ 4129569 w 11269336"/>
              <a:gd name="connsiteY168" fmla="*/ 2163850 h 2323145"/>
              <a:gd name="connsiteX169" fmla="*/ 4061250 w 11269336"/>
              <a:gd name="connsiteY169" fmla="*/ 2159236 h 2323145"/>
              <a:gd name="connsiteX170" fmla="*/ 3945480 w 11269336"/>
              <a:gd name="connsiteY170" fmla="*/ 2158279 h 2323145"/>
              <a:gd name="connsiteX171" fmla="*/ 3921468 w 11269336"/>
              <a:gd name="connsiteY171" fmla="*/ 2156588 h 2323145"/>
              <a:gd name="connsiteX172" fmla="*/ 3903348 w 11269336"/>
              <a:gd name="connsiteY172" fmla="*/ 2149220 h 2323145"/>
              <a:gd name="connsiteX173" fmla="*/ 3901342 w 11269336"/>
              <a:gd name="connsiteY173" fmla="*/ 2142355 h 2323145"/>
              <a:gd name="connsiteX174" fmla="*/ 3888539 w 11269336"/>
              <a:gd name="connsiteY174" fmla="*/ 2140476 h 2323145"/>
              <a:gd name="connsiteX175" fmla="*/ 3885662 w 11269336"/>
              <a:gd name="connsiteY175" fmla="*/ 2138740 h 2323145"/>
              <a:gd name="connsiteX176" fmla="*/ 3868627 w 11269336"/>
              <a:gd name="connsiteY176" fmla="*/ 2130023 h 2323145"/>
              <a:gd name="connsiteX177" fmla="*/ 3819177 w 11269336"/>
              <a:gd name="connsiteY177" fmla="*/ 2142111 h 2323145"/>
              <a:gd name="connsiteX178" fmla="*/ 3769100 w 11269336"/>
              <a:gd name="connsiteY178" fmla="*/ 2131731 h 2323145"/>
              <a:gd name="connsiteX179" fmla="*/ 3562752 w 11269336"/>
              <a:gd name="connsiteY179" fmla="*/ 2131785 h 2323145"/>
              <a:gd name="connsiteX180" fmla="*/ 3541402 w 11269336"/>
              <a:gd name="connsiteY180" fmla="*/ 2106821 h 2323145"/>
              <a:gd name="connsiteX181" fmla="*/ 3365341 w 11269336"/>
              <a:gd name="connsiteY181" fmla="*/ 2077638 h 2323145"/>
              <a:gd name="connsiteX182" fmla="*/ 3170922 w 11269336"/>
              <a:gd name="connsiteY182" fmla="*/ 2115957 h 2323145"/>
              <a:gd name="connsiteX183" fmla="*/ 3156256 w 11269336"/>
              <a:gd name="connsiteY183" fmla="*/ 2124773 h 2323145"/>
              <a:gd name="connsiteX184" fmla="*/ 3140298 w 11269336"/>
              <a:gd name="connsiteY184" fmla="*/ 2129182 h 2323145"/>
              <a:gd name="connsiteX185" fmla="*/ 3138514 w 11269336"/>
              <a:gd name="connsiteY185" fmla="*/ 2128069 h 2323145"/>
              <a:gd name="connsiteX186" fmla="*/ 3120467 w 11269336"/>
              <a:gd name="connsiteY186" fmla="*/ 2128281 h 2323145"/>
              <a:gd name="connsiteX187" fmla="*/ 3116175 w 11269336"/>
              <a:gd name="connsiteY187" fmla="*/ 2131633 h 2323145"/>
              <a:gd name="connsiteX188" fmla="*/ 3103685 w 11269336"/>
              <a:gd name="connsiteY188" fmla="*/ 2132814 h 2323145"/>
              <a:gd name="connsiteX189" fmla="*/ 3078794 w 11269336"/>
              <a:gd name="connsiteY189" fmla="*/ 2137935 h 2323145"/>
              <a:gd name="connsiteX190" fmla="*/ 3074407 w 11269336"/>
              <a:gd name="connsiteY190" fmla="*/ 2136274 h 2323145"/>
              <a:gd name="connsiteX191" fmla="*/ 3037285 w 11269336"/>
              <a:gd name="connsiteY191" fmla="*/ 2139919 h 2323145"/>
              <a:gd name="connsiteX192" fmla="*/ 3036901 w 11269336"/>
              <a:gd name="connsiteY192" fmla="*/ 2138726 h 2323145"/>
              <a:gd name="connsiteX193" fmla="*/ 3026996 w 11269336"/>
              <a:gd name="connsiteY193" fmla="*/ 2134322 h 2323145"/>
              <a:gd name="connsiteX194" fmla="*/ 3007772 w 11269336"/>
              <a:gd name="connsiteY194" fmla="*/ 2128742 h 2323145"/>
              <a:gd name="connsiteX195" fmla="*/ 2965030 w 11269336"/>
              <a:gd name="connsiteY195" fmla="*/ 2100494 h 2323145"/>
              <a:gd name="connsiteX196" fmla="*/ 2926342 w 11269336"/>
              <a:gd name="connsiteY196" fmla="*/ 2104155 h 2323145"/>
              <a:gd name="connsiteX197" fmla="*/ 2918608 w 11269336"/>
              <a:gd name="connsiteY197" fmla="*/ 2104215 h 2323145"/>
              <a:gd name="connsiteX198" fmla="*/ 2918475 w 11269336"/>
              <a:gd name="connsiteY198" fmla="*/ 2103937 h 2323145"/>
              <a:gd name="connsiteX199" fmla="*/ 2910360 w 11269336"/>
              <a:gd name="connsiteY199" fmla="*/ 2103444 h 2323145"/>
              <a:gd name="connsiteX200" fmla="*/ 2904507 w 11269336"/>
              <a:gd name="connsiteY200" fmla="*/ 2104326 h 2323145"/>
              <a:gd name="connsiteX201" fmla="*/ 2889503 w 11269336"/>
              <a:gd name="connsiteY201" fmla="*/ 2104443 h 2323145"/>
              <a:gd name="connsiteX202" fmla="*/ 2884480 w 11269336"/>
              <a:gd name="connsiteY202" fmla="*/ 2102626 h 2323145"/>
              <a:gd name="connsiteX203" fmla="*/ 2882689 w 11269336"/>
              <a:gd name="connsiteY203" fmla="*/ 2099228 h 2323145"/>
              <a:gd name="connsiteX204" fmla="*/ 2881291 w 11269336"/>
              <a:gd name="connsiteY204" fmla="*/ 2099618 h 2323145"/>
              <a:gd name="connsiteX205" fmla="*/ 2853979 w 11269336"/>
              <a:gd name="connsiteY205" fmla="*/ 2090388 h 2323145"/>
              <a:gd name="connsiteX206" fmla="*/ 2791790 w 11269336"/>
              <a:gd name="connsiteY206" fmla="*/ 2080332 h 2323145"/>
              <a:gd name="connsiteX207" fmla="*/ 2755844 w 11269336"/>
              <a:gd name="connsiteY207" fmla="*/ 2078874 h 2323145"/>
              <a:gd name="connsiteX208" fmla="*/ 2657742 w 11269336"/>
              <a:gd name="connsiteY208" fmla="*/ 2070179 h 2323145"/>
              <a:gd name="connsiteX209" fmla="*/ 2559549 w 11269336"/>
              <a:gd name="connsiteY209" fmla="*/ 2057873 h 2323145"/>
              <a:gd name="connsiteX210" fmla="*/ 2512054 w 11269336"/>
              <a:gd name="connsiteY210" fmla="*/ 2031671 h 2323145"/>
              <a:gd name="connsiteX211" fmla="*/ 2506437 w 11269336"/>
              <a:gd name="connsiteY211" fmla="*/ 2030918 h 2323145"/>
              <a:gd name="connsiteX212" fmla="*/ 2491752 w 11269336"/>
              <a:gd name="connsiteY212" fmla="*/ 2033906 h 2323145"/>
              <a:gd name="connsiteX213" fmla="*/ 2486338 w 11269336"/>
              <a:gd name="connsiteY213" fmla="*/ 2035862 h 2323145"/>
              <a:gd name="connsiteX214" fmla="*/ 2478186 w 11269336"/>
              <a:gd name="connsiteY214" fmla="*/ 2036953 h 2323145"/>
              <a:gd name="connsiteX215" fmla="*/ 2477950 w 11269336"/>
              <a:gd name="connsiteY215" fmla="*/ 2036715 h 2323145"/>
              <a:gd name="connsiteX216" fmla="*/ 2470381 w 11269336"/>
              <a:gd name="connsiteY216" fmla="*/ 2038256 h 2323145"/>
              <a:gd name="connsiteX217" fmla="*/ 2433781 w 11269336"/>
              <a:gd name="connsiteY217" fmla="*/ 2049140 h 2323145"/>
              <a:gd name="connsiteX218" fmla="*/ 2381172 w 11269336"/>
              <a:gd name="connsiteY218" fmla="*/ 2030645 h 2323145"/>
              <a:gd name="connsiteX219" fmla="*/ 2360198 w 11269336"/>
              <a:gd name="connsiteY219" fmla="*/ 2029059 h 2323145"/>
              <a:gd name="connsiteX220" fmla="*/ 2348815 w 11269336"/>
              <a:gd name="connsiteY220" fmla="*/ 2026798 h 2323145"/>
              <a:gd name="connsiteX221" fmla="*/ 2347988 w 11269336"/>
              <a:gd name="connsiteY221" fmla="*/ 2025745 h 2323145"/>
              <a:gd name="connsiteX222" fmla="*/ 2312920 w 11269336"/>
              <a:gd name="connsiteY222" fmla="*/ 2036311 h 2323145"/>
              <a:gd name="connsiteX223" fmla="*/ 2307986 w 11269336"/>
              <a:gd name="connsiteY223" fmla="*/ 2035583 h 2323145"/>
              <a:gd name="connsiteX224" fmla="*/ 2285481 w 11269336"/>
              <a:gd name="connsiteY224" fmla="*/ 2045197 h 2323145"/>
              <a:gd name="connsiteX225" fmla="*/ 2273666 w 11269336"/>
              <a:gd name="connsiteY225" fmla="*/ 2048710 h 2323145"/>
              <a:gd name="connsiteX226" fmla="*/ 2270719 w 11269336"/>
              <a:gd name="connsiteY226" fmla="*/ 2052702 h 2323145"/>
              <a:gd name="connsiteX227" fmla="*/ 2253080 w 11269336"/>
              <a:gd name="connsiteY227" fmla="*/ 2056363 h 2323145"/>
              <a:gd name="connsiteX228" fmla="*/ 2250906 w 11269336"/>
              <a:gd name="connsiteY228" fmla="*/ 2055654 h 2323145"/>
              <a:gd name="connsiteX229" fmla="*/ 2236905 w 11269336"/>
              <a:gd name="connsiteY229" fmla="*/ 2062882 h 2323145"/>
              <a:gd name="connsiteX230" fmla="*/ 2225830 w 11269336"/>
              <a:gd name="connsiteY230" fmla="*/ 2074027 h 2323145"/>
              <a:gd name="connsiteX231" fmla="*/ 2073776 w 11269336"/>
              <a:gd name="connsiteY231" fmla="*/ 2089244 h 2323145"/>
              <a:gd name="connsiteX232" fmla="*/ 1948256 w 11269336"/>
              <a:gd name="connsiteY232" fmla="*/ 2146616 h 2323145"/>
              <a:gd name="connsiteX233" fmla="*/ 1865582 w 11269336"/>
              <a:gd name="connsiteY233" fmla="*/ 2153738 h 2323145"/>
              <a:gd name="connsiteX234" fmla="*/ 1835210 w 11269336"/>
              <a:gd name="connsiteY234" fmla="*/ 2134244 h 2323145"/>
              <a:gd name="connsiteX235" fmla="*/ 1632661 w 11269336"/>
              <a:gd name="connsiteY235" fmla="*/ 2173882 h 2323145"/>
              <a:gd name="connsiteX236" fmla="*/ 1579590 w 11269336"/>
              <a:gd name="connsiteY236" fmla="*/ 2173680 h 2323145"/>
              <a:gd name="connsiteX237" fmla="*/ 1535601 w 11269336"/>
              <a:gd name="connsiteY237" fmla="*/ 2194590 h 2323145"/>
              <a:gd name="connsiteX238" fmla="*/ 1515594 w 11269336"/>
              <a:gd name="connsiteY238" fmla="*/ 2189622 h 2323145"/>
              <a:gd name="connsiteX239" fmla="*/ 1512113 w 11269336"/>
              <a:gd name="connsiteY239" fmla="*/ 2188534 h 2323145"/>
              <a:gd name="connsiteX240" fmla="*/ 1498838 w 11269336"/>
              <a:gd name="connsiteY240" fmla="*/ 2189213 h 2323145"/>
              <a:gd name="connsiteX241" fmla="*/ 1494279 w 11269336"/>
              <a:gd name="connsiteY241" fmla="*/ 2183112 h 2323145"/>
              <a:gd name="connsiteX242" fmla="*/ 1473714 w 11269336"/>
              <a:gd name="connsiteY242" fmla="*/ 2179625 h 2323145"/>
              <a:gd name="connsiteX243" fmla="*/ 1449503 w 11269336"/>
              <a:gd name="connsiteY243" fmla="*/ 2182633 h 2323145"/>
              <a:gd name="connsiteX244" fmla="*/ 1266687 w 11269336"/>
              <a:gd name="connsiteY244" fmla="*/ 2212688 h 2323145"/>
              <a:gd name="connsiteX245" fmla="*/ 1239614 w 11269336"/>
              <a:gd name="connsiteY245" fmla="*/ 2209727 h 2323145"/>
              <a:gd name="connsiteX246" fmla="*/ 1202436 w 11269336"/>
              <a:gd name="connsiteY246" fmla="*/ 2209817 h 2323145"/>
              <a:gd name="connsiteX247" fmla="*/ 1136097 w 11269336"/>
              <a:gd name="connsiteY247" fmla="*/ 2205112 h 2323145"/>
              <a:gd name="connsiteX248" fmla="*/ 988232 w 11269336"/>
              <a:gd name="connsiteY248" fmla="*/ 2235635 h 2323145"/>
              <a:gd name="connsiteX249" fmla="*/ 981959 w 11269336"/>
              <a:gd name="connsiteY249" fmla="*/ 2231607 h 2323145"/>
              <a:gd name="connsiteX250" fmla="*/ 938600 w 11269336"/>
              <a:gd name="connsiteY250" fmla="*/ 2238113 h 2323145"/>
              <a:gd name="connsiteX251" fmla="*/ 791788 w 11269336"/>
              <a:gd name="connsiteY251" fmla="*/ 2293224 h 2323145"/>
              <a:gd name="connsiteX252" fmla="*/ 706914 w 11269336"/>
              <a:gd name="connsiteY252" fmla="*/ 2305046 h 2323145"/>
              <a:gd name="connsiteX253" fmla="*/ 675971 w 11269336"/>
              <a:gd name="connsiteY253" fmla="*/ 2304030 h 2323145"/>
              <a:gd name="connsiteX254" fmla="*/ 624180 w 11269336"/>
              <a:gd name="connsiteY254" fmla="*/ 2302650 h 2323145"/>
              <a:gd name="connsiteX255" fmla="*/ 583453 w 11269336"/>
              <a:gd name="connsiteY255" fmla="*/ 2288788 h 2323145"/>
              <a:gd name="connsiteX256" fmla="*/ 540946 w 11269336"/>
              <a:gd name="connsiteY256" fmla="*/ 2292721 h 2323145"/>
              <a:gd name="connsiteX257" fmla="*/ 533680 w 11269336"/>
              <a:gd name="connsiteY257" fmla="*/ 2310233 h 2323145"/>
              <a:gd name="connsiteX258" fmla="*/ 487366 w 11269336"/>
              <a:gd name="connsiteY258" fmla="*/ 2309053 h 2323145"/>
              <a:gd name="connsiteX259" fmla="*/ 416820 w 11269336"/>
              <a:gd name="connsiteY259" fmla="*/ 2305443 h 2323145"/>
              <a:gd name="connsiteX260" fmla="*/ 376805 w 11269336"/>
              <a:gd name="connsiteY260" fmla="*/ 2307647 h 2323145"/>
              <a:gd name="connsiteX261" fmla="*/ 266777 w 11269336"/>
              <a:gd name="connsiteY261" fmla="*/ 2309012 h 2323145"/>
              <a:gd name="connsiteX262" fmla="*/ 156013 w 11269336"/>
              <a:gd name="connsiteY262" fmla="*/ 2306832 h 2323145"/>
              <a:gd name="connsiteX263" fmla="*/ 87258 w 11269336"/>
              <a:gd name="connsiteY263" fmla="*/ 2285511 h 2323145"/>
              <a:gd name="connsiteX264" fmla="*/ 23798 w 11269336"/>
              <a:gd name="connsiteY264" fmla="*/ 2281822 h 2323145"/>
              <a:gd name="connsiteX265" fmla="*/ 0 w 11269336"/>
              <a:gd name="connsiteY265" fmla="*/ 2285369 h 2323145"/>
              <a:gd name="connsiteX266" fmla="*/ 0 w 11269336"/>
              <a:gd name="connsiteY26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114263 w 11269336"/>
              <a:gd name="connsiteY21" fmla="*/ 709213 h 2323145"/>
              <a:gd name="connsiteX22" fmla="*/ 9028928 w 11269336"/>
              <a:gd name="connsiteY22" fmla="*/ 745350 h 2323145"/>
              <a:gd name="connsiteX23" fmla="*/ 8977138 w 11269336"/>
              <a:gd name="connsiteY23" fmla="*/ 774970 h 2323145"/>
              <a:gd name="connsiteX24" fmla="*/ 8947030 w 11269336"/>
              <a:gd name="connsiteY24" fmla="*/ 814934 h 2323145"/>
              <a:gd name="connsiteX25" fmla="*/ 8914746 w 11269336"/>
              <a:gd name="connsiteY25" fmla="*/ 826428 h 2323145"/>
              <a:gd name="connsiteX26" fmla="*/ 8917778 w 11269336"/>
              <a:gd name="connsiteY26" fmla="*/ 835198 h 2323145"/>
              <a:gd name="connsiteX27" fmla="*/ 8905560 w 11269336"/>
              <a:gd name="connsiteY27" fmla="*/ 838358 h 2323145"/>
              <a:gd name="connsiteX28" fmla="*/ 8897564 w 11269336"/>
              <a:gd name="connsiteY28" fmla="*/ 834287 h 2323145"/>
              <a:gd name="connsiteX29" fmla="*/ 8878040 w 11269336"/>
              <a:gd name="connsiteY29" fmla="*/ 844150 h 2323145"/>
              <a:gd name="connsiteX30" fmla="*/ 8882654 w 11269336"/>
              <a:gd name="connsiteY30" fmla="*/ 892768 h 2323145"/>
              <a:gd name="connsiteX31" fmla="*/ 8795998 w 11269336"/>
              <a:gd name="connsiteY31" fmla="*/ 863337 h 2323145"/>
              <a:gd name="connsiteX32" fmla="*/ 8776970 w 11269336"/>
              <a:gd name="connsiteY32" fmla="*/ 885177 h 2323145"/>
              <a:gd name="connsiteX33" fmla="*/ 8755719 w 11269336"/>
              <a:gd name="connsiteY33" fmla="*/ 889754 h 2323145"/>
              <a:gd name="connsiteX34" fmla="*/ 8743257 w 11269336"/>
              <a:gd name="connsiteY34" fmla="*/ 904723 h 2323145"/>
              <a:gd name="connsiteX35" fmla="*/ 8721366 w 11269336"/>
              <a:gd name="connsiteY35" fmla="*/ 904711 h 2323145"/>
              <a:gd name="connsiteX36" fmla="*/ 8678353 w 11269336"/>
              <a:gd name="connsiteY36" fmla="*/ 926318 h 2323145"/>
              <a:gd name="connsiteX37" fmla="*/ 8636849 w 11269336"/>
              <a:gd name="connsiteY37" fmla="*/ 937900 h 2323145"/>
              <a:gd name="connsiteX38" fmla="*/ 8620213 w 11269336"/>
              <a:gd name="connsiteY38" fmla="*/ 943068 h 2323145"/>
              <a:gd name="connsiteX39" fmla="*/ 8612581 w 11269336"/>
              <a:gd name="connsiteY39" fmla="*/ 952695 h 2323145"/>
              <a:gd name="connsiteX40" fmla="*/ 8589038 w 11269336"/>
              <a:gd name="connsiteY40" fmla="*/ 963892 h 2323145"/>
              <a:gd name="connsiteX41" fmla="*/ 8579950 w 11269336"/>
              <a:gd name="connsiteY41" fmla="*/ 960899 h 2323145"/>
              <a:gd name="connsiteX42" fmla="*/ 8579319 w 11269336"/>
              <a:gd name="connsiteY42" fmla="*/ 965630 h 2323145"/>
              <a:gd name="connsiteX43" fmla="*/ 8547429 w 11269336"/>
              <a:gd name="connsiteY43" fmla="*/ 984506 h 2323145"/>
              <a:gd name="connsiteX44" fmla="*/ 8478704 w 11269336"/>
              <a:gd name="connsiteY44" fmla="*/ 1025490 h 2323145"/>
              <a:gd name="connsiteX45" fmla="*/ 8461421 w 11269336"/>
              <a:gd name="connsiteY45" fmla="*/ 1035512 h 2323145"/>
              <a:gd name="connsiteX46" fmla="*/ 8445003 w 11269336"/>
              <a:gd name="connsiteY46" fmla="*/ 1036851 h 2323145"/>
              <a:gd name="connsiteX47" fmla="*/ 8357350 w 11269336"/>
              <a:gd name="connsiteY47" fmla="*/ 1060213 h 2323145"/>
              <a:gd name="connsiteX48" fmla="*/ 8335565 w 11269336"/>
              <a:gd name="connsiteY48" fmla="*/ 1061151 h 2323145"/>
              <a:gd name="connsiteX49" fmla="*/ 8325267 w 11269336"/>
              <a:gd name="connsiteY49" fmla="*/ 1055919 h 2323145"/>
              <a:gd name="connsiteX50" fmla="*/ 8293586 w 11269336"/>
              <a:gd name="connsiteY50" fmla="*/ 1076144 h 2323145"/>
              <a:gd name="connsiteX51" fmla="*/ 8242405 w 11269336"/>
              <a:gd name="connsiteY51" fmla="*/ 1095960 h 2323145"/>
              <a:gd name="connsiteX52" fmla="*/ 8197391 w 11269336"/>
              <a:gd name="connsiteY52" fmla="*/ 1107746 h 2323145"/>
              <a:gd name="connsiteX53" fmla="*/ 8081474 w 11269336"/>
              <a:gd name="connsiteY53" fmla="*/ 1130125 h 2323145"/>
              <a:gd name="connsiteX54" fmla="*/ 8053585 w 11269336"/>
              <a:gd name="connsiteY54" fmla="*/ 1129169 h 2323145"/>
              <a:gd name="connsiteX55" fmla="*/ 8038422 w 11269336"/>
              <a:gd name="connsiteY55" fmla="*/ 1119092 h 2323145"/>
              <a:gd name="connsiteX56" fmla="*/ 8029450 w 11269336"/>
              <a:gd name="connsiteY56" fmla="*/ 1125592 h 2323145"/>
              <a:gd name="connsiteX57" fmla="*/ 7959552 w 11269336"/>
              <a:gd name="connsiteY57" fmla="*/ 1140188 h 2323145"/>
              <a:gd name="connsiteX58" fmla="*/ 7914188 w 11269336"/>
              <a:gd name="connsiteY58" fmla="*/ 1150862 h 2323145"/>
              <a:gd name="connsiteX59" fmla="*/ 7914918 w 11269336"/>
              <a:gd name="connsiteY59" fmla="*/ 1168758 h 2323145"/>
              <a:gd name="connsiteX60" fmla="*/ 7875510 w 11269336"/>
              <a:gd name="connsiteY60" fmla="*/ 1183153 h 2323145"/>
              <a:gd name="connsiteX61" fmla="*/ 7829932 w 11269336"/>
              <a:gd name="connsiteY61" fmla="*/ 1180782 h 2323145"/>
              <a:gd name="connsiteX62" fmla="*/ 7779182 w 11269336"/>
              <a:gd name="connsiteY62" fmla="*/ 1192665 h 2323145"/>
              <a:gd name="connsiteX63" fmla="*/ 7748774 w 11269336"/>
              <a:gd name="connsiteY63" fmla="*/ 1199586 h 2323145"/>
              <a:gd name="connsiteX64" fmla="*/ 7671846 w 11269336"/>
              <a:gd name="connsiteY64" fmla="*/ 1231966 h 2323145"/>
              <a:gd name="connsiteX65" fmla="*/ 7554146 w 11269336"/>
              <a:gd name="connsiteY65" fmla="*/ 1319748 h 2323145"/>
              <a:gd name="connsiteX66" fmla="*/ 7515052 w 11269336"/>
              <a:gd name="connsiteY66" fmla="*/ 1336718 h 2323145"/>
              <a:gd name="connsiteX67" fmla="*/ 7507193 w 11269336"/>
              <a:gd name="connsiteY67" fmla="*/ 1334617 h 2323145"/>
              <a:gd name="connsiteX68" fmla="*/ 7461694 w 11269336"/>
              <a:gd name="connsiteY68" fmla="*/ 1375866 h 2323145"/>
              <a:gd name="connsiteX69" fmla="*/ 7377571 w 11269336"/>
              <a:gd name="connsiteY69" fmla="*/ 1400128 h 2323145"/>
              <a:gd name="connsiteX70" fmla="*/ 7311261 w 11269336"/>
              <a:gd name="connsiteY70" fmla="*/ 1412652 h 2323145"/>
              <a:gd name="connsiteX71" fmla="*/ 7275307 w 11269336"/>
              <a:gd name="connsiteY71" fmla="*/ 1422171 h 2323145"/>
              <a:gd name="connsiteX72" fmla="*/ 7247783 w 11269336"/>
              <a:gd name="connsiteY72" fmla="*/ 1426330 h 2323145"/>
              <a:gd name="connsiteX73" fmla="*/ 7185047 w 11269336"/>
              <a:gd name="connsiteY73" fmla="*/ 1451812 h 2323145"/>
              <a:gd name="connsiteX74" fmla="*/ 7084117 w 11269336"/>
              <a:gd name="connsiteY74" fmla="*/ 1500281 h 2323145"/>
              <a:gd name="connsiteX75" fmla="*/ 7062011 w 11269336"/>
              <a:gd name="connsiteY75" fmla="*/ 1509183 h 2323145"/>
              <a:gd name="connsiteX76" fmla="*/ 7040555 w 11269336"/>
              <a:gd name="connsiteY76" fmla="*/ 1511207 h 2323145"/>
              <a:gd name="connsiteX77" fmla="*/ 7033438 w 11269336"/>
              <a:gd name="connsiteY77" fmla="*/ 1506772 h 2323145"/>
              <a:gd name="connsiteX78" fmla="*/ 7020886 w 11269336"/>
              <a:gd name="connsiteY78" fmla="*/ 1510764 h 2323145"/>
              <a:gd name="connsiteX79" fmla="*/ 7017033 w 11269336"/>
              <a:gd name="connsiteY79" fmla="*/ 1510650 h 2323145"/>
              <a:gd name="connsiteX80" fmla="*/ 6995460 w 11269336"/>
              <a:gd name="connsiteY80" fmla="*/ 1511173 h 2323145"/>
              <a:gd name="connsiteX81" fmla="*/ 6962144 w 11269336"/>
              <a:gd name="connsiteY81" fmla="*/ 1541508 h 2323145"/>
              <a:gd name="connsiteX82" fmla="*/ 6910674 w 11269336"/>
              <a:gd name="connsiteY82" fmla="*/ 1554793 h 2323145"/>
              <a:gd name="connsiteX83" fmla="*/ 6732152 w 11269336"/>
              <a:gd name="connsiteY83" fmla="*/ 1642538 h 2323145"/>
              <a:gd name="connsiteX84" fmla="*/ 6694106 w 11269336"/>
              <a:gd name="connsiteY84" fmla="*/ 1632377 h 2323145"/>
              <a:gd name="connsiteX85" fmla="*/ 6617223 w 11269336"/>
              <a:gd name="connsiteY85" fmla="*/ 1659889 h 2323145"/>
              <a:gd name="connsiteX86" fmla="*/ 6521138 w 11269336"/>
              <a:gd name="connsiteY86" fmla="*/ 1744340 h 2323145"/>
              <a:gd name="connsiteX87" fmla="*/ 6380677 w 11269336"/>
              <a:gd name="connsiteY87" fmla="*/ 1796883 h 2323145"/>
              <a:gd name="connsiteX88" fmla="*/ 6374897 w 11269336"/>
              <a:gd name="connsiteY88" fmla="*/ 1809910 h 2323145"/>
              <a:gd name="connsiteX89" fmla="*/ 6364545 w 11269336"/>
              <a:gd name="connsiteY89" fmla="*/ 1820090 h 2323145"/>
              <a:gd name="connsiteX90" fmla="*/ 6362126 w 11269336"/>
              <a:gd name="connsiteY90" fmla="*/ 1819991 h 2323145"/>
              <a:gd name="connsiteX91" fmla="*/ 6346673 w 11269336"/>
              <a:gd name="connsiteY91" fmla="*/ 1827824 h 2323145"/>
              <a:gd name="connsiteX92" fmla="*/ 6345588 w 11269336"/>
              <a:gd name="connsiteY92" fmla="*/ 1832232 h 2323145"/>
              <a:gd name="connsiteX93" fmla="*/ 6335708 w 11269336"/>
              <a:gd name="connsiteY93" fmla="*/ 1838451 h 2323145"/>
              <a:gd name="connsiteX94" fmla="*/ 6318182 w 11269336"/>
              <a:gd name="connsiteY94" fmla="*/ 1852975 h 2323145"/>
              <a:gd name="connsiteX95" fmla="*/ 6313084 w 11269336"/>
              <a:gd name="connsiteY95" fmla="*/ 1853561 h 2323145"/>
              <a:gd name="connsiteX96" fmla="*/ 6283816 w 11269336"/>
              <a:gd name="connsiteY96" fmla="*/ 1872148 h 2323145"/>
              <a:gd name="connsiteX97" fmla="*/ 6282550 w 11269336"/>
              <a:gd name="connsiteY97" fmla="*/ 1871392 h 2323145"/>
              <a:gd name="connsiteX98" fmla="*/ 6270527 w 11269336"/>
              <a:gd name="connsiteY98" fmla="*/ 1872208 h 2323145"/>
              <a:gd name="connsiteX99" fmla="*/ 6249518 w 11269336"/>
              <a:gd name="connsiteY99" fmla="*/ 1876079 h 2323145"/>
              <a:gd name="connsiteX100" fmla="*/ 6190386 w 11269336"/>
              <a:gd name="connsiteY100" fmla="*/ 1872478 h 2323145"/>
              <a:gd name="connsiteX101" fmla="*/ 6159777 w 11269336"/>
              <a:gd name="connsiteY101" fmla="*/ 1891745 h 2323145"/>
              <a:gd name="connsiteX102" fmla="*/ 6153131 w 11269336"/>
              <a:gd name="connsiteY102" fmla="*/ 1895079 h 2323145"/>
              <a:gd name="connsiteX103" fmla="*/ 6152798 w 11269336"/>
              <a:gd name="connsiteY103" fmla="*/ 1894920 h 2323145"/>
              <a:gd name="connsiteX104" fmla="*/ 6145388 w 11269336"/>
              <a:gd name="connsiteY104" fmla="*/ 1897990 h 2323145"/>
              <a:gd name="connsiteX105" fmla="*/ 6141014 w 11269336"/>
              <a:gd name="connsiteY105" fmla="*/ 1901155 h 2323145"/>
              <a:gd name="connsiteX106" fmla="*/ 6128122 w 11269336"/>
              <a:gd name="connsiteY106" fmla="*/ 1907623 h 2323145"/>
              <a:gd name="connsiteX107" fmla="*/ 6122351 w 11269336"/>
              <a:gd name="connsiteY107" fmla="*/ 1908359 h 2323145"/>
              <a:gd name="connsiteX108" fmla="*/ 6064750 w 11269336"/>
              <a:gd name="connsiteY108" fmla="*/ 1896394 h 2323145"/>
              <a:gd name="connsiteX109" fmla="*/ 5964230 w 11269336"/>
              <a:gd name="connsiteY109" fmla="*/ 1910038 h 2323145"/>
              <a:gd name="connsiteX110" fmla="*/ 5865399 w 11269336"/>
              <a:gd name="connsiteY110" fmla="*/ 1926966 h 2323145"/>
              <a:gd name="connsiteX111" fmla="*/ 5829951 w 11269336"/>
              <a:gd name="connsiteY111" fmla="*/ 1934755 h 2323145"/>
              <a:gd name="connsiteX112" fmla="*/ 5765285 w 11269336"/>
              <a:gd name="connsiteY112" fmla="*/ 1941322 h 2323145"/>
              <a:gd name="connsiteX113" fmla="*/ 5734750 w 11269336"/>
              <a:gd name="connsiteY113" fmla="*/ 1939793 h 2323145"/>
              <a:gd name="connsiteX114" fmla="*/ 5733569 w 11269336"/>
              <a:gd name="connsiteY114" fmla="*/ 1940505 h 2323145"/>
              <a:gd name="connsiteX115" fmla="*/ 5730329 w 11269336"/>
              <a:gd name="connsiteY115" fmla="*/ 1937845 h 2323145"/>
              <a:gd name="connsiteX116" fmla="*/ 5724661 w 11269336"/>
              <a:gd name="connsiteY116" fmla="*/ 1937455 h 2323145"/>
              <a:gd name="connsiteX117" fmla="*/ 5710186 w 11269336"/>
              <a:gd name="connsiteY117" fmla="*/ 1941370 h 2323145"/>
              <a:gd name="connsiteX118" fmla="*/ 5704910 w 11269336"/>
              <a:gd name="connsiteY118" fmla="*/ 1943663 h 2323145"/>
              <a:gd name="connsiteX119" fmla="*/ 5696836 w 11269336"/>
              <a:gd name="connsiteY119" fmla="*/ 1945271 h 2323145"/>
              <a:gd name="connsiteX120" fmla="*/ 5696583 w 11269336"/>
              <a:gd name="connsiteY120" fmla="*/ 1945050 h 2323145"/>
              <a:gd name="connsiteX121" fmla="*/ 5689123 w 11269336"/>
              <a:gd name="connsiteY121" fmla="*/ 1947067 h 2323145"/>
              <a:gd name="connsiteX122" fmla="*/ 5653291 w 11269336"/>
              <a:gd name="connsiteY122" fmla="*/ 1960245 h 2323145"/>
              <a:gd name="connsiteX123" fmla="*/ 5599385 w 11269336"/>
              <a:gd name="connsiteY123" fmla="*/ 1945198 h 2323145"/>
              <a:gd name="connsiteX124" fmla="*/ 5578300 w 11269336"/>
              <a:gd name="connsiteY124" fmla="*/ 1944963 h 2323145"/>
              <a:gd name="connsiteX125" fmla="*/ 5566758 w 11269336"/>
              <a:gd name="connsiteY125" fmla="*/ 1943441 h 2323145"/>
              <a:gd name="connsiteX126" fmla="*/ 5565857 w 11269336"/>
              <a:gd name="connsiteY126" fmla="*/ 1942445 h 2323145"/>
              <a:gd name="connsiteX127" fmla="*/ 5531534 w 11269336"/>
              <a:gd name="connsiteY127" fmla="*/ 1955208 h 2323145"/>
              <a:gd name="connsiteX128" fmla="*/ 5526552 w 11269336"/>
              <a:gd name="connsiteY128" fmla="*/ 1954799 h 2323145"/>
              <a:gd name="connsiteX129" fmla="*/ 5504723 w 11269336"/>
              <a:gd name="connsiteY129" fmla="*/ 1965811 h 2323145"/>
              <a:gd name="connsiteX130" fmla="*/ 5493156 w 11269336"/>
              <a:gd name="connsiteY130" fmla="*/ 1970063 h 2323145"/>
              <a:gd name="connsiteX131" fmla="*/ 5490486 w 11269336"/>
              <a:gd name="connsiteY131" fmla="*/ 1974227 h 2323145"/>
              <a:gd name="connsiteX132" fmla="*/ 5473107 w 11269336"/>
              <a:gd name="connsiteY132" fmla="*/ 1979001 h 2323145"/>
              <a:gd name="connsiteX133" fmla="*/ 5470885 w 11269336"/>
              <a:gd name="connsiteY133" fmla="*/ 1978432 h 2323145"/>
              <a:gd name="connsiteX134" fmla="*/ 5457393 w 11269336"/>
              <a:gd name="connsiteY134" fmla="*/ 1986525 h 2323145"/>
              <a:gd name="connsiteX135" fmla="*/ 5447102 w 11269336"/>
              <a:gd name="connsiteY135" fmla="*/ 1998329 h 2323145"/>
              <a:gd name="connsiteX136" fmla="*/ 5159151 w 11269336"/>
              <a:gd name="connsiteY136" fmla="*/ 2029640 h 2323145"/>
              <a:gd name="connsiteX137" fmla="*/ 5041688 w 11269336"/>
              <a:gd name="connsiteY137" fmla="*/ 2022334 h 2323145"/>
              <a:gd name="connsiteX138" fmla="*/ 4860988 w 11269336"/>
              <a:gd name="connsiteY138" fmla="*/ 2135698 h 2323145"/>
              <a:gd name="connsiteX139" fmla="*/ 4807902 w 11269336"/>
              <a:gd name="connsiteY139" fmla="*/ 2138894 h 2323145"/>
              <a:gd name="connsiteX140" fmla="*/ 4765388 w 11269336"/>
              <a:gd name="connsiteY140" fmla="*/ 2162525 h 2323145"/>
              <a:gd name="connsiteX141" fmla="*/ 4745033 w 11269336"/>
              <a:gd name="connsiteY141" fmla="*/ 2158859 h 2323145"/>
              <a:gd name="connsiteX142" fmla="*/ 4741475 w 11269336"/>
              <a:gd name="connsiteY142" fmla="*/ 2157998 h 2323145"/>
              <a:gd name="connsiteX143" fmla="*/ 4728247 w 11269336"/>
              <a:gd name="connsiteY143" fmla="*/ 2159526 h 2323145"/>
              <a:gd name="connsiteX144" fmla="*/ 4723263 w 11269336"/>
              <a:gd name="connsiteY144" fmla="*/ 2153742 h 2323145"/>
              <a:gd name="connsiteX145" fmla="*/ 4702453 w 11269336"/>
              <a:gd name="connsiteY145" fmla="*/ 2151586 h 2323145"/>
              <a:gd name="connsiteX146" fmla="*/ 4678455 w 11269336"/>
              <a:gd name="connsiteY146" fmla="*/ 2156131 h 2323145"/>
              <a:gd name="connsiteX147" fmla="*/ 4593061 w 11269336"/>
              <a:gd name="connsiteY147" fmla="*/ 2171597 h 2323145"/>
              <a:gd name="connsiteX148" fmla="*/ 4579902 w 11269336"/>
              <a:gd name="connsiteY148" fmla="*/ 2177927 h 2323145"/>
              <a:gd name="connsiteX149" fmla="*/ 4533444 w 11269336"/>
              <a:gd name="connsiteY149" fmla="*/ 2181200 h 2323145"/>
              <a:gd name="connsiteX150" fmla="*/ 4492832 w 11269336"/>
              <a:gd name="connsiteY150" fmla="*/ 2188033 h 2323145"/>
              <a:gd name="connsiteX151" fmla="*/ 4467257 w 11269336"/>
              <a:gd name="connsiteY151" fmla="*/ 2196121 h 2323145"/>
              <a:gd name="connsiteX152" fmla="*/ 4459937 w 11269336"/>
              <a:gd name="connsiteY152" fmla="*/ 2195182 h 2323145"/>
              <a:gd name="connsiteX153" fmla="*/ 4433312 w 11269336"/>
              <a:gd name="connsiteY153" fmla="*/ 2199004 h 2323145"/>
              <a:gd name="connsiteX154" fmla="*/ 4420601 w 11269336"/>
              <a:gd name="connsiteY154" fmla="*/ 2205158 h 2323145"/>
              <a:gd name="connsiteX155" fmla="*/ 4405765 w 11269336"/>
              <a:gd name="connsiteY155" fmla="*/ 2199902 h 2323145"/>
              <a:gd name="connsiteX156" fmla="*/ 4401354 w 11269336"/>
              <a:gd name="connsiteY156" fmla="*/ 2194745 h 2323145"/>
              <a:gd name="connsiteX157" fmla="*/ 4383151 w 11269336"/>
              <a:gd name="connsiteY157" fmla="*/ 2201140 h 2323145"/>
              <a:gd name="connsiteX158" fmla="*/ 4366646 w 11269336"/>
              <a:gd name="connsiteY158" fmla="*/ 2198564 h 2323145"/>
              <a:gd name="connsiteX159" fmla="*/ 4354009 w 11269336"/>
              <a:gd name="connsiteY159" fmla="*/ 2204984 h 2323145"/>
              <a:gd name="connsiteX160" fmla="*/ 4348284 w 11269336"/>
              <a:gd name="connsiteY160" fmla="*/ 2205270 h 2323145"/>
              <a:gd name="connsiteX161" fmla="*/ 4333906 w 11269336"/>
              <a:gd name="connsiteY161" fmla="*/ 2205251 h 2323145"/>
              <a:gd name="connsiteX162" fmla="*/ 4308819 w 11269336"/>
              <a:gd name="connsiteY162" fmla="*/ 2203822 h 2323145"/>
              <a:gd name="connsiteX163" fmla="*/ 4301210 w 11269336"/>
              <a:gd name="connsiteY163" fmla="*/ 2204456 h 2323145"/>
              <a:gd name="connsiteX164" fmla="*/ 4283095 w 11269336"/>
              <a:gd name="connsiteY164" fmla="*/ 2198177 h 2323145"/>
              <a:gd name="connsiteX165" fmla="*/ 4250119 w 11269336"/>
              <a:gd name="connsiteY165" fmla="*/ 2196342 h 2323145"/>
              <a:gd name="connsiteX166" fmla="*/ 4189203 w 11269336"/>
              <a:gd name="connsiteY166" fmla="*/ 2178994 h 2323145"/>
              <a:gd name="connsiteX167" fmla="*/ 4154035 w 11269336"/>
              <a:gd name="connsiteY167" fmla="*/ 2171950 h 2323145"/>
              <a:gd name="connsiteX168" fmla="*/ 4129569 w 11269336"/>
              <a:gd name="connsiteY168" fmla="*/ 2163850 h 2323145"/>
              <a:gd name="connsiteX169" fmla="*/ 4061250 w 11269336"/>
              <a:gd name="connsiteY169" fmla="*/ 2159236 h 2323145"/>
              <a:gd name="connsiteX170" fmla="*/ 3945480 w 11269336"/>
              <a:gd name="connsiteY170" fmla="*/ 2158279 h 2323145"/>
              <a:gd name="connsiteX171" fmla="*/ 3921468 w 11269336"/>
              <a:gd name="connsiteY171" fmla="*/ 2156588 h 2323145"/>
              <a:gd name="connsiteX172" fmla="*/ 3903348 w 11269336"/>
              <a:gd name="connsiteY172" fmla="*/ 2149220 h 2323145"/>
              <a:gd name="connsiteX173" fmla="*/ 3901342 w 11269336"/>
              <a:gd name="connsiteY173" fmla="*/ 2142355 h 2323145"/>
              <a:gd name="connsiteX174" fmla="*/ 3888539 w 11269336"/>
              <a:gd name="connsiteY174" fmla="*/ 2140476 h 2323145"/>
              <a:gd name="connsiteX175" fmla="*/ 3885662 w 11269336"/>
              <a:gd name="connsiteY175" fmla="*/ 2138740 h 2323145"/>
              <a:gd name="connsiteX176" fmla="*/ 3868627 w 11269336"/>
              <a:gd name="connsiteY176" fmla="*/ 2130023 h 2323145"/>
              <a:gd name="connsiteX177" fmla="*/ 3819177 w 11269336"/>
              <a:gd name="connsiteY177" fmla="*/ 2142111 h 2323145"/>
              <a:gd name="connsiteX178" fmla="*/ 3769100 w 11269336"/>
              <a:gd name="connsiteY178" fmla="*/ 2131731 h 2323145"/>
              <a:gd name="connsiteX179" fmla="*/ 3562752 w 11269336"/>
              <a:gd name="connsiteY179" fmla="*/ 2131785 h 2323145"/>
              <a:gd name="connsiteX180" fmla="*/ 3541402 w 11269336"/>
              <a:gd name="connsiteY180" fmla="*/ 2106821 h 2323145"/>
              <a:gd name="connsiteX181" fmla="*/ 3365341 w 11269336"/>
              <a:gd name="connsiteY181" fmla="*/ 2077638 h 2323145"/>
              <a:gd name="connsiteX182" fmla="*/ 3170922 w 11269336"/>
              <a:gd name="connsiteY182" fmla="*/ 2115957 h 2323145"/>
              <a:gd name="connsiteX183" fmla="*/ 3156256 w 11269336"/>
              <a:gd name="connsiteY183" fmla="*/ 2124773 h 2323145"/>
              <a:gd name="connsiteX184" fmla="*/ 3140298 w 11269336"/>
              <a:gd name="connsiteY184" fmla="*/ 2129182 h 2323145"/>
              <a:gd name="connsiteX185" fmla="*/ 3138514 w 11269336"/>
              <a:gd name="connsiteY185" fmla="*/ 2128069 h 2323145"/>
              <a:gd name="connsiteX186" fmla="*/ 3120467 w 11269336"/>
              <a:gd name="connsiteY186" fmla="*/ 2128281 h 2323145"/>
              <a:gd name="connsiteX187" fmla="*/ 3116175 w 11269336"/>
              <a:gd name="connsiteY187" fmla="*/ 2131633 h 2323145"/>
              <a:gd name="connsiteX188" fmla="*/ 3103685 w 11269336"/>
              <a:gd name="connsiteY188" fmla="*/ 2132814 h 2323145"/>
              <a:gd name="connsiteX189" fmla="*/ 3078794 w 11269336"/>
              <a:gd name="connsiteY189" fmla="*/ 2137935 h 2323145"/>
              <a:gd name="connsiteX190" fmla="*/ 3074407 w 11269336"/>
              <a:gd name="connsiteY190" fmla="*/ 2136274 h 2323145"/>
              <a:gd name="connsiteX191" fmla="*/ 3037285 w 11269336"/>
              <a:gd name="connsiteY191" fmla="*/ 2139919 h 2323145"/>
              <a:gd name="connsiteX192" fmla="*/ 3036901 w 11269336"/>
              <a:gd name="connsiteY192" fmla="*/ 2138726 h 2323145"/>
              <a:gd name="connsiteX193" fmla="*/ 3026996 w 11269336"/>
              <a:gd name="connsiteY193" fmla="*/ 2134322 h 2323145"/>
              <a:gd name="connsiteX194" fmla="*/ 3007772 w 11269336"/>
              <a:gd name="connsiteY194" fmla="*/ 2128742 h 2323145"/>
              <a:gd name="connsiteX195" fmla="*/ 2965030 w 11269336"/>
              <a:gd name="connsiteY195" fmla="*/ 2100494 h 2323145"/>
              <a:gd name="connsiteX196" fmla="*/ 2926342 w 11269336"/>
              <a:gd name="connsiteY196" fmla="*/ 2104155 h 2323145"/>
              <a:gd name="connsiteX197" fmla="*/ 2918608 w 11269336"/>
              <a:gd name="connsiteY197" fmla="*/ 2104215 h 2323145"/>
              <a:gd name="connsiteX198" fmla="*/ 2918475 w 11269336"/>
              <a:gd name="connsiteY198" fmla="*/ 2103937 h 2323145"/>
              <a:gd name="connsiteX199" fmla="*/ 2910360 w 11269336"/>
              <a:gd name="connsiteY199" fmla="*/ 2103444 h 2323145"/>
              <a:gd name="connsiteX200" fmla="*/ 2904507 w 11269336"/>
              <a:gd name="connsiteY200" fmla="*/ 2104326 h 2323145"/>
              <a:gd name="connsiteX201" fmla="*/ 2889503 w 11269336"/>
              <a:gd name="connsiteY201" fmla="*/ 2104443 h 2323145"/>
              <a:gd name="connsiteX202" fmla="*/ 2884480 w 11269336"/>
              <a:gd name="connsiteY202" fmla="*/ 2102626 h 2323145"/>
              <a:gd name="connsiteX203" fmla="*/ 2882689 w 11269336"/>
              <a:gd name="connsiteY203" fmla="*/ 2099228 h 2323145"/>
              <a:gd name="connsiteX204" fmla="*/ 2881291 w 11269336"/>
              <a:gd name="connsiteY204" fmla="*/ 2099618 h 2323145"/>
              <a:gd name="connsiteX205" fmla="*/ 2853979 w 11269336"/>
              <a:gd name="connsiteY205" fmla="*/ 2090388 h 2323145"/>
              <a:gd name="connsiteX206" fmla="*/ 2791790 w 11269336"/>
              <a:gd name="connsiteY206" fmla="*/ 2080332 h 2323145"/>
              <a:gd name="connsiteX207" fmla="*/ 2755844 w 11269336"/>
              <a:gd name="connsiteY207" fmla="*/ 2078874 h 2323145"/>
              <a:gd name="connsiteX208" fmla="*/ 2657742 w 11269336"/>
              <a:gd name="connsiteY208" fmla="*/ 2070179 h 2323145"/>
              <a:gd name="connsiteX209" fmla="*/ 2559549 w 11269336"/>
              <a:gd name="connsiteY209" fmla="*/ 2057873 h 2323145"/>
              <a:gd name="connsiteX210" fmla="*/ 2512054 w 11269336"/>
              <a:gd name="connsiteY210" fmla="*/ 2031671 h 2323145"/>
              <a:gd name="connsiteX211" fmla="*/ 2506437 w 11269336"/>
              <a:gd name="connsiteY211" fmla="*/ 2030918 h 2323145"/>
              <a:gd name="connsiteX212" fmla="*/ 2491752 w 11269336"/>
              <a:gd name="connsiteY212" fmla="*/ 2033906 h 2323145"/>
              <a:gd name="connsiteX213" fmla="*/ 2486338 w 11269336"/>
              <a:gd name="connsiteY213" fmla="*/ 2035862 h 2323145"/>
              <a:gd name="connsiteX214" fmla="*/ 2478186 w 11269336"/>
              <a:gd name="connsiteY214" fmla="*/ 2036953 h 2323145"/>
              <a:gd name="connsiteX215" fmla="*/ 2477950 w 11269336"/>
              <a:gd name="connsiteY215" fmla="*/ 2036715 h 2323145"/>
              <a:gd name="connsiteX216" fmla="*/ 2470381 w 11269336"/>
              <a:gd name="connsiteY216" fmla="*/ 2038256 h 2323145"/>
              <a:gd name="connsiteX217" fmla="*/ 2433781 w 11269336"/>
              <a:gd name="connsiteY217" fmla="*/ 2049140 h 2323145"/>
              <a:gd name="connsiteX218" fmla="*/ 2381172 w 11269336"/>
              <a:gd name="connsiteY218" fmla="*/ 2030645 h 2323145"/>
              <a:gd name="connsiteX219" fmla="*/ 2360198 w 11269336"/>
              <a:gd name="connsiteY219" fmla="*/ 2029059 h 2323145"/>
              <a:gd name="connsiteX220" fmla="*/ 2348815 w 11269336"/>
              <a:gd name="connsiteY220" fmla="*/ 2026798 h 2323145"/>
              <a:gd name="connsiteX221" fmla="*/ 2347988 w 11269336"/>
              <a:gd name="connsiteY221" fmla="*/ 2025745 h 2323145"/>
              <a:gd name="connsiteX222" fmla="*/ 2312920 w 11269336"/>
              <a:gd name="connsiteY222" fmla="*/ 2036311 h 2323145"/>
              <a:gd name="connsiteX223" fmla="*/ 2307986 w 11269336"/>
              <a:gd name="connsiteY223" fmla="*/ 2035583 h 2323145"/>
              <a:gd name="connsiteX224" fmla="*/ 2285481 w 11269336"/>
              <a:gd name="connsiteY224" fmla="*/ 2045197 h 2323145"/>
              <a:gd name="connsiteX225" fmla="*/ 2273666 w 11269336"/>
              <a:gd name="connsiteY225" fmla="*/ 2048710 h 2323145"/>
              <a:gd name="connsiteX226" fmla="*/ 2270719 w 11269336"/>
              <a:gd name="connsiteY226" fmla="*/ 2052702 h 2323145"/>
              <a:gd name="connsiteX227" fmla="*/ 2253080 w 11269336"/>
              <a:gd name="connsiteY227" fmla="*/ 2056363 h 2323145"/>
              <a:gd name="connsiteX228" fmla="*/ 2250906 w 11269336"/>
              <a:gd name="connsiteY228" fmla="*/ 2055654 h 2323145"/>
              <a:gd name="connsiteX229" fmla="*/ 2236905 w 11269336"/>
              <a:gd name="connsiteY229" fmla="*/ 2062882 h 2323145"/>
              <a:gd name="connsiteX230" fmla="*/ 2225830 w 11269336"/>
              <a:gd name="connsiteY230" fmla="*/ 2074027 h 2323145"/>
              <a:gd name="connsiteX231" fmla="*/ 2073776 w 11269336"/>
              <a:gd name="connsiteY231" fmla="*/ 2089244 h 2323145"/>
              <a:gd name="connsiteX232" fmla="*/ 1948256 w 11269336"/>
              <a:gd name="connsiteY232" fmla="*/ 2146616 h 2323145"/>
              <a:gd name="connsiteX233" fmla="*/ 1865582 w 11269336"/>
              <a:gd name="connsiteY233" fmla="*/ 2153738 h 2323145"/>
              <a:gd name="connsiteX234" fmla="*/ 1835210 w 11269336"/>
              <a:gd name="connsiteY234" fmla="*/ 2134244 h 2323145"/>
              <a:gd name="connsiteX235" fmla="*/ 1632661 w 11269336"/>
              <a:gd name="connsiteY235" fmla="*/ 2173882 h 2323145"/>
              <a:gd name="connsiteX236" fmla="*/ 1579590 w 11269336"/>
              <a:gd name="connsiteY236" fmla="*/ 2173680 h 2323145"/>
              <a:gd name="connsiteX237" fmla="*/ 1535601 w 11269336"/>
              <a:gd name="connsiteY237" fmla="*/ 2194590 h 2323145"/>
              <a:gd name="connsiteX238" fmla="*/ 1515594 w 11269336"/>
              <a:gd name="connsiteY238" fmla="*/ 2189622 h 2323145"/>
              <a:gd name="connsiteX239" fmla="*/ 1512113 w 11269336"/>
              <a:gd name="connsiteY239" fmla="*/ 2188534 h 2323145"/>
              <a:gd name="connsiteX240" fmla="*/ 1498838 w 11269336"/>
              <a:gd name="connsiteY240" fmla="*/ 2189213 h 2323145"/>
              <a:gd name="connsiteX241" fmla="*/ 1494279 w 11269336"/>
              <a:gd name="connsiteY241" fmla="*/ 2183112 h 2323145"/>
              <a:gd name="connsiteX242" fmla="*/ 1473714 w 11269336"/>
              <a:gd name="connsiteY242" fmla="*/ 2179625 h 2323145"/>
              <a:gd name="connsiteX243" fmla="*/ 1449503 w 11269336"/>
              <a:gd name="connsiteY243" fmla="*/ 2182633 h 2323145"/>
              <a:gd name="connsiteX244" fmla="*/ 1266687 w 11269336"/>
              <a:gd name="connsiteY244" fmla="*/ 2212688 h 2323145"/>
              <a:gd name="connsiteX245" fmla="*/ 1239614 w 11269336"/>
              <a:gd name="connsiteY245" fmla="*/ 2209727 h 2323145"/>
              <a:gd name="connsiteX246" fmla="*/ 1202436 w 11269336"/>
              <a:gd name="connsiteY246" fmla="*/ 2209817 h 2323145"/>
              <a:gd name="connsiteX247" fmla="*/ 1136097 w 11269336"/>
              <a:gd name="connsiteY247" fmla="*/ 2205112 h 2323145"/>
              <a:gd name="connsiteX248" fmla="*/ 988232 w 11269336"/>
              <a:gd name="connsiteY248" fmla="*/ 2235635 h 2323145"/>
              <a:gd name="connsiteX249" fmla="*/ 981959 w 11269336"/>
              <a:gd name="connsiteY249" fmla="*/ 2231607 h 2323145"/>
              <a:gd name="connsiteX250" fmla="*/ 938600 w 11269336"/>
              <a:gd name="connsiteY250" fmla="*/ 2238113 h 2323145"/>
              <a:gd name="connsiteX251" fmla="*/ 791788 w 11269336"/>
              <a:gd name="connsiteY251" fmla="*/ 2293224 h 2323145"/>
              <a:gd name="connsiteX252" fmla="*/ 706914 w 11269336"/>
              <a:gd name="connsiteY252" fmla="*/ 2305046 h 2323145"/>
              <a:gd name="connsiteX253" fmla="*/ 675971 w 11269336"/>
              <a:gd name="connsiteY253" fmla="*/ 2304030 h 2323145"/>
              <a:gd name="connsiteX254" fmla="*/ 624180 w 11269336"/>
              <a:gd name="connsiteY254" fmla="*/ 2302650 h 2323145"/>
              <a:gd name="connsiteX255" fmla="*/ 583453 w 11269336"/>
              <a:gd name="connsiteY255" fmla="*/ 2288788 h 2323145"/>
              <a:gd name="connsiteX256" fmla="*/ 540946 w 11269336"/>
              <a:gd name="connsiteY256" fmla="*/ 2292721 h 2323145"/>
              <a:gd name="connsiteX257" fmla="*/ 533680 w 11269336"/>
              <a:gd name="connsiteY257" fmla="*/ 2310233 h 2323145"/>
              <a:gd name="connsiteX258" fmla="*/ 487366 w 11269336"/>
              <a:gd name="connsiteY258" fmla="*/ 2309053 h 2323145"/>
              <a:gd name="connsiteX259" fmla="*/ 416820 w 11269336"/>
              <a:gd name="connsiteY259" fmla="*/ 2305443 h 2323145"/>
              <a:gd name="connsiteX260" fmla="*/ 376805 w 11269336"/>
              <a:gd name="connsiteY260" fmla="*/ 2307647 h 2323145"/>
              <a:gd name="connsiteX261" fmla="*/ 266777 w 11269336"/>
              <a:gd name="connsiteY261" fmla="*/ 2309012 h 2323145"/>
              <a:gd name="connsiteX262" fmla="*/ 156013 w 11269336"/>
              <a:gd name="connsiteY262" fmla="*/ 2306832 h 2323145"/>
              <a:gd name="connsiteX263" fmla="*/ 87258 w 11269336"/>
              <a:gd name="connsiteY263" fmla="*/ 2285511 h 2323145"/>
              <a:gd name="connsiteX264" fmla="*/ 23798 w 11269336"/>
              <a:gd name="connsiteY264" fmla="*/ 2281822 h 2323145"/>
              <a:gd name="connsiteX265" fmla="*/ 0 w 11269336"/>
              <a:gd name="connsiteY265" fmla="*/ 2285369 h 2323145"/>
              <a:gd name="connsiteX266" fmla="*/ 0 w 11269336"/>
              <a:gd name="connsiteY26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028928 w 11269336"/>
              <a:gd name="connsiteY21" fmla="*/ 745350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028928 w 11269336"/>
              <a:gd name="connsiteY21" fmla="*/ 745350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9070855 w 11269336"/>
              <a:gd name="connsiteY23" fmla="*/ 794621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9070855 w 11269336"/>
              <a:gd name="connsiteY23" fmla="*/ 794621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795998 w 11269336"/>
              <a:gd name="connsiteY29" fmla="*/ 863337 h 2323145"/>
              <a:gd name="connsiteX30" fmla="*/ 8776970 w 11269336"/>
              <a:gd name="connsiteY30" fmla="*/ 885177 h 2323145"/>
              <a:gd name="connsiteX31" fmla="*/ 8755719 w 11269336"/>
              <a:gd name="connsiteY31" fmla="*/ 889754 h 2323145"/>
              <a:gd name="connsiteX32" fmla="*/ 8743257 w 11269336"/>
              <a:gd name="connsiteY32" fmla="*/ 904723 h 2323145"/>
              <a:gd name="connsiteX33" fmla="*/ 8721366 w 11269336"/>
              <a:gd name="connsiteY33" fmla="*/ 904711 h 2323145"/>
              <a:gd name="connsiteX34" fmla="*/ 8678353 w 11269336"/>
              <a:gd name="connsiteY34" fmla="*/ 926318 h 2323145"/>
              <a:gd name="connsiteX35" fmla="*/ 8636849 w 11269336"/>
              <a:gd name="connsiteY35" fmla="*/ 937900 h 2323145"/>
              <a:gd name="connsiteX36" fmla="*/ 8620213 w 11269336"/>
              <a:gd name="connsiteY36" fmla="*/ 943068 h 2323145"/>
              <a:gd name="connsiteX37" fmla="*/ 8612581 w 11269336"/>
              <a:gd name="connsiteY37" fmla="*/ 952695 h 2323145"/>
              <a:gd name="connsiteX38" fmla="*/ 8589038 w 11269336"/>
              <a:gd name="connsiteY38" fmla="*/ 963892 h 2323145"/>
              <a:gd name="connsiteX39" fmla="*/ 8579950 w 11269336"/>
              <a:gd name="connsiteY39" fmla="*/ 960899 h 2323145"/>
              <a:gd name="connsiteX40" fmla="*/ 8579319 w 11269336"/>
              <a:gd name="connsiteY40" fmla="*/ 965630 h 2323145"/>
              <a:gd name="connsiteX41" fmla="*/ 8547429 w 11269336"/>
              <a:gd name="connsiteY41" fmla="*/ 984506 h 2323145"/>
              <a:gd name="connsiteX42" fmla="*/ 8478704 w 11269336"/>
              <a:gd name="connsiteY42" fmla="*/ 1025490 h 2323145"/>
              <a:gd name="connsiteX43" fmla="*/ 8461421 w 11269336"/>
              <a:gd name="connsiteY43" fmla="*/ 1035512 h 2323145"/>
              <a:gd name="connsiteX44" fmla="*/ 8445003 w 11269336"/>
              <a:gd name="connsiteY44" fmla="*/ 1036851 h 2323145"/>
              <a:gd name="connsiteX45" fmla="*/ 8357350 w 11269336"/>
              <a:gd name="connsiteY45" fmla="*/ 1060213 h 2323145"/>
              <a:gd name="connsiteX46" fmla="*/ 8335565 w 11269336"/>
              <a:gd name="connsiteY46" fmla="*/ 1061151 h 2323145"/>
              <a:gd name="connsiteX47" fmla="*/ 8325267 w 11269336"/>
              <a:gd name="connsiteY47" fmla="*/ 1055919 h 2323145"/>
              <a:gd name="connsiteX48" fmla="*/ 8293586 w 11269336"/>
              <a:gd name="connsiteY48" fmla="*/ 1076144 h 2323145"/>
              <a:gd name="connsiteX49" fmla="*/ 8242405 w 11269336"/>
              <a:gd name="connsiteY49" fmla="*/ 1095960 h 2323145"/>
              <a:gd name="connsiteX50" fmla="*/ 8197391 w 11269336"/>
              <a:gd name="connsiteY50" fmla="*/ 1107746 h 2323145"/>
              <a:gd name="connsiteX51" fmla="*/ 8081474 w 11269336"/>
              <a:gd name="connsiteY51" fmla="*/ 1130125 h 2323145"/>
              <a:gd name="connsiteX52" fmla="*/ 8053585 w 11269336"/>
              <a:gd name="connsiteY52" fmla="*/ 1129169 h 2323145"/>
              <a:gd name="connsiteX53" fmla="*/ 8038422 w 11269336"/>
              <a:gd name="connsiteY53" fmla="*/ 1119092 h 2323145"/>
              <a:gd name="connsiteX54" fmla="*/ 8029450 w 11269336"/>
              <a:gd name="connsiteY54" fmla="*/ 1125592 h 2323145"/>
              <a:gd name="connsiteX55" fmla="*/ 7959552 w 11269336"/>
              <a:gd name="connsiteY55" fmla="*/ 1140188 h 2323145"/>
              <a:gd name="connsiteX56" fmla="*/ 7914188 w 11269336"/>
              <a:gd name="connsiteY56" fmla="*/ 1150862 h 2323145"/>
              <a:gd name="connsiteX57" fmla="*/ 7914918 w 11269336"/>
              <a:gd name="connsiteY57" fmla="*/ 1168758 h 2323145"/>
              <a:gd name="connsiteX58" fmla="*/ 7875510 w 11269336"/>
              <a:gd name="connsiteY58" fmla="*/ 1183153 h 2323145"/>
              <a:gd name="connsiteX59" fmla="*/ 7829932 w 11269336"/>
              <a:gd name="connsiteY59" fmla="*/ 1180782 h 2323145"/>
              <a:gd name="connsiteX60" fmla="*/ 7779182 w 11269336"/>
              <a:gd name="connsiteY60" fmla="*/ 1192665 h 2323145"/>
              <a:gd name="connsiteX61" fmla="*/ 7748774 w 11269336"/>
              <a:gd name="connsiteY61" fmla="*/ 1199586 h 2323145"/>
              <a:gd name="connsiteX62" fmla="*/ 7671846 w 11269336"/>
              <a:gd name="connsiteY62" fmla="*/ 1231966 h 2323145"/>
              <a:gd name="connsiteX63" fmla="*/ 7554146 w 11269336"/>
              <a:gd name="connsiteY63" fmla="*/ 1319748 h 2323145"/>
              <a:gd name="connsiteX64" fmla="*/ 7515052 w 11269336"/>
              <a:gd name="connsiteY64" fmla="*/ 1336718 h 2323145"/>
              <a:gd name="connsiteX65" fmla="*/ 7507193 w 11269336"/>
              <a:gd name="connsiteY65" fmla="*/ 1334617 h 2323145"/>
              <a:gd name="connsiteX66" fmla="*/ 7461694 w 11269336"/>
              <a:gd name="connsiteY66" fmla="*/ 1375866 h 2323145"/>
              <a:gd name="connsiteX67" fmla="*/ 7377571 w 11269336"/>
              <a:gd name="connsiteY67" fmla="*/ 1400128 h 2323145"/>
              <a:gd name="connsiteX68" fmla="*/ 7311261 w 11269336"/>
              <a:gd name="connsiteY68" fmla="*/ 1412652 h 2323145"/>
              <a:gd name="connsiteX69" fmla="*/ 7275307 w 11269336"/>
              <a:gd name="connsiteY69" fmla="*/ 1422171 h 2323145"/>
              <a:gd name="connsiteX70" fmla="*/ 7247783 w 11269336"/>
              <a:gd name="connsiteY70" fmla="*/ 1426330 h 2323145"/>
              <a:gd name="connsiteX71" fmla="*/ 7185047 w 11269336"/>
              <a:gd name="connsiteY71" fmla="*/ 1451812 h 2323145"/>
              <a:gd name="connsiteX72" fmla="*/ 7084117 w 11269336"/>
              <a:gd name="connsiteY72" fmla="*/ 1500281 h 2323145"/>
              <a:gd name="connsiteX73" fmla="*/ 7062011 w 11269336"/>
              <a:gd name="connsiteY73" fmla="*/ 1509183 h 2323145"/>
              <a:gd name="connsiteX74" fmla="*/ 7040555 w 11269336"/>
              <a:gd name="connsiteY74" fmla="*/ 1511207 h 2323145"/>
              <a:gd name="connsiteX75" fmla="*/ 7033438 w 11269336"/>
              <a:gd name="connsiteY75" fmla="*/ 1506772 h 2323145"/>
              <a:gd name="connsiteX76" fmla="*/ 7020886 w 11269336"/>
              <a:gd name="connsiteY76" fmla="*/ 1510764 h 2323145"/>
              <a:gd name="connsiteX77" fmla="*/ 7017033 w 11269336"/>
              <a:gd name="connsiteY77" fmla="*/ 1510650 h 2323145"/>
              <a:gd name="connsiteX78" fmla="*/ 6995460 w 11269336"/>
              <a:gd name="connsiteY78" fmla="*/ 1511173 h 2323145"/>
              <a:gd name="connsiteX79" fmla="*/ 6962144 w 11269336"/>
              <a:gd name="connsiteY79" fmla="*/ 1541508 h 2323145"/>
              <a:gd name="connsiteX80" fmla="*/ 6910674 w 11269336"/>
              <a:gd name="connsiteY80" fmla="*/ 1554793 h 2323145"/>
              <a:gd name="connsiteX81" fmla="*/ 6732152 w 11269336"/>
              <a:gd name="connsiteY81" fmla="*/ 1642538 h 2323145"/>
              <a:gd name="connsiteX82" fmla="*/ 6694106 w 11269336"/>
              <a:gd name="connsiteY82" fmla="*/ 1632377 h 2323145"/>
              <a:gd name="connsiteX83" fmla="*/ 6617223 w 11269336"/>
              <a:gd name="connsiteY83" fmla="*/ 1659889 h 2323145"/>
              <a:gd name="connsiteX84" fmla="*/ 6521138 w 11269336"/>
              <a:gd name="connsiteY84" fmla="*/ 1744340 h 2323145"/>
              <a:gd name="connsiteX85" fmla="*/ 6380677 w 11269336"/>
              <a:gd name="connsiteY85" fmla="*/ 1796883 h 2323145"/>
              <a:gd name="connsiteX86" fmla="*/ 6374897 w 11269336"/>
              <a:gd name="connsiteY86" fmla="*/ 1809910 h 2323145"/>
              <a:gd name="connsiteX87" fmla="*/ 6364545 w 11269336"/>
              <a:gd name="connsiteY87" fmla="*/ 1820090 h 2323145"/>
              <a:gd name="connsiteX88" fmla="*/ 6362126 w 11269336"/>
              <a:gd name="connsiteY88" fmla="*/ 1819991 h 2323145"/>
              <a:gd name="connsiteX89" fmla="*/ 6346673 w 11269336"/>
              <a:gd name="connsiteY89" fmla="*/ 1827824 h 2323145"/>
              <a:gd name="connsiteX90" fmla="*/ 6345588 w 11269336"/>
              <a:gd name="connsiteY90" fmla="*/ 1832232 h 2323145"/>
              <a:gd name="connsiteX91" fmla="*/ 6335708 w 11269336"/>
              <a:gd name="connsiteY91" fmla="*/ 1838451 h 2323145"/>
              <a:gd name="connsiteX92" fmla="*/ 6318182 w 11269336"/>
              <a:gd name="connsiteY92" fmla="*/ 1852975 h 2323145"/>
              <a:gd name="connsiteX93" fmla="*/ 6313084 w 11269336"/>
              <a:gd name="connsiteY93" fmla="*/ 1853561 h 2323145"/>
              <a:gd name="connsiteX94" fmla="*/ 6283816 w 11269336"/>
              <a:gd name="connsiteY94" fmla="*/ 1872148 h 2323145"/>
              <a:gd name="connsiteX95" fmla="*/ 6282550 w 11269336"/>
              <a:gd name="connsiteY95" fmla="*/ 1871392 h 2323145"/>
              <a:gd name="connsiteX96" fmla="*/ 6270527 w 11269336"/>
              <a:gd name="connsiteY96" fmla="*/ 1872208 h 2323145"/>
              <a:gd name="connsiteX97" fmla="*/ 6249518 w 11269336"/>
              <a:gd name="connsiteY97" fmla="*/ 1876079 h 2323145"/>
              <a:gd name="connsiteX98" fmla="*/ 6190386 w 11269336"/>
              <a:gd name="connsiteY98" fmla="*/ 1872478 h 2323145"/>
              <a:gd name="connsiteX99" fmla="*/ 6159777 w 11269336"/>
              <a:gd name="connsiteY99" fmla="*/ 1891745 h 2323145"/>
              <a:gd name="connsiteX100" fmla="*/ 6153131 w 11269336"/>
              <a:gd name="connsiteY100" fmla="*/ 1895079 h 2323145"/>
              <a:gd name="connsiteX101" fmla="*/ 6152798 w 11269336"/>
              <a:gd name="connsiteY101" fmla="*/ 1894920 h 2323145"/>
              <a:gd name="connsiteX102" fmla="*/ 6145388 w 11269336"/>
              <a:gd name="connsiteY102" fmla="*/ 1897990 h 2323145"/>
              <a:gd name="connsiteX103" fmla="*/ 6141014 w 11269336"/>
              <a:gd name="connsiteY103" fmla="*/ 1901155 h 2323145"/>
              <a:gd name="connsiteX104" fmla="*/ 6128122 w 11269336"/>
              <a:gd name="connsiteY104" fmla="*/ 1907623 h 2323145"/>
              <a:gd name="connsiteX105" fmla="*/ 6122351 w 11269336"/>
              <a:gd name="connsiteY105" fmla="*/ 1908359 h 2323145"/>
              <a:gd name="connsiteX106" fmla="*/ 6064750 w 11269336"/>
              <a:gd name="connsiteY106" fmla="*/ 1896394 h 2323145"/>
              <a:gd name="connsiteX107" fmla="*/ 5964230 w 11269336"/>
              <a:gd name="connsiteY107" fmla="*/ 1910038 h 2323145"/>
              <a:gd name="connsiteX108" fmla="*/ 5865399 w 11269336"/>
              <a:gd name="connsiteY108" fmla="*/ 1926966 h 2323145"/>
              <a:gd name="connsiteX109" fmla="*/ 5829951 w 11269336"/>
              <a:gd name="connsiteY109" fmla="*/ 1934755 h 2323145"/>
              <a:gd name="connsiteX110" fmla="*/ 5765285 w 11269336"/>
              <a:gd name="connsiteY110" fmla="*/ 1941322 h 2323145"/>
              <a:gd name="connsiteX111" fmla="*/ 5734750 w 11269336"/>
              <a:gd name="connsiteY111" fmla="*/ 1939793 h 2323145"/>
              <a:gd name="connsiteX112" fmla="*/ 5733569 w 11269336"/>
              <a:gd name="connsiteY112" fmla="*/ 1940505 h 2323145"/>
              <a:gd name="connsiteX113" fmla="*/ 5730329 w 11269336"/>
              <a:gd name="connsiteY113" fmla="*/ 1937845 h 2323145"/>
              <a:gd name="connsiteX114" fmla="*/ 5724661 w 11269336"/>
              <a:gd name="connsiteY114" fmla="*/ 1937455 h 2323145"/>
              <a:gd name="connsiteX115" fmla="*/ 5710186 w 11269336"/>
              <a:gd name="connsiteY115" fmla="*/ 1941370 h 2323145"/>
              <a:gd name="connsiteX116" fmla="*/ 5704910 w 11269336"/>
              <a:gd name="connsiteY116" fmla="*/ 1943663 h 2323145"/>
              <a:gd name="connsiteX117" fmla="*/ 5696836 w 11269336"/>
              <a:gd name="connsiteY117" fmla="*/ 1945271 h 2323145"/>
              <a:gd name="connsiteX118" fmla="*/ 5696583 w 11269336"/>
              <a:gd name="connsiteY118" fmla="*/ 1945050 h 2323145"/>
              <a:gd name="connsiteX119" fmla="*/ 5689123 w 11269336"/>
              <a:gd name="connsiteY119" fmla="*/ 1947067 h 2323145"/>
              <a:gd name="connsiteX120" fmla="*/ 5653291 w 11269336"/>
              <a:gd name="connsiteY120" fmla="*/ 1960245 h 2323145"/>
              <a:gd name="connsiteX121" fmla="*/ 5599385 w 11269336"/>
              <a:gd name="connsiteY121" fmla="*/ 1945198 h 2323145"/>
              <a:gd name="connsiteX122" fmla="*/ 5578300 w 11269336"/>
              <a:gd name="connsiteY122" fmla="*/ 1944963 h 2323145"/>
              <a:gd name="connsiteX123" fmla="*/ 5566758 w 11269336"/>
              <a:gd name="connsiteY123" fmla="*/ 1943441 h 2323145"/>
              <a:gd name="connsiteX124" fmla="*/ 5565857 w 11269336"/>
              <a:gd name="connsiteY124" fmla="*/ 1942445 h 2323145"/>
              <a:gd name="connsiteX125" fmla="*/ 5531534 w 11269336"/>
              <a:gd name="connsiteY125" fmla="*/ 1955208 h 2323145"/>
              <a:gd name="connsiteX126" fmla="*/ 5526552 w 11269336"/>
              <a:gd name="connsiteY126" fmla="*/ 1954799 h 2323145"/>
              <a:gd name="connsiteX127" fmla="*/ 5504723 w 11269336"/>
              <a:gd name="connsiteY127" fmla="*/ 1965811 h 2323145"/>
              <a:gd name="connsiteX128" fmla="*/ 5493156 w 11269336"/>
              <a:gd name="connsiteY128" fmla="*/ 1970063 h 2323145"/>
              <a:gd name="connsiteX129" fmla="*/ 5490486 w 11269336"/>
              <a:gd name="connsiteY129" fmla="*/ 1974227 h 2323145"/>
              <a:gd name="connsiteX130" fmla="*/ 5473107 w 11269336"/>
              <a:gd name="connsiteY130" fmla="*/ 1979001 h 2323145"/>
              <a:gd name="connsiteX131" fmla="*/ 5470885 w 11269336"/>
              <a:gd name="connsiteY131" fmla="*/ 1978432 h 2323145"/>
              <a:gd name="connsiteX132" fmla="*/ 5457393 w 11269336"/>
              <a:gd name="connsiteY132" fmla="*/ 1986525 h 2323145"/>
              <a:gd name="connsiteX133" fmla="*/ 5447102 w 11269336"/>
              <a:gd name="connsiteY133" fmla="*/ 1998329 h 2323145"/>
              <a:gd name="connsiteX134" fmla="*/ 5159151 w 11269336"/>
              <a:gd name="connsiteY134" fmla="*/ 2029640 h 2323145"/>
              <a:gd name="connsiteX135" fmla="*/ 5041688 w 11269336"/>
              <a:gd name="connsiteY135" fmla="*/ 2022334 h 2323145"/>
              <a:gd name="connsiteX136" fmla="*/ 4860988 w 11269336"/>
              <a:gd name="connsiteY136" fmla="*/ 2135698 h 2323145"/>
              <a:gd name="connsiteX137" fmla="*/ 4807902 w 11269336"/>
              <a:gd name="connsiteY137" fmla="*/ 2138894 h 2323145"/>
              <a:gd name="connsiteX138" fmla="*/ 4765388 w 11269336"/>
              <a:gd name="connsiteY138" fmla="*/ 2162525 h 2323145"/>
              <a:gd name="connsiteX139" fmla="*/ 4745033 w 11269336"/>
              <a:gd name="connsiteY139" fmla="*/ 2158859 h 2323145"/>
              <a:gd name="connsiteX140" fmla="*/ 4741475 w 11269336"/>
              <a:gd name="connsiteY140" fmla="*/ 2157998 h 2323145"/>
              <a:gd name="connsiteX141" fmla="*/ 4728247 w 11269336"/>
              <a:gd name="connsiteY141" fmla="*/ 2159526 h 2323145"/>
              <a:gd name="connsiteX142" fmla="*/ 4723263 w 11269336"/>
              <a:gd name="connsiteY142" fmla="*/ 2153742 h 2323145"/>
              <a:gd name="connsiteX143" fmla="*/ 4702453 w 11269336"/>
              <a:gd name="connsiteY143" fmla="*/ 2151586 h 2323145"/>
              <a:gd name="connsiteX144" fmla="*/ 4678455 w 11269336"/>
              <a:gd name="connsiteY144" fmla="*/ 2156131 h 2323145"/>
              <a:gd name="connsiteX145" fmla="*/ 4593061 w 11269336"/>
              <a:gd name="connsiteY145" fmla="*/ 2171597 h 2323145"/>
              <a:gd name="connsiteX146" fmla="*/ 4579902 w 11269336"/>
              <a:gd name="connsiteY146" fmla="*/ 2177927 h 2323145"/>
              <a:gd name="connsiteX147" fmla="*/ 4533444 w 11269336"/>
              <a:gd name="connsiteY147" fmla="*/ 2181200 h 2323145"/>
              <a:gd name="connsiteX148" fmla="*/ 4492832 w 11269336"/>
              <a:gd name="connsiteY148" fmla="*/ 2188033 h 2323145"/>
              <a:gd name="connsiteX149" fmla="*/ 4467257 w 11269336"/>
              <a:gd name="connsiteY149" fmla="*/ 2196121 h 2323145"/>
              <a:gd name="connsiteX150" fmla="*/ 4459937 w 11269336"/>
              <a:gd name="connsiteY150" fmla="*/ 2195182 h 2323145"/>
              <a:gd name="connsiteX151" fmla="*/ 4433312 w 11269336"/>
              <a:gd name="connsiteY151" fmla="*/ 2199004 h 2323145"/>
              <a:gd name="connsiteX152" fmla="*/ 4420601 w 11269336"/>
              <a:gd name="connsiteY152" fmla="*/ 2205158 h 2323145"/>
              <a:gd name="connsiteX153" fmla="*/ 4405765 w 11269336"/>
              <a:gd name="connsiteY153" fmla="*/ 2199902 h 2323145"/>
              <a:gd name="connsiteX154" fmla="*/ 4401354 w 11269336"/>
              <a:gd name="connsiteY154" fmla="*/ 2194745 h 2323145"/>
              <a:gd name="connsiteX155" fmla="*/ 4383151 w 11269336"/>
              <a:gd name="connsiteY155" fmla="*/ 2201140 h 2323145"/>
              <a:gd name="connsiteX156" fmla="*/ 4366646 w 11269336"/>
              <a:gd name="connsiteY156" fmla="*/ 2198564 h 2323145"/>
              <a:gd name="connsiteX157" fmla="*/ 4354009 w 11269336"/>
              <a:gd name="connsiteY157" fmla="*/ 2204984 h 2323145"/>
              <a:gd name="connsiteX158" fmla="*/ 4348284 w 11269336"/>
              <a:gd name="connsiteY158" fmla="*/ 2205270 h 2323145"/>
              <a:gd name="connsiteX159" fmla="*/ 4333906 w 11269336"/>
              <a:gd name="connsiteY159" fmla="*/ 2205251 h 2323145"/>
              <a:gd name="connsiteX160" fmla="*/ 4308819 w 11269336"/>
              <a:gd name="connsiteY160" fmla="*/ 2203822 h 2323145"/>
              <a:gd name="connsiteX161" fmla="*/ 4301210 w 11269336"/>
              <a:gd name="connsiteY161" fmla="*/ 2204456 h 2323145"/>
              <a:gd name="connsiteX162" fmla="*/ 4283095 w 11269336"/>
              <a:gd name="connsiteY162" fmla="*/ 2198177 h 2323145"/>
              <a:gd name="connsiteX163" fmla="*/ 4250119 w 11269336"/>
              <a:gd name="connsiteY163" fmla="*/ 2196342 h 2323145"/>
              <a:gd name="connsiteX164" fmla="*/ 4189203 w 11269336"/>
              <a:gd name="connsiteY164" fmla="*/ 2178994 h 2323145"/>
              <a:gd name="connsiteX165" fmla="*/ 4154035 w 11269336"/>
              <a:gd name="connsiteY165" fmla="*/ 2171950 h 2323145"/>
              <a:gd name="connsiteX166" fmla="*/ 4129569 w 11269336"/>
              <a:gd name="connsiteY166" fmla="*/ 2163850 h 2323145"/>
              <a:gd name="connsiteX167" fmla="*/ 4061250 w 11269336"/>
              <a:gd name="connsiteY167" fmla="*/ 2159236 h 2323145"/>
              <a:gd name="connsiteX168" fmla="*/ 3945480 w 11269336"/>
              <a:gd name="connsiteY168" fmla="*/ 2158279 h 2323145"/>
              <a:gd name="connsiteX169" fmla="*/ 3921468 w 11269336"/>
              <a:gd name="connsiteY169" fmla="*/ 2156588 h 2323145"/>
              <a:gd name="connsiteX170" fmla="*/ 3903348 w 11269336"/>
              <a:gd name="connsiteY170" fmla="*/ 2149220 h 2323145"/>
              <a:gd name="connsiteX171" fmla="*/ 3901342 w 11269336"/>
              <a:gd name="connsiteY171" fmla="*/ 2142355 h 2323145"/>
              <a:gd name="connsiteX172" fmla="*/ 3888539 w 11269336"/>
              <a:gd name="connsiteY172" fmla="*/ 2140476 h 2323145"/>
              <a:gd name="connsiteX173" fmla="*/ 3885662 w 11269336"/>
              <a:gd name="connsiteY173" fmla="*/ 2138740 h 2323145"/>
              <a:gd name="connsiteX174" fmla="*/ 3868627 w 11269336"/>
              <a:gd name="connsiteY174" fmla="*/ 2130023 h 2323145"/>
              <a:gd name="connsiteX175" fmla="*/ 3819177 w 11269336"/>
              <a:gd name="connsiteY175" fmla="*/ 2142111 h 2323145"/>
              <a:gd name="connsiteX176" fmla="*/ 3769100 w 11269336"/>
              <a:gd name="connsiteY176" fmla="*/ 2131731 h 2323145"/>
              <a:gd name="connsiteX177" fmla="*/ 3562752 w 11269336"/>
              <a:gd name="connsiteY177" fmla="*/ 2131785 h 2323145"/>
              <a:gd name="connsiteX178" fmla="*/ 3541402 w 11269336"/>
              <a:gd name="connsiteY178" fmla="*/ 2106821 h 2323145"/>
              <a:gd name="connsiteX179" fmla="*/ 3365341 w 11269336"/>
              <a:gd name="connsiteY179" fmla="*/ 2077638 h 2323145"/>
              <a:gd name="connsiteX180" fmla="*/ 3170922 w 11269336"/>
              <a:gd name="connsiteY180" fmla="*/ 2115957 h 2323145"/>
              <a:gd name="connsiteX181" fmla="*/ 3156256 w 11269336"/>
              <a:gd name="connsiteY181" fmla="*/ 2124773 h 2323145"/>
              <a:gd name="connsiteX182" fmla="*/ 3140298 w 11269336"/>
              <a:gd name="connsiteY182" fmla="*/ 2129182 h 2323145"/>
              <a:gd name="connsiteX183" fmla="*/ 3138514 w 11269336"/>
              <a:gd name="connsiteY183" fmla="*/ 2128069 h 2323145"/>
              <a:gd name="connsiteX184" fmla="*/ 3120467 w 11269336"/>
              <a:gd name="connsiteY184" fmla="*/ 2128281 h 2323145"/>
              <a:gd name="connsiteX185" fmla="*/ 3116175 w 11269336"/>
              <a:gd name="connsiteY185" fmla="*/ 2131633 h 2323145"/>
              <a:gd name="connsiteX186" fmla="*/ 3103685 w 11269336"/>
              <a:gd name="connsiteY186" fmla="*/ 2132814 h 2323145"/>
              <a:gd name="connsiteX187" fmla="*/ 3078794 w 11269336"/>
              <a:gd name="connsiteY187" fmla="*/ 2137935 h 2323145"/>
              <a:gd name="connsiteX188" fmla="*/ 3074407 w 11269336"/>
              <a:gd name="connsiteY188" fmla="*/ 2136274 h 2323145"/>
              <a:gd name="connsiteX189" fmla="*/ 3037285 w 11269336"/>
              <a:gd name="connsiteY189" fmla="*/ 2139919 h 2323145"/>
              <a:gd name="connsiteX190" fmla="*/ 3036901 w 11269336"/>
              <a:gd name="connsiteY190" fmla="*/ 2138726 h 2323145"/>
              <a:gd name="connsiteX191" fmla="*/ 3026996 w 11269336"/>
              <a:gd name="connsiteY191" fmla="*/ 2134322 h 2323145"/>
              <a:gd name="connsiteX192" fmla="*/ 3007772 w 11269336"/>
              <a:gd name="connsiteY192" fmla="*/ 2128742 h 2323145"/>
              <a:gd name="connsiteX193" fmla="*/ 2965030 w 11269336"/>
              <a:gd name="connsiteY193" fmla="*/ 2100494 h 2323145"/>
              <a:gd name="connsiteX194" fmla="*/ 2926342 w 11269336"/>
              <a:gd name="connsiteY194" fmla="*/ 2104155 h 2323145"/>
              <a:gd name="connsiteX195" fmla="*/ 2918608 w 11269336"/>
              <a:gd name="connsiteY195" fmla="*/ 2104215 h 2323145"/>
              <a:gd name="connsiteX196" fmla="*/ 2918475 w 11269336"/>
              <a:gd name="connsiteY196" fmla="*/ 2103937 h 2323145"/>
              <a:gd name="connsiteX197" fmla="*/ 2910360 w 11269336"/>
              <a:gd name="connsiteY197" fmla="*/ 2103444 h 2323145"/>
              <a:gd name="connsiteX198" fmla="*/ 2904507 w 11269336"/>
              <a:gd name="connsiteY198" fmla="*/ 2104326 h 2323145"/>
              <a:gd name="connsiteX199" fmla="*/ 2889503 w 11269336"/>
              <a:gd name="connsiteY199" fmla="*/ 2104443 h 2323145"/>
              <a:gd name="connsiteX200" fmla="*/ 2884480 w 11269336"/>
              <a:gd name="connsiteY200" fmla="*/ 2102626 h 2323145"/>
              <a:gd name="connsiteX201" fmla="*/ 2882689 w 11269336"/>
              <a:gd name="connsiteY201" fmla="*/ 2099228 h 2323145"/>
              <a:gd name="connsiteX202" fmla="*/ 2881291 w 11269336"/>
              <a:gd name="connsiteY202" fmla="*/ 2099618 h 2323145"/>
              <a:gd name="connsiteX203" fmla="*/ 2853979 w 11269336"/>
              <a:gd name="connsiteY203" fmla="*/ 2090388 h 2323145"/>
              <a:gd name="connsiteX204" fmla="*/ 2791790 w 11269336"/>
              <a:gd name="connsiteY204" fmla="*/ 2080332 h 2323145"/>
              <a:gd name="connsiteX205" fmla="*/ 2755844 w 11269336"/>
              <a:gd name="connsiteY205" fmla="*/ 2078874 h 2323145"/>
              <a:gd name="connsiteX206" fmla="*/ 2657742 w 11269336"/>
              <a:gd name="connsiteY206" fmla="*/ 2070179 h 2323145"/>
              <a:gd name="connsiteX207" fmla="*/ 2559549 w 11269336"/>
              <a:gd name="connsiteY207" fmla="*/ 2057873 h 2323145"/>
              <a:gd name="connsiteX208" fmla="*/ 2512054 w 11269336"/>
              <a:gd name="connsiteY208" fmla="*/ 2031671 h 2323145"/>
              <a:gd name="connsiteX209" fmla="*/ 2506437 w 11269336"/>
              <a:gd name="connsiteY209" fmla="*/ 2030918 h 2323145"/>
              <a:gd name="connsiteX210" fmla="*/ 2491752 w 11269336"/>
              <a:gd name="connsiteY210" fmla="*/ 2033906 h 2323145"/>
              <a:gd name="connsiteX211" fmla="*/ 2486338 w 11269336"/>
              <a:gd name="connsiteY211" fmla="*/ 2035862 h 2323145"/>
              <a:gd name="connsiteX212" fmla="*/ 2478186 w 11269336"/>
              <a:gd name="connsiteY212" fmla="*/ 2036953 h 2323145"/>
              <a:gd name="connsiteX213" fmla="*/ 2477950 w 11269336"/>
              <a:gd name="connsiteY213" fmla="*/ 2036715 h 2323145"/>
              <a:gd name="connsiteX214" fmla="*/ 2470381 w 11269336"/>
              <a:gd name="connsiteY214" fmla="*/ 2038256 h 2323145"/>
              <a:gd name="connsiteX215" fmla="*/ 2433781 w 11269336"/>
              <a:gd name="connsiteY215" fmla="*/ 2049140 h 2323145"/>
              <a:gd name="connsiteX216" fmla="*/ 2381172 w 11269336"/>
              <a:gd name="connsiteY216" fmla="*/ 2030645 h 2323145"/>
              <a:gd name="connsiteX217" fmla="*/ 2360198 w 11269336"/>
              <a:gd name="connsiteY217" fmla="*/ 2029059 h 2323145"/>
              <a:gd name="connsiteX218" fmla="*/ 2348815 w 11269336"/>
              <a:gd name="connsiteY218" fmla="*/ 2026798 h 2323145"/>
              <a:gd name="connsiteX219" fmla="*/ 2347988 w 11269336"/>
              <a:gd name="connsiteY219" fmla="*/ 2025745 h 2323145"/>
              <a:gd name="connsiteX220" fmla="*/ 2312920 w 11269336"/>
              <a:gd name="connsiteY220" fmla="*/ 2036311 h 2323145"/>
              <a:gd name="connsiteX221" fmla="*/ 2307986 w 11269336"/>
              <a:gd name="connsiteY221" fmla="*/ 2035583 h 2323145"/>
              <a:gd name="connsiteX222" fmla="*/ 2285481 w 11269336"/>
              <a:gd name="connsiteY222" fmla="*/ 2045197 h 2323145"/>
              <a:gd name="connsiteX223" fmla="*/ 2273666 w 11269336"/>
              <a:gd name="connsiteY223" fmla="*/ 2048710 h 2323145"/>
              <a:gd name="connsiteX224" fmla="*/ 2270719 w 11269336"/>
              <a:gd name="connsiteY224" fmla="*/ 2052702 h 2323145"/>
              <a:gd name="connsiteX225" fmla="*/ 2253080 w 11269336"/>
              <a:gd name="connsiteY225" fmla="*/ 2056363 h 2323145"/>
              <a:gd name="connsiteX226" fmla="*/ 2250906 w 11269336"/>
              <a:gd name="connsiteY226" fmla="*/ 2055654 h 2323145"/>
              <a:gd name="connsiteX227" fmla="*/ 2236905 w 11269336"/>
              <a:gd name="connsiteY227" fmla="*/ 2062882 h 2323145"/>
              <a:gd name="connsiteX228" fmla="*/ 2225830 w 11269336"/>
              <a:gd name="connsiteY228" fmla="*/ 2074027 h 2323145"/>
              <a:gd name="connsiteX229" fmla="*/ 2073776 w 11269336"/>
              <a:gd name="connsiteY229" fmla="*/ 2089244 h 2323145"/>
              <a:gd name="connsiteX230" fmla="*/ 1948256 w 11269336"/>
              <a:gd name="connsiteY230" fmla="*/ 2146616 h 2323145"/>
              <a:gd name="connsiteX231" fmla="*/ 1865582 w 11269336"/>
              <a:gd name="connsiteY231" fmla="*/ 2153738 h 2323145"/>
              <a:gd name="connsiteX232" fmla="*/ 1835210 w 11269336"/>
              <a:gd name="connsiteY232" fmla="*/ 2134244 h 2323145"/>
              <a:gd name="connsiteX233" fmla="*/ 1632661 w 11269336"/>
              <a:gd name="connsiteY233" fmla="*/ 2173882 h 2323145"/>
              <a:gd name="connsiteX234" fmla="*/ 1579590 w 11269336"/>
              <a:gd name="connsiteY234" fmla="*/ 2173680 h 2323145"/>
              <a:gd name="connsiteX235" fmla="*/ 1535601 w 11269336"/>
              <a:gd name="connsiteY235" fmla="*/ 2194590 h 2323145"/>
              <a:gd name="connsiteX236" fmla="*/ 1515594 w 11269336"/>
              <a:gd name="connsiteY236" fmla="*/ 2189622 h 2323145"/>
              <a:gd name="connsiteX237" fmla="*/ 1512113 w 11269336"/>
              <a:gd name="connsiteY237" fmla="*/ 2188534 h 2323145"/>
              <a:gd name="connsiteX238" fmla="*/ 1498838 w 11269336"/>
              <a:gd name="connsiteY238" fmla="*/ 2189213 h 2323145"/>
              <a:gd name="connsiteX239" fmla="*/ 1494279 w 11269336"/>
              <a:gd name="connsiteY239" fmla="*/ 2183112 h 2323145"/>
              <a:gd name="connsiteX240" fmla="*/ 1473714 w 11269336"/>
              <a:gd name="connsiteY240" fmla="*/ 2179625 h 2323145"/>
              <a:gd name="connsiteX241" fmla="*/ 1449503 w 11269336"/>
              <a:gd name="connsiteY241" fmla="*/ 2182633 h 2323145"/>
              <a:gd name="connsiteX242" fmla="*/ 1266687 w 11269336"/>
              <a:gd name="connsiteY242" fmla="*/ 2212688 h 2323145"/>
              <a:gd name="connsiteX243" fmla="*/ 1239614 w 11269336"/>
              <a:gd name="connsiteY243" fmla="*/ 2209727 h 2323145"/>
              <a:gd name="connsiteX244" fmla="*/ 1202436 w 11269336"/>
              <a:gd name="connsiteY244" fmla="*/ 2209817 h 2323145"/>
              <a:gd name="connsiteX245" fmla="*/ 1136097 w 11269336"/>
              <a:gd name="connsiteY245" fmla="*/ 2205112 h 2323145"/>
              <a:gd name="connsiteX246" fmla="*/ 988232 w 11269336"/>
              <a:gd name="connsiteY246" fmla="*/ 2235635 h 2323145"/>
              <a:gd name="connsiteX247" fmla="*/ 981959 w 11269336"/>
              <a:gd name="connsiteY247" fmla="*/ 2231607 h 2323145"/>
              <a:gd name="connsiteX248" fmla="*/ 938600 w 11269336"/>
              <a:gd name="connsiteY248" fmla="*/ 2238113 h 2323145"/>
              <a:gd name="connsiteX249" fmla="*/ 791788 w 11269336"/>
              <a:gd name="connsiteY249" fmla="*/ 2293224 h 2323145"/>
              <a:gd name="connsiteX250" fmla="*/ 706914 w 11269336"/>
              <a:gd name="connsiteY250" fmla="*/ 2305046 h 2323145"/>
              <a:gd name="connsiteX251" fmla="*/ 675971 w 11269336"/>
              <a:gd name="connsiteY251" fmla="*/ 2304030 h 2323145"/>
              <a:gd name="connsiteX252" fmla="*/ 624180 w 11269336"/>
              <a:gd name="connsiteY252" fmla="*/ 2302650 h 2323145"/>
              <a:gd name="connsiteX253" fmla="*/ 583453 w 11269336"/>
              <a:gd name="connsiteY253" fmla="*/ 2288788 h 2323145"/>
              <a:gd name="connsiteX254" fmla="*/ 540946 w 11269336"/>
              <a:gd name="connsiteY254" fmla="*/ 2292721 h 2323145"/>
              <a:gd name="connsiteX255" fmla="*/ 533680 w 11269336"/>
              <a:gd name="connsiteY255" fmla="*/ 2310233 h 2323145"/>
              <a:gd name="connsiteX256" fmla="*/ 487366 w 11269336"/>
              <a:gd name="connsiteY256" fmla="*/ 2309053 h 2323145"/>
              <a:gd name="connsiteX257" fmla="*/ 416820 w 11269336"/>
              <a:gd name="connsiteY257" fmla="*/ 2305443 h 2323145"/>
              <a:gd name="connsiteX258" fmla="*/ 376805 w 11269336"/>
              <a:gd name="connsiteY258" fmla="*/ 2307647 h 2323145"/>
              <a:gd name="connsiteX259" fmla="*/ 266777 w 11269336"/>
              <a:gd name="connsiteY259" fmla="*/ 2309012 h 2323145"/>
              <a:gd name="connsiteX260" fmla="*/ 156013 w 11269336"/>
              <a:gd name="connsiteY260" fmla="*/ 2306832 h 2323145"/>
              <a:gd name="connsiteX261" fmla="*/ 87258 w 11269336"/>
              <a:gd name="connsiteY261" fmla="*/ 2285511 h 2323145"/>
              <a:gd name="connsiteX262" fmla="*/ 23798 w 11269336"/>
              <a:gd name="connsiteY262" fmla="*/ 2281822 h 2323145"/>
              <a:gd name="connsiteX263" fmla="*/ 0 w 11269336"/>
              <a:gd name="connsiteY263" fmla="*/ 2285369 h 2323145"/>
              <a:gd name="connsiteX264" fmla="*/ 0 w 11269336"/>
              <a:gd name="connsiteY264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8914746 w 11269336"/>
              <a:gd name="connsiteY23" fmla="*/ 826428 h 2323145"/>
              <a:gd name="connsiteX24" fmla="*/ 8917778 w 11269336"/>
              <a:gd name="connsiteY24" fmla="*/ 835198 h 2323145"/>
              <a:gd name="connsiteX25" fmla="*/ 8905560 w 11269336"/>
              <a:gd name="connsiteY25" fmla="*/ 838358 h 2323145"/>
              <a:gd name="connsiteX26" fmla="*/ 8897564 w 11269336"/>
              <a:gd name="connsiteY26" fmla="*/ 834287 h 2323145"/>
              <a:gd name="connsiteX27" fmla="*/ 8878040 w 11269336"/>
              <a:gd name="connsiteY27" fmla="*/ 844150 h 2323145"/>
              <a:gd name="connsiteX28" fmla="*/ 8795998 w 11269336"/>
              <a:gd name="connsiteY28" fmla="*/ 863337 h 2323145"/>
              <a:gd name="connsiteX29" fmla="*/ 8776970 w 11269336"/>
              <a:gd name="connsiteY29" fmla="*/ 885177 h 2323145"/>
              <a:gd name="connsiteX30" fmla="*/ 8755719 w 11269336"/>
              <a:gd name="connsiteY30" fmla="*/ 889754 h 2323145"/>
              <a:gd name="connsiteX31" fmla="*/ 8743257 w 11269336"/>
              <a:gd name="connsiteY31" fmla="*/ 904723 h 2323145"/>
              <a:gd name="connsiteX32" fmla="*/ 8721366 w 11269336"/>
              <a:gd name="connsiteY32" fmla="*/ 904711 h 2323145"/>
              <a:gd name="connsiteX33" fmla="*/ 8678353 w 11269336"/>
              <a:gd name="connsiteY33" fmla="*/ 926318 h 2323145"/>
              <a:gd name="connsiteX34" fmla="*/ 8636849 w 11269336"/>
              <a:gd name="connsiteY34" fmla="*/ 937900 h 2323145"/>
              <a:gd name="connsiteX35" fmla="*/ 8620213 w 11269336"/>
              <a:gd name="connsiteY35" fmla="*/ 943068 h 2323145"/>
              <a:gd name="connsiteX36" fmla="*/ 8612581 w 11269336"/>
              <a:gd name="connsiteY36" fmla="*/ 952695 h 2323145"/>
              <a:gd name="connsiteX37" fmla="*/ 8589038 w 11269336"/>
              <a:gd name="connsiteY37" fmla="*/ 963892 h 2323145"/>
              <a:gd name="connsiteX38" fmla="*/ 8579950 w 11269336"/>
              <a:gd name="connsiteY38" fmla="*/ 960899 h 2323145"/>
              <a:gd name="connsiteX39" fmla="*/ 8579319 w 11269336"/>
              <a:gd name="connsiteY39" fmla="*/ 965630 h 2323145"/>
              <a:gd name="connsiteX40" fmla="*/ 8547429 w 11269336"/>
              <a:gd name="connsiteY40" fmla="*/ 984506 h 2323145"/>
              <a:gd name="connsiteX41" fmla="*/ 8478704 w 11269336"/>
              <a:gd name="connsiteY41" fmla="*/ 1025490 h 2323145"/>
              <a:gd name="connsiteX42" fmla="*/ 8461421 w 11269336"/>
              <a:gd name="connsiteY42" fmla="*/ 1035512 h 2323145"/>
              <a:gd name="connsiteX43" fmla="*/ 8445003 w 11269336"/>
              <a:gd name="connsiteY43" fmla="*/ 1036851 h 2323145"/>
              <a:gd name="connsiteX44" fmla="*/ 8357350 w 11269336"/>
              <a:gd name="connsiteY44" fmla="*/ 1060213 h 2323145"/>
              <a:gd name="connsiteX45" fmla="*/ 8335565 w 11269336"/>
              <a:gd name="connsiteY45" fmla="*/ 1061151 h 2323145"/>
              <a:gd name="connsiteX46" fmla="*/ 8325267 w 11269336"/>
              <a:gd name="connsiteY46" fmla="*/ 1055919 h 2323145"/>
              <a:gd name="connsiteX47" fmla="*/ 8293586 w 11269336"/>
              <a:gd name="connsiteY47" fmla="*/ 1076144 h 2323145"/>
              <a:gd name="connsiteX48" fmla="*/ 8242405 w 11269336"/>
              <a:gd name="connsiteY48" fmla="*/ 1095960 h 2323145"/>
              <a:gd name="connsiteX49" fmla="*/ 8197391 w 11269336"/>
              <a:gd name="connsiteY49" fmla="*/ 1107746 h 2323145"/>
              <a:gd name="connsiteX50" fmla="*/ 8081474 w 11269336"/>
              <a:gd name="connsiteY50" fmla="*/ 1130125 h 2323145"/>
              <a:gd name="connsiteX51" fmla="*/ 8053585 w 11269336"/>
              <a:gd name="connsiteY51" fmla="*/ 1129169 h 2323145"/>
              <a:gd name="connsiteX52" fmla="*/ 8038422 w 11269336"/>
              <a:gd name="connsiteY52" fmla="*/ 1119092 h 2323145"/>
              <a:gd name="connsiteX53" fmla="*/ 8029450 w 11269336"/>
              <a:gd name="connsiteY53" fmla="*/ 1125592 h 2323145"/>
              <a:gd name="connsiteX54" fmla="*/ 7959552 w 11269336"/>
              <a:gd name="connsiteY54" fmla="*/ 1140188 h 2323145"/>
              <a:gd name="connsiteX55" fmla="*/ 7914188 w 11269336"/>
              <a:gd name="connsiteY55" fmla="*/ 1150862 h 2323145"/>
              <a:gd name="connsiteX56" fmla="*/ 7914918 w 11269336"/>
              <a:gd name="connsiteY56" fmla="*/ 1168758 h 2323145"/>
              <a:gd name="connsiteX57" fmla="*/ 7875510 w 11269336"/>
              <a:gd name="connsiteY57" fmla="*/ 1183153 h 2323145"/>
              <a:gd name="connsiteX58" fmla="*/ 7829932 w 11269336"/>
              <a:gd name="connsiteY58" fmla="*/ 1180782 h 2323145"/>
              <a:gd name="connsiteX59" fmla="*/ 7779182 w 11269336"/>
              <a:gd name="connsiteY59" fmla="*/ 1192665 h 2323145"/>
              <a:gd name="connsiteX60" fmla="*/ 7748774 w 11269336"/>
              <a:gd name="connsiteY60" fmla="*/ 1199586 h 2323145"/>
              <a:gd name="connsiteX61" fmla="*/ 7671846 w 11269336"/>
              <a:gd name="connsiteY61" fmla="*/ 1231966 h 2323145"/>
              <a:gd name="connsiteX62" fmla="*/ 7554146 w 11269336"/>
              <a:gd name="connsiteY62" fmla="*/ 1319748 h 2323145"/>
              <a:gd name="connsiteX63" fmla="*/ 7515052 w 11269336"/>
              <a:gd name="connsiteY63" fmla="*/ 1336718 h 2323145"/>
              <a:gd name="connsiteX64" fmla="*/ 7507193 w 11269336"/>
              <a:gd name="connsiteY64" fmla="*/ 1334617 h 2323145"/>
              <a:gd name="connsiteX65" fmla="*/ 7461694 w 11269336"/>
              <a:gd name="connsiteY65" fmla="*/ 1375866 h 2323145"/>
              <a:gd name="connsiteX66" fmla="*/ 7377571 w 11269336"/>
              <a:gd name="connsiteY66" fmla="*/ 1400128 h 2323145"/>
              <a:gd name="connsiteX67" fmla="*/ 7311261 w 11269336"/>
              <a:gd name="connsiteY67" fmla="*/ 1412652 h 2323145"/>
              <a:gd name="connsiteX68" fmla="*/ 7275307 w 11269336"/>
              <a:gd name="connsiteY68" fmla="*/ 1422171 h 2323145"/>
              <a:gd name="connsiteX69" fmla="*/ 7247783 w 11269336"/>
              <a:gd name="connsiteY69" fmla="*/ 1426330 h 2323145"/>
              <a:gd name="connsiteX70" fmla="*/ 7185047 w 11269336"/>
              <a:gd name="connsiteY70" fmla="*/ 1451812 h 2323145"/>
              <a:gd name="connsiteX71" fmla="*/ 7084117 w 11269336"/>
              <a:gd name="connsiteY71" fmla="*/ 1500281 h 2323145"/>
              <a:gd name="connsiteX72" fmla="*/ 7062011 w 11269336"/>
              <a:gd name="connsiteY72" fmla="*/ 1509183 h 2323145"/>
              <a:gd name="connsiteX73" fmla="*/ 7040555 w 11269336"/>
              <a:gd name="connsiteY73" fmla="*/ 1511207 h 2323145"/>
              <a:gd name="connsiteX74" fmla="*/ 7033438 w 11269336"/>
              <a:gd name="connsiteY74" fmla="*/ 1506772 h 2323145"/>
              <a:gd name="connsiteX75" fmla="*/ 7020886 w 11269336"/>
              <a:gd name="connsiteY75" fmla="*/ 1510764 h 2323145"/>
              <a:gd name="connsiteX76" fmla="*/ 7017033 w 11269336"/>
              <a:gd name="connsiteY76" fmla="*/ 1510650 h 2323145"/>
              <a:gd name="connsiteX77" fmla="*/ 6995460 w 11269336"/>
              <a:gd name="connsiteY77" fmla="*/ 1511173 h 2323145"/>
              <a:gd name="connsiteX78" fmla="*/ 6962144 w 11269336"/>
              <a:gd name="connsiteY78" fmla="*/ 1541508 h 2323145"/>
              <a:gd name="connsiteX79" fmla="*/ 6910674 w 11269336"/>
              <a:gd name="connsiteY79" fmla="*/ 1554793 h 2323145"/>
              <a:gd name="connsiteX80" fmla="*/ 6732152 w 11269336"/>
              <a:gd name="connsiteY80" fmla="*/ 1642538 h 2323145"/>
              <a:gd name="connsiteX81" fmla="*/ 6694106 w 11269336"/>
              <a:gd name="connsiteY81" fmla="*/ 1632377 h 2323145"/>
              <a:gd name="connsiteX82" fmla="*/ 6617223 w 11269336"/>
              <a:gd name="connsiteY82" fmla="*/ 1659889 h 2323145"/>
              <a:gd name="connsiteX83" fmla="*/ 6521138 w 11269336"/>
              <a:gd name="connsiteY83" fmla="*/ 1744340 h 2323145"/>
              <a:gd name="connsiteX84" fmla="*/ 6380677 w 11269336"/>
              <a:gd name="connsiteY84" fmla="*/ 1796883 h 2323145"/>
              <a:gd name="connsiteX85" fmla="*/ 6374897 w 11269336"/>
              <a:gd name="connsiteY85" fmla="*/ 1809910 h 2323145"/>
              <a:gd name="connsiteX86" fmla="*/ 6364545 w 11269336"/>
              <a:gd name="connsiteY86" fmla="*/ 1820090 h 2323145"/>
              <a:gd name="connsiteX87" fmla="*/ 6362126 w 11269336"/>
              <a:gd name="connsiteY87" fmla="*/ 1819991 h 2323145"/>
              <a:gd name="connsiteX88" fmla="*/ 6346673 w 11269336"/>
              <a:gd name="connsiteY88" fmla="*/ 1827824 h 2323145"/>
              <a:gd name="connsiteX89" fmla="*/ 6345588 w 11269336"/>
              <a:gd name="connsiteY89" fmla="*/ 1832232 h 2323145"/>
              <a:gd name="connsiteX90" fmla="*/ 6335708 w 11269336"/>
              <a:gd name="connsiteY90" fmla="*/ 1838451 h 2323145"/>
              <a:gd name="connsiteX91" fmla="*/ 6318182 w 11269336"/>
              <a:gd name="connsiteY91" fmla="*/ 1852975 h 2323145"/>
              <a:gd name="connsiteX92" fmla="*/ 6313084 w 11269336"/>
              <a:gd name="connsiteY92" fmla="*/ 1853561 h 2323145"/>
              <a:gd name="connsiteX93" fmla="*/ 6283816 w 11269336"/>
              <a:gd name="connsiteY93" fmla="*/ 1872148 h 2323145"/>
              <a:gd name="connsiteX94" fmla="*/ 6282550 w 11269336"/>
              <a:gd name="connsiteY94" fmla="*/ 1871392 h 2323145"/>
              <a:gd name="connsiteX95" fmla="*/ 6270527 w 11269336"/>
              <a:gd name="connsiteY95" fmla="*/ 1872208 h 2323145"/>
              <a:gd name="connsiteX96" fmla="*/ 6249518 w 11269336"/>
              <a:gd name="connsiteY96" fmla="*/ 1876079 h 2323145"/>
              <a:gd name="connsiteX97" fmla="*/ 6190386 w 11269336"/>
              <a:gd name="connsiteY97" fmla="*/ 1872478 h 2323145"/>
              <a:gd name="connsiteX98" fmla="*/ 6159777 w 11269336"/>
              <a:gd name="connsiteY98" fmla="*/ 1891745 h 2323145"/>
              <a:gd name="connsiteX99" fmla="*/ 6153131 w 11269336"/>
              <a:gd name="connsiteY99" fmla="*/ 1895079 h 2323145"/>
              <a:gd name="connsiteX100" fmla="*/ 6152798 w 11269336"/>
              <a:gd name="connsiteY100" fmla="*/ 1894920 h 2323145"/>
              <a:gd name="connsiteX101" fmla="*/ 6145388 w 11269336"/>
              <a:gd name="connsiteY101" fmla="*/ 1897990 h 2323145"/>
              <a:gd name="connsiteX102" fmla="*/ 6141014 w 11269336"/>
              <a:gd name="connsiteY102" fmla="*/ 1901155 h 2323145"/>
              <a:gd name="connsiteX103" fmla="*/ 6128122 w 11269336"/>
              <a:gd name="connsiteY103" fmla="*/ 1907623 h 2323145"/>
              <a:gd name="connsiteX104" fmla="*/ 6122351 w 11269336"/>
              <a:gd name="connsiteY104" fmla="*/ 1908359 h 2323145"/>
              <a:gd name="connsiteX105" fmla="*/ 6064750 w 11269336"/>
              <a:gd name="connsiteY105" fmla="*/ 1896394 h 2323145"/>
              <a:gd name="connsiteX106" fmla="*/ 5964230 w 11269336"/>
              <a:gd name="connsiteY106" fmla="*/ 1910038 h 2323145"/>
              <a:gd name="connsiteX107" fmla="*/ 5865399 w 11269336"/>
              <a:gd name="connsiteY107" fmla="*/ 1926966 h 2323145"/>
              <a:gd name="connsiteX108" fmla="*/ 5829951 w 11269336"/>
              <a:gd name="connsiteY108" fmla="*/ 1934755 h 2323145"/>
              <a:gd name="connsiteX109" fmla="*/ 5765285 w 11269336"/>
              <a:gd name="connsiteY109" fmla="*/ 1941322 h 2323145"/>
              <a:gd name="connsiteX110" fmla="*/ 5734750 w 11269336"/>
              <a:gd name="connsiteY110" fmla="*/ 1939793 h 2323145"/>
              <a:gd name="connsiteX111" fmla="*/ 5733569 w 11269336"/>
              <a:gd name="connsiteY111" fmla="*/ 1940505 h 2323145"/>
              <a:gd name="connsiteX112" fmla="*/ 5730329 w 11269336"/>
              <a:gd name="connsiteY112" fmla="*/ 1937845 h 2323145"/>
              <a:gd name="connsiteX113" fmla="*/ 5724661 w 11269336"/>
              <a:gd name="connsiteY113" fmla="*/ 1937455 h 2323145"/>
              <a:gd name="connsiteX114" fmla="*/ 5710186 w 11269336"/>
              <a:gd name="connsiteY114" fmla="*/ 1941370 h 2323145"/>
              <a:gd name="connsiteX115" fmla="*/ 5704910 w 11269336"/>
              <a:gd name="connsiteY115" fmla="*/ 1943663 h 2323145"/>
              <a:gd name="connsiteX116" fmla="*/ 5696836 w 11269336"/>
              <a:gd name="connsiteY116" fmla="*/ 1945271 h 2323145"/>
              <a:gd name="connsiteX117" fmla="*/ 5696583 w 11269336"/>
              <a:gd name="connsiteY117" fmla="*/ 1945050 h 2323145"/>
              <a:gd name="connsiteX118" fmla="*/ 5689123 w 11269336"/>
              <a:gd name="connsiteY118" fmla="*/ 1947067 h 2323145"/>
              <a:gd name="connsiteX119" fmla="*/ 5653291 w 11269336"/>
              <a:gd name="connsiteY119" fmla="*/ 1960245 h 2323145"/>
              <a:gd name="connsiteX120" fmla="*/ 5599385 w 11269336"/>
              <a:gd name="connsiteY120" fmla="*/ 1945198 h 2323145"/>
              <a:gd name="connsiteX121" fmla="*/ 5578300 w 11269336"/>
              <a:gd name="connsiteY121" fmla="*/ 1944963 h 2323145"/>
              <a:gd name="connsiteX122" fmla="*/ 5566758 w 11269336"/>
              <a:gd name="connsiteY122" fmla="*/ 1943441 h 2323145"/>
              <a:gd name="connsiteX123" fmla="*/ 5565857 w 11269336"/>
              <a:gd name="connsiteY123" fmla="*/ 1942445 h 2323145"/>
              <a:gd name="connsiteX124" fmla="*/ 5531534 w 11269336"/>
              <a:gd name="connsiteY124" fmla="*/ 1955208 h 2323145"/>
              <a:gd name="connsiteX125" fmla="*/ 5526552 w 11269336"/>
              <a:gd name="connsiteY125" fmla="*/ 1954799 h 2323145"/>
              <a:gd name="connsiteX126" fmla="*/ 5504723 w 11269336"/>
              <a:gd name="connsiteY126" fmla="*/ 1965811 h 2323145"/>
              <a:gd name="connsiteX127" fmla="*/ 5493156 w 11269336"/>
              <a:gd name="connsiteY127" fmla="*/ 1970063 h 2323145"/>
              <a:gd name="connsiteX128" fmla="*/ 5490486 w 11269336"/>
              <a:gd name="connsiteY128" fmla="*/ 1974227 h 2323145"/>
              <a:gd name="connsiteX129" fmla="*/ 5473107 w 11269336"/>
              <a:gd name="connsiteY129" fmla="*/ 1979001 h 2323145"/>
              <a:gd name="connsiteX130" fmla="*/ 5470885 w 11269336"/>
              <a:gd name="connsiteY130" fmla="*/ 1978432 h 2323145"/>
              <a:gd name="connsiteX131" fmla="*/ 5457393 w 11269336"/>
              <a:gd name="connsiteY131" fmla="*/ 1986525 h 2323145"/>
              <a:gd name="connsiteX132" fmla="*/ 5447102 w 11269336"/>
              <a:gd name="connsiteY132" fmla="*/ 1998329 h 2323145"/>
              <a:gd name="connsiteX133" fmla="*/ 5159151 w 11269336"/>
              <a:gd name="connsiteY133" fmla="*/ 2029640 h 2323145"/>
              <a:gd name="connsiteX134" fmla="*/ 5041688 w 11269336"/>
              <a:gd name="connsiteY134" fmla="*/ 2022334 h 2323145"/>
              <a:gd name="connsiteX135" fmla="*/ 4860988 w 11269336"/>
              <a:gd name="connsiteY135" fmla="*/ 2135698 h 2323145"/>
              <a:gd name="connsiteX136" fmla="*/ 4807902 w 11269336"/>
              <a:gd name="connsiteY136" fmla="*/ 2138894 h 2323145"/>
              <a:gd name="connsiteX137" fmla="*/ 4765388 w 11269336"/>
              <a:gd name="connsiteY137" fmla="*/ 2162525 h 2323145"/>
              <a:gd name="connsiteX138" fmla="*/ 4745033 w 11269336"/>
              <a:gd name="connsiteY138" fmla="*/ 2158859 h 2323145"/>
              <a:gd name="connsiteX139" fmla="*/ 4741475 w 11269336"/>
              <a:gd name="connsiteY139" fmla="*/ 2157998 h 2323145"/>
              <a:gd name="connsiteX140" fmla="*/ 4728247 w 11269336"/>
              <a:gd name="connsiteY140" fmla="*/ 2159526 h 2323145"/>
              <a:gd name="connsiteX141" fmla="*/ 4723263 w 11269336"/>
              <a:gd name="connsiteY141" fmla="*/ 2153742 h 2323145"/>
              <a:gd name="connsiteX142" fmla="*/ 4702453 w 11269336"/>
              <a:gd name="connsiteY142" fmla="*/ 2151586 h 2323145"/>
              <a:gd name="connsiteX143" fmla="*/ 4678455 w 11269336"/>
              <a:gd name="connsiteY143" fmla="*/ 2156131 h 2323145"/>
              <a:gd name="connsiteX144" fmla="*/ 4593061 w 11269336"/>
              <a:gd name="connsiteY144" fmla="*/ 2171597 h 2323145"/>
              <a:gd name="connsiteX145" fmla="*/ 4579902 w 11269336"/>
              <a:gd name="connsiteY145" fmla="*/ 2177927 h 2323145"/>
              <a:gd name="connsiteX146" fmla="*/ 4533444 w 11269336"/>
              <a:gd name="connsiteY146" fmla="*/ 2181200 h 2323145"/>
              <a:gd name="connsiteX147" fmla="*/ 4492832 w 11269336"/>
              <a:gd name="connsiteY147" fmla="*/ 2188033 h 2323145"/>
              <a:gd name="connsiteX148" fmla="*/ 4467257 w 11269336"/>
              <a:gd name="connsiteY148" fmla="*/ 2196121 h 2323145"/>
              <a:gd name="connsiteX149" fmla="*/ 4459937 w 11269336"/>
              <a:gd name="connsiteY149" fmla="*/ 2195182 h 2323145"/>
              <a:gd name="connsiteX150" fmla="*/ 4433312 w 11269336"/>
              <a:gd name="connsiteY150" fmla="*/ 2199004 h 2323145"/>
              <a:gd name="connsiteX151" fmla="*/ 4420601 w 11269336"/>
              <a:gd name="connsiteY151" fmla="*/ 2205158 h 2323145"/>
              <a:gd name="connsiteX152" fmla="*/ 4405765 w 11269336"/>
              <a:gd name="connsiteY152" fmla="*/ 2199902 h 2323145"/>
              <a:gd name="connsiteX153" fmla="*/ 4401354 w 11269336"/>
              <a:gd name="connsiteY153" fmla="*/ 2194745 h 2323145"/>
              <a:gd name="connsiteX154" fmla="*/ 4383151 w 11269336"/>
              <a:gd name="connsiteY154" fmla="*/ 2201140 h 2323145"/>
              <a:gd name="connsiteX155" fmla="*/ 4366646 w 11269336"/>
              <a:gd name="connsiteY155" fmla="*/ 2198564 h 2323145"/>
              <a:gd name="connsiteX156" fmla="*/ 4354009 w 11269336"/>
              <a:gd name="connsiteY156" fmla="*/ 2204984 h 2323145"/>
              <a:gd name="connsiteX157" fmla="*/ 4348284 w 11269336"/>
              <a:gd name="connsiteY157" fmla="*/ 2205270 h 2323145"/>
              <a:gd name="connsiteX158" fmla="*/ 4333906 w 11269336"/>
              <a:gd name="connsiteY158" fmla="*/ 2205251 h 2323145"/>
              <a:gd name="connsiteX159" fmla="*/ 4308819 w 11269336"/>
              <a:gd name="connsiteY159" fmla="*/ 2203822 h 2323145"/>
              <a:gd name="connsiteX160" fmla="*/ 4301210 w 11269336"/>
              <a:gd name="connsiteY160" fmla="*/ 2204456 h 2323145"/>
              <a:gd name="connsiteX161" fmla="*/ 4283095 w 11269336"/>
              <a:gd name="connsiteY161" fmla="*/ 2198177 h 2323145"/>
              <a:gd name="connsiteX162" fmla="*/ 4250119 w 11269336"/>
              <a:gd name="connsiteY162" fmla="*/ 2196342 h 2323145"/>
              <a:gd name="connsiteX163" fmla="*/ 4189203 w 11269336"/>
              <a:gd name="connsiteY163" fmla="*/ 2178994 h 2323145"/>
              <a:gd name="connsiteX164" fmla="*/ 4154035 w 11269336"/>
              <a:gd name="connsiteY164" fmla="*/ 2171950 h 2323145"/>
              <a:gd name="connsiteX165" fmla="*/ 4129569 w 11269336"/>
              <a:gd name="connsiteY165" fmla="*/ 2163850 h 2323145"/>
              <a:gd name="connsiteX166" fmla="*/ 4061250 w 11269336"/>
              <a:gd name="connsiteY166" fmla="*/ 2159236 h 2323145"/>
              <a:gd name="connsiteX167" fmla="*/ 3945480 w 11269336"/>
              <a:gd name="connsiteY167" fmla="*/ 2158279 h 2323145"/>
              <a:gd name="connsiteX168" fmla="*/ 3921468 w 11269336"/>
              <a:gd name="connsiteY168" fmla="*/ 2156588 h 2323145"/>
              <a:gd name="connsiteX169" fmla="*/ 3903348 w 11269336"/>
              <a:gd name="connsiteY169" fmla="*/ 2149220 h 2323145"/>
              <a:gd name="connsiteX170" fmla="*/ 3901342 w 11269336"/>
              <a:gd name="connsiteY170" fmla="*/ 2142355 h 2323145"/>
              <a:gd name="connsiteX171" fmla="*/ 3888539 w 11269336"/>
              <a:gd name="connsiteY171" fmla="*/ 2140476 h 2323145"/>
              <a:gd name="connsiteX172" fmla="*/ 3885662 w 11269336"/>
              <a:gd name="connsiteY172" fmla="*/ 2138740 h 2323145"/>
              <a:gd name="connsiteX173" fmla="*/ 3868627 w 11269336"/>
              <a:gd name="connsiteY173" fmla="*/ 2130023 h 2323145"/>
              <a:gd name="connsiteX174" fmla="*/ 3819177 w 11269336"/>
              <a:gd name="connsiteY174" fmla="*/ 2142111 h 2323145"/>
              <a:gd name="connsiteX175" fmla="*/ 3769100 w 11269336"/>
              <a:gd name="connsiteY175" fmla="*/ 2131731 h 2323145"/>
              <a:gd name="connsiteX176" fmla="*/ 3562752 w 11269336"/>
              <a:gd name="connsiteY176" fmla="*/ 2131785 h 2323145"/>
              <a:gd name="connsiteX177" fmla="*/ 3541402 w 11269336"/>
              <a:gd name="connsiteY177" fmla="*/ 2106821 h 2323145"/>
              <a:gd name="connsiteX178" fmla="*/ 3365341 w 11269336"/>
              <a:gd name="connsiteY178" fmla="*/ 2077638 h 2323145"/>
              <a:gd name="connsiteX179" fmla="*/ 3170922 w 11269336"/>
              <a:gd name="connsiteY179" fmla="*/ 2115957 h 2323145"/>
              <a:gd name="connsiteX180" fmla="*/ 3156256 w 11269336"/>
              <a:gd name="connsiteY180" fmla="*/ 2124773 h 2323145"/>
              <a:gd name="connsiteX181" fmla="*/ 3140298 w 11269336"/>
              <a:gd name="connsiteY181" fmla="*/ 2129182 h 2323145"/>
              <a:gd name="connsiteX182" fmla="*/ 3138514 w 11269336"/>
              <a:gd name="connsiteY182" fmla="*/ 2128069 h 2323145"/>
              <a:gd name="connsiteX183" fmla="*/ 3120467 w 11269336"/>
              <a:gd name="connsiteY183" fmla="*/ 2128281 h 2323145"/>
              <a:gd name="connsiteX184" fmla="*/ 3116175 w 11269336"/>
              <a:gd name="connsiteY184" fmla="*/ 2131633 h 2323145"/>
              <a:gd name="connsiteX185" fmla="*/ 3103685 w 11269336"/>
              <a:gd name="connsiteY185" fmla="*/ 2132814 h 2323145"/>
              <a:gd name="connsiteX186" fmla="*/ 3078794 w 11269336"/>
              <a:gd name="connsiteY186" fmla="*/ 2137935 h 2323145"/>
              <a:gd name="connsiteX187" fmla="*/ 3074407 w 11269336"/>
              <a:gd name="connsiteY187" fmla="*/ 2136274 h 2323145"/>
              <a:gd name="connsiteX188" fmla="*/ 3037285 w 11269336"/>
              <a:gd name="connsiteY188" fmla="*/ 2139919 h 2323145"/>
              <a:gd name="connsiteX189" fmla="*/ 3036901 w 11269336"/>
              <a:gd name="connsiteY189" fmla="*/ 2138726 h 2323145"/>
              <a:gd name="connsiteX190" fmla="*/ 3026996 w 11269336"/>
              <a:gd name="connsiteY190" fmla="*/ 2134322 h 2323145"/>
              <a:gd name="connsiteX191" fmla="*/ 3007772 w 11269336"/>
              <a:gd name="connsiteY191" fmla="*/ 2128742 h 2323145"/>
              <a:gd name="connsiteX192" fmla="*/ 2965030 w 11269336"/>
              <a:gd name="connsiteY192" fmla="*/ 2100494 h 2323145"/>
              <a:gd name="connsiteX193" fmla="*/ 2926342 w 11269336"/>
              <a:gd name="connsiteY193" fmla="*/ 2104155 h 2323145"/>
              <a:gd name="connsiteX194" fmla="*/ 2918608 w 11269336"/>
              <a:gd name="connsiteY194" fmla="*/ 2104215 h 2323145"/>
              <a:gd name="connsiteX195" fmla="*/ 2918475 w 11269336"/>
              <a:gd name="connsiteY195" fmla="*/ 2103937 h 2323145"/>
              <a:gd name="connsiteX196" fmla="*/ 2910360 w 11269336"/>
              <a:gd name="connsiteY196" fmla="*/ 2103444 h 2323145"/>
              <a:gd name="connsiteX197" fmla="*/ 2904507 w 11269336"/>
              <a:gd name="connsiteY197" fmla="*/ 2104326 h 2323145"/>
              <a:gd name="connsiteX198" fmla="*/ 2889503 w 11269336"/>
              <a:gd name="connsiteY198" fmla="*/ 2104443 h 2323145"/>
              <a:gd name="connsiteX199" fmla="*/ 2884480 w 11269336"/>
              <a:gd name="connsiteY199" fmla="*/ 2102626 h 2323145"/>
              <a:gd name="connsiteX200" fmla="*/ 2882689 w 11269336"/>
              <a:gd name="connsiteY200" fmla="*/ 2099228 h 2323145"/>
              <a:gd name="connsiteX201" fmla="*/ 2881291 w 11269336"/>
              <a:gd name="connsiteY201" fmla="*/ 2099618 h 2323145"/>
              <a:gd name="connsiteX202" fmla="*/ 2853979 w 11269336"/>
              <a:gd name="connsiteY202" fmla="*/ 2090388 h 2323145"/>
              <a:gd name="connsiteX203" fmla="*/ 2791790 w 11269336"/>
              <a:gd name="connsiteY203" fmla="*/ 2080332 h 2323145"/>
              <a:gd name="connsiteX204" fmla="*/ 2755844 w 11269336"/>
              <a:gd name="connsiteY204" fmla="*/ 2078874 h 2323145"/>
              <a:gd name="connsiteX205" fmla="*/ 2657742 w 11269336"/>
              <a:gd name="connsiteY205" fmla="*/ 2070179 h 2323145"/>
              <a:gd name="connsiteX206" fmla="*/ 2559549 w 11269336"/>
              <a:gd name="connsiteY206" fmla="*/ 2057873 h 2323145"/>
              <a:gd name="connsiteX207" fmla="*/ 2512054 w 11269336"/>
              <a:gd name="connsiteY207" fmla="*/ 2031671 h 2323145"/>
              <a:gd name="connsiteX208" fmla="*/ 2506437 w 11269336"/>
              <a:gd name="connsiteY208" fmla="*/ 2030918 h 2323145"/>
              <a:gd name="connsiteX209" fmla="*/ 2491752 w 11269336"/>
              <a:gd name="connsiteY209" fmla="*/ 2033906 h 2323145"/>
              <a:gd name="connsiteX210" fmla="*/ 2486338 w 11269336"/>
              <a:gd name="connsiteY210" fmla="*/ 2035862 h 2323145"/>
              <a:gd name="connsiteX211" fmla="*/ 2478186 w 11269336"/>
              <a:gd name="connsiteY211" fmla="*/ 2036953 h 2323145"/>
              <a:gd name="connsiteX212" fmla="*/ 2477950 w 11269336"/>
              <a:gd name="connsiteY212" fmla="*/ 2036715 h 2323145"/>
              <a:gd name="connsiteX213" fmla="*/ 2470381 w 11269336"/>
              <a:gd name="connsiteY213" fmla="*/ 2038256 h 2323145"/>
              <a:gd name="connsiteX214" fmla="*/ 2433781 w 11269336"/>
              <a:gd name="connsiteY214" fmla="*/ 2049140 h 2323145"/>
              <a:gd name="connsiteX215" fmla="*/ 2381172 w 11269336"/>
              <a:gd name="connsiteY215" fmla="*/ 2030645 h 2323145"/>
              <a:gd name="connsiteX216" fmla="*/ 2360198 w 11269336"/>
              <a:gd name="connsiteY216" fmla="*/ 2029059 h 2323145"/>
              <a:gd name="connsiteX217" fmla="*/ 2348815 w 11269336"/>
              <a:gd name="connsiteY217" fmla="*/ 2026798 h 2323145"/>
              <a:gd name="connsiteX218" fmla="*/ 2347988 w 11269336"/>
              <a:gd name="connsiteY218" fmla="*/ 2025745 h 2323145"/>
              <a:gd name="connsiteX219" fmla="*/ 2312920 w 11269336"/>
              <a:gd name="connsiteY219" fmla="*/ 2036311 h 2323145"/>
              <a:gd name="connsiteX220" fmla="*/ 2307986 w 11269336"/>
              <a:gd name="connsiteY220" fmla="*/ 2035583 h 2323145"/>
              <a:gd name="connsiteX221" fmla="*/ 2285481 w 11269336"/>
              <a:gd name="connsiteY221" fmla="*/ 2045197 h 2323145"/>
              <a:gd name="connsiteX222" fmla="*/ 2273666 w 11269336"/>
              <a:gd name="connsiteY222" fmla="*/ 2048710 h 2323145"/>
              <a:gd name="connsiteX223" fmla="*/ 2270719 w 11269336"/>
              <a:gd name="connsiteY223" fmla="*/ 2052702 h 2323145"/>
              <a:gd name="connsiteX224" fmla="*/ 2253080 w 11269336"/>
              <a:gd name="connsiteY224" fmla="*/ 2056363 h 2323145"/>
              <a:gd name="connsiteX225" fmla="*/ 2250906 w 11269336"/>
              <a:gd name="connsiteY225" fmla="*/ 2055654 h 2323145"/>
              <a:gd name="connsiteX226" fmla="*/ 2236905 w 11269336"/>
              <a:gd name="connsiteY226" fmla="*/ 2062882 h 2323145"/>
              <a:gd name="connsiteX227" fmla="*/ 2225830 w 11269336"/>
              <a:gd name="connsiteY227" fmla="*/ 2074027 h 2323145"/>
              <a:gd name="connsiteX228" fmla="*/ 2073776 w 11269336"/>
              <a:gd name="connsiteY228" fmla="*/ 2089244 h 2323145"/>
              <a:gd name="connsiteX229" fmla="*/ 1948256 w 11269336"/>
              <a:gd name="connsiteY229" fmla="*/ 2146616 h 2323145"/>
              <a:gd name="connsiteX230" fmla="*/ 1865582 w 11269336"/>
              <a:gd name="connsiteY230" fmla="*/ 2153738 h 2323145"/>
              <a:gd name="connsiteX231" fmla="*/ 1835210 w 11269336"/>
              <a:gd name="connsiteY231" fmla="*/ 2134244 h 2323145"/>
              <a:gd name="connsiteX232" fmla="*/ 1632661 w 11269336"/>
              <a:gd name="connsiteY232" fmla="*/ 2173882 h 2323145"/>
              <a:gd name="connsiteX233" fmla="*/ 1579590 w 11269336"/>
              <a:gd name="connsiteY233" fmla="*/ 2173680 h 2323145"/>
              <a:gd name="connsiteX234" fmla="*/ 1535601 w 11269336"/>
              <a:gd name="connsiteY234" fmla="*/ 2194590 h 2323145"/>
              <a:gd name="connsiteX235" fmla="*/ 1515594 w 11269336"/>
              <a:gd name="connsiteY235" fmla="*/ 2189622 h 2323145"/>
              <a:gd name="connsiteX236" fmla="*/ 1512113 w 11269336"/>
              <a:gd name="connsiteY236" fmla="*/ 2188534 h 2323145"/>
              <a:gd name="connsiteX237" fmla="*/ 1498838 w 11269336"/>
              <a:gd name="connsiteY237" fmla="*/ 2189213 h 2323145"/>
              <a:gd name="connsiteX238" fmla="*/ 1494279 w 11269336"/>
              <a:gd name="connsiteY238" fmla="*/ 2183112 h 2323145"/>
              <a:gd name="connsiteX239" fmla="*/ 1473714 w 11269336"/>
              <a:gd name="connsiteY239" fmla="*/ 2179625 h 2323145"/>
              <a:gd name="connsiteX240" fmla="*/ 1449503 w 11269336"/>
              <a:gd name="connsiteY240" fmla="*/ 2182633 h 2323145"/>
              <a:gd name="connsiteX241" fmla="*/ 1266687 w 11269336"/>
              <a:gd name="connsiteY241" fmla="*/ 2212688 h 2323145"/>
              <a:gd name="connsiteX242" fmla="*/ 1239614 w 11269336"/>
              <a:gd name="connsiteY242" fmla="*/ 2209727 h 2323145"/>
              <a:gd name="connsiteX243" fmla="*/ 1202436 w 11269336"/>
              <a:gd name="connsiteY243" fmla="*/ 2209817 h 2323145"/>
              <a:gd name="connsiteX244" fmla="*/ 1136097 w 11269336"/>
              <a:gd name="connsiteY244" fmla="*/ 2205112 h 2323145"/>
              <a:gd name="connsiteX245" fmla="*/ 988232 w 11269336"/>
              <a:gd name="connsiteY245" fmla="*/ 2235635 h 2323145"/>
              <a:gd name="connsiteX246" fmla="*/ 981959 w 11269336"/>
              <a:gd name="connsiteY246" fmla="*/ 2231607 h 2323145"/>
              <a:gd name="connsiteX247" fmla="*/ 938600 w 11269336"/>
              <a:gd name="connsiteY247" fmla="*/ 2238113 h 2323145"/>
              <a:gd name="connsiteX248" fmla="*/ 791788 w 11269336"/>
              <a:gd name="connsiteY248" fmla="*/ 2293224 h 2323145"/>
              <a:gd name="connsiteX249" fmla="*/ 706914 w 11269336"/>
              <a:gd name="connsiteY249" fmla="*/ 2305046 h 2323145"/>
              <a:gd name="connsiteX250" fmla="*/ 675971 w 11269336"/>
              <a:gd name="connsiteY250" fmla="*/ 2304030 h 2323145"/>
              <a:gd name="connsiteX251" fmla="*/ 624180 w 11269336"/>
              <a:gd name="connsiteY251" fmla="*/ 2302650 h 2323145"/>
              <a:gd name="connsiteX252" fmla="*/ 583453 w 11269336"/>
              <a:gd name="connsiteY252" fmla="*/ 2288788 h 2323145"/>
              <a:gd name="connsiteX253" fmla="*/ 540946 w 11269336"/>
              <a:gd name="connsiteY253" fmla="*/ 2292721 h 2323145"/>
              <a:gd name="connsiteX254" fmla="*/ 533680 w 11269336"/>
              <a:gd name="connsiteY254" fmla="*/ 2310233 h 2323145"/>
              <a:gd name="connsiteX255" fmla="*/ 487366 w 11269336"/>
              <a:gd name="connsiteY255" fmla="*/ 2309053 h 2323145"/>
              <a:gd name="connsiteX256" fmla="*/ 416820 w 11269336"/>
              <a:gd name="connsiteY256" fmla="*/ 2305443 h 2323145"/>
              <a:gd name="connsiteX257" fmla="*/ 376805 w 11269336"/>
              <a:gd name="connsiteY257" fmla="*/ 2307647 h 2323145"/>
              <a:gd name="connsiteX258" fmla="*/ 266777 w 11269336"/>
              <a:gd name="connsiteY258" fmla="*/ 2309012 h 2323145"/>
              <a:gd name="connsiteX259" fmla="*/ 156013 w 11269336"/>
              <a:gd name="connsiteY259" fmla="*/ 2306832 h 2323145"/>
              <a:gd name="connsiteX260" fmla="*/ 87258 w 11269336"/>
              <a:gd name="connsiteY260" fmla="*/ 2285511 h 2323145"/>
              <a:gd name="connsiteX261" fmla="*/ 23798 w 11269336"/>
              <a:gd name="connsiteY261" fmla="*/ 2281822 h 2323145"/>
              <a:gd name="connsiteX262" fmla="*/ 0 w 11269336"/>
              <a:gd name="connsiteY262" fmla="*/ 2285369 h 2323145"/>
              <a:gd name="connsiteX263" fmla="*/ 0 w 11269336"/>
              <a:gd name="connsiteY26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9062863 w 11269336"/>
              <a:gd name="connsiteY22" fmla="*/ 754656 h 2323145"/>
              <a:gd name="connsiteX23" fmla="*/ 8914746 w 11269336"/>
              <a:gd name="connsiteY23" fmla="*/ 826428 h 2323145"/>
              <a:gd name="connsiteX24" fmla="*/ 8917778 w 11269336"/>
              <a:gd name="connsiteY24" fmla="*/ 835198 h 2323145"/>
              <a:gd name="connsiteX25" fmla="*/ 8905560 w 11269336"/>
              <a:gd name="connsiteY25" fmla="*/ 838358 h 2323145"/>
              <a:gd name="connsiteX26" fmla="*/ 8897564 w 11269336"/>
              <a:gd name="connsiteY26" fmla="*/ 834287 h 2323145"/>
              <a:gd name="connsiteX27" fmla="*/ 8878040 w 11269336"/>
              <a:gd name="connsiteY27" fmla="*/ 844150 h 2323145"/>
              <a:gd name="connsiteX28" fmla="*/ 8795998 w 11269336"/>
              <a:gd name="connsiteY28" fmla="*/ 863337 h 2323145"/>
              <a:gd name="connsiteX29" fmla="*/ 8776970 w 11269336"/>
              <a:gd name="connsiteY29" fmla="*/ 885177 h 2323145"/>
              <a:gd name="connsiteX30" fmla="*/ 8755719 w 11269336"/>
              <a:gd name="connsiteY30" fmla="*/ 889754 h 2323145"/>
              <a:gd name="connsiteX31" fmla="*/ 8743257 w 11269336"/>
              <a:gd name="connsiteY31" fmla="*/ 904723 h 2323145"/>
              <a:gd name="connsiteX32" fmla="*/ 8721366 w 11269336"/>
              <a:gd name="connsiteY32" fmla="*/ 904711 h 2323145"/>
              <a:gd name="connsiteX33" fmla="*/ 8678353 w 11269336"/>
              <a:gd name="connsiteY33" fmla="*/ 926318 h 2323145"/>
              <a:gd name="connsiteX34" fmla="*/ 8636849 w 11269336"/>
              <a:gd name="connsiteY34" fmla="*/ 937900 h 2323145"/>
              <a:gd name="connsiteX35" fmla="*/ 8620213 w 11269336"/>
              <a:gd name="connsiteY35" fmla="*/ 943068 h 2323145"/>
              <a:gd name="connsiteX36" fmla="*/ 8612581 w 11269336"/>
              <a:gd name="connsiteY36" fmla="*/ 952695 h 2323145"/>
              <a:gd name="connsiteX37" fmla="*/ 8589038 w 11269336"/>
              <a:gd name="connsiteY37" fmla="*/ 963892 h 2323145"/>
              <a:gd name="connsiteX38" fmla="*/ 8579950 w 11269336"/>
              <a:gd name="connsiteY38" fmla="*/ 960899 h 2323145"/>
              <a:gd name="connsiteX39" fmla="*/ 8579319 w 11269336"/>
              <a:gd name="connsiteY39" fmla="*/ 965630 h 2323145"/>
              <a:gd name="connsiteX40" fmla="*/ 8547429 w 11269336"/>
              <a:gd name="connsiteY40" fmla="*/ 984506 h 2323145"/>
              <a:gd name="connsiteX41" fmla="*/ 8478704 w 11269336"/>
              <a:gd name="connsiteY41" fmla="*/ 1025490 h 2323145"/>
              <a:gd name="connsiteX42" fmla="*/ 8461421 w 11269336"/>
              <a:gd name="connsiteY42" fmla="*/ 1035512 h 2323145"/>
              <a:gd name="connsiteX43" fmla="*/ 8445003 w 11269336"/>
              <a:gd name="connsiteY43" fmla="*/ 1036851 h 2323145"/>
              <a:gd name="connsiteX44" fmla="*/ 8357350 w 11269336"/>
              <a:gd name="connsiteY44" fmla="*/ 1060213 h 2323145"/>
              <a:gd name="connsiteX45" fmla="*/ 8335565 w 11269336"/>
              <a:gd name="connsiteY45" fmla="*/ 1061151 h 2323145"/>
              <a:gd name="connsiteX46" fmla="*/ 8325267 w 11269336"/>
              <a:gd name="connsiteY46" fmla="*/ 1055919 h 2323145"/>
              <a:gd name="connsiteX47" fmla="*/ 8293586 w 11269336"/>
              <a:gd name="connsiteY47" fmla="*/ 1076144 h 2323145"/>
              <a:gd name="connsiteX48" fmla="*/ 8242405 w 11269336"/>
              <a:gd name="connsiteY48" fmla="*/ 1095960 h 2323145"/>
              <a:gd name="connsiteX49" fmla="*/ 8197391 w 11269336"/>
              <a:gd name="connsiteY49" fmla="*/ 1107746 h 2323145"/>
              <a:gd name="connsiteX50" fmla="*/ 8081474 w 11269336"/>
              <a:gd name="connsiteY50" fmla="*/ 1130125 h 2323145"/>
              <a:gd name="connsiteX51" fmla="*/ 8053585 w 11269336"/>
              <a:gd name="connsiteY51" fmla="*/ 1129169 h 2323145"/>
              <a:gd name="connsiteX52" fmla="*/ 8038422 w 11269336"/>
              <a:gd name="connsiteY52" fmla="*/ 1119092 h 2323145"/>
              <a:gd name="connsiteX53" fmla="*/ 8029450 w 11269336"/>
              <a:gd name="connsiteY53" fmla="*/ 1125592 h 2323145"/>
              <a:gd name="connsiteX54" fmla="*/ 7959552 w 11269336"/>
              <a:gd name="connsiteY54" fmla="*/ 1140188 h 2323145"/>
              <a:gd name="connsiteX55" fmla="*/ 7914188 w 11269336"/>
              <a:gd name="connsiteY55" fmla="*/ 1150862 h 2323145"/>
              <a:gd name="connsiteX56" fmla="*/ 7914918 w 11269336"/>
              <a:gd name="connsiteY56" fmla="*/ 1168758 h 2323145"/>
              <a:gd name="connsiteX57" fmla="*/ 7875510 w 11269336"/>
              <a:gd name="connsiteY57" fmla="*/ 1183153 h 2323145"/>
              <a:gd name="connsiteX58" fmla="*/ 7829932 w 11269336"/>
              <a:gd name="connsiteY58" fmla="*/ 1180782 h 2323145"/>
              <a:gd name="connsiteX59" fmla="*/ 7779182 w 11269336"/>
              <a:gd name="connsiteY59" fmla="*/ 1192665 h 2323145"/>
              <a:gd name="connsiteX60" fmla="*/ 7748774 w 11269336"/>
              <a:gd name="connsiteY60" fmla="*/ 1199586 h 2323145"/>
              <a:gd name="connsiteX61" fmla="*/ 7671846 w 11269336"/>
              <a:gd name="connsiteY61" fmla="*/ 1231966 h 2323145"/>
              <a:gd name="connsiteX62" fmla="*/ 7554146 w 11269336"/>
              <a:gd name="connsiteY62" fmla="*/ 1319748 h 2323145"/>
              <a:gd name="connsiteX63" fmla="*/ 7515052 w 11269336"/>
              <a:gd name="connsiteY63" fmla="*/ 1336718 h 2323145"/>
              <a:gd name="connsiteX64" fmla="*/ 7507193 w 11269336"/>
              <a:gd name="connsiteY64" fmla="*/ 1334617 h 2323145"/>
              <a:gd name="connsiteX65" fmla="*/ 7461694 w 11269336"/>
              <a:gd name="connsiteY65" fmla="*/ 1375866 h 2323145"/>
              <a:gd name="connsiteX66" fmla="*/ 7377571 w 11269336"/>
              <a:gd name="connsiteY66" fmla="*/ 1400128 h 2323145"/>
              <a:gd name="connsiteX67" fmla="*/ 7311261 w 11269336"/>
              <a:gd name="connsiteY67" fmla="*/ 1412652 h 2323145"/>
              <a:gd name="connsiteX68" fmla="*/ 7275307 w 11269336"/>
              <a:gd name="connsiteY68" fmla="*/ 1422171 h 2323145"/>
              <a:gd name="connsiteX69" fmla="*/ 7247783 w 11269336"/>
              <a:gd name="connsiteY69" fmla="*/ 1426330 h 2323145"/>
              <a:gd name="connsiteX70" fmla="*/ 7185047 w 11269336"/>
              <a:gd name="connsiteY70" fmla="*/ 1451812 h 2323145"/>
              <a:gd name="connsiteX71" fmla="*/ 7084117 w 11269336"/>
              <a:gd name="connsiteY71" fmla="*/ 1500281 h 2323145"/>
              <a:gd name="connsiteX72" fmla="*/ 7062011 w 11269336"/>
              <a:gd name="connsiteY72" fmla="*/ 1509183 h 2323145"/>
              <a:gd name="connsiteX73" fmla="*/ 7040555 w 11269336"/>
              <a:gd name="connsiteY73" fmla="*/ 1511207 h 2323145"/>
              <a:gd name="connsiteX74" fmla="*/ 7033438 w 11269336"/>
              <a:gd name="connsiteY74" fmla="*/ 1506772 h 2323145"/>
              <a:gd name="connsiteX75" fmla="*/ 7020886 w 11269336"/>
              <a:gd name="connsiteY75" fmla="*/ 1510764 h 2323145"/>
              <a:gd name="connsiteX76" fmla="*/ 7017033 w 11269336"/>
              <a:gd name="connsiteY76" fmla="*/ 1510650 h 2323145"/>
              <a:gd name="connsiteX77" fmla="*/ 6995460 w 11269336"/>
              <a:gd name="connsiteY77" fmla="*/ 1511173 h 2323145"/>
              <a:gd name="connsiteX78" fmla="*/ 6962144 w 11269336"/>
              <a:gd name="connsiteY78" fmla="*/ 1541508 h 2323145"/>
              <a:gd name="connsiteX79" fmla="*/ 6910674 w 11269336"/>
              <a:gd name="connsiteY79" fmla="*/ 1554793 h 2323145"/>
              <a:gd name="connsiteX80" fmla="*/ 6732152 w 11269336"/>
              <a:gd name="connsiteY80" fmla="*/ 1642538 h 2323145"/>
              <a:gd name="connsiteX81" fmla="*/ 6694106 w 11269336"/>
              <a:gd name="connsiteY81" fmla="*/ 1632377 h 2323145"/>
              <a:gd name="connsiteX82" fmla="*/ 6617223 w 11269336"/>
              <a:gd name="connsiteY82" fmla="*/ 1659889 h 2323145"/>
              <a:gd name="connsiteX83" fmla="*/ 6521138 w 11269336"/>
              <a:gd name="connsiteY83" fmla="*/ 1744340 h 2323145"/>
              <a:gd name="connsiteX84" fmla="*/ 6380677 w 11269336"/>
              <a:gd name="connsiteY84" fmla="*/ 1796883 h 2323145"/>
              <a:gd name="connsiteX85" fmla="*/ 6374897 w 11269336"/>
              <a:gd name="connsiteY85" fmla="*/ 1809910 h 2323145"/>
              <a:gd name="connsiteX86" fmla="*/ 6364545 w 11269336"/>
              <a:gd name="connsiteY86" fmla="*/ 1820090 h 2323145"/>
              <a:gd name="connsiteX87" fmla="*/ 6362126 w 11269336"/>
              <a:gd name="connsiteY87" fmla="*/ 1819991 h 2323145"/>
              <a:gd name="connsiteX88" fmla="*/ 6346673 w 11269336"/>
              <a:gd name="connsiteY88" fmla="*/ 1827824 h 2323145"/>
              <a:gd name="connsiteX89" fmla="*/ 6345588 w 11269336"/>
              <a:gd name="connsiteY89" fmla="*/ 1832232 h 2323145"/>
              <a:gd name="connsiteX90" fmla="*/ 6335708 w 11269336"/>
              <a:gd name="connsiteY90" fmla="*/ 1838451 h 2323145"/>
              <a:gd name="connsiteX91" fmla="*/ 6318182 w 11269336"/>
              <a:gd name="connsiteY91" fmla="*/ 1852975 h 2323145"/>
              <a:gd name="connsiteX92" fmla="*/ 6313084 w 11269336"/>
              <a:gd name="connsiteY92" fmla="*/ 1853561 h 2323145"/>
              <a:gd name="connsiteX93" fmla="*/ 6283816 w 11269336"/>
              <a:gd name="connsiteY93" fmla="*/ 1872148 h 2323145"/>
              <a:gd name="connsiteX94" fmla="*/ 6282550 w 11269336"/>
              <a:gd name="connsiteY94" fmla="*/ 1871392 h 2323145"/>
              <a:gd name="connsiteX95" fmla="*/ 6270527 w 11269336"/>
              <a:gd name="connsiteY95" fmla="*/ 1872208 h 2323145"/>
              <a:gd name="connsiteX96" fmla="*/ 6249518 w 11269336"/>
              <a:gd name="connsiteY96" fmla="*/ 1876079 h 2323145"/>
              <a:gd name="connsiteX97" fmla="*/ 6190386 w 11269336"/>
              <a:gd name="connsiteY97" fmla="*/ 1872478 h 2323145"/>
              <a:gd name="connsiteX98" fmla="*/ 6159777 w 11269336"/>
              <a:gd name="connsiteY98" fmla="*/ 1891745 h 2323145"/>
              <a:gd name="connsiteX99" fmla="*/ 6153131 w 11269336"/>
              <a:gd name="connsiteY99" fmla="*/ 1895079 h 2323145"/>
              <a:gd name="connsiteX100" fmla="*/ 6152798 w 11269336"/>
              <a:gd name="connsiteY100" fmla="*/ 1894920 h 2323145"/>
              <a:gd name="connsiteX101" fmla="*/ 6145388 w 11269336"/>
              <a:gd name="connsiteY101" fmla="*/ 1897990 h 2323145"/>
              <a:gd name="connsiteX102" fmla="*/ 6141014 w 11269336"/>
              <a:gd name="connsiteY102" fmla="*/ 1901155 h 2323145"/>
              <a:gd name="connsiteX103" fmla="*/ 6128122 w 11269336"/>
              <a:gd name="connsiteY103" fmla="*/ 1907623 h 2323145"/>
              <a:gd name="connsiteX104" fmla="*/ 6122351 w 11269336"/>
              <a:gd name="connsiteY104" fmla="*/ 1908359 h 2323145"/>
              <a:gd name="connsiteX105" fmla="*/ 6064750 w 11269336"/>
              <a:gd name="connsiteY105" fmla="*/ 1896394 h 2323145"/>
              <a:gd name="connsiteX106" fmla="*/ 5964230 w 11269336"/>
              <a:gd name="connsiteY106" fmla="*/ 1910038 h 2323145"/>
              <a:gd name="connsiteX107" fmla="*/ 5865399 w 11269336"/>
              <a:gd name="connsiteY107" fmla="*/ 1926966 h 2323145"/>
              <a:gd name="connsiteX108" fmla="*/ 5829951 w 11269336"/>
              <a:gd name="connsiteY108" fmla="*/ 1934755 h 2323145"/>
              <a:gd name="connsiteX109" fmla="*/ 5765285 w 11269336"/>
              <a:gd name="connsiteY109" fmla="*/ 1941322 h 2323145"/>
              <a:gd name="connsiteX110" fmla="*/ 5734750 w 11269336"/>
              <a:gd name="connsiteY110" fmla="*/ 1939793 h 2323145"/>
              <a:gd name="connsiteX111" fmla="*/ 5733569 w 11269336"/>
              <a:gd name="connsiteY111" fmla="*/ 1940505 h 2323145"/>
              <a:gd name="connsiteX112" fmla="*/ 5730329 w 11269336"/>
              <a:gd name="connsiteY112" fmla="*/ 1937845 h 2323145"/>
              <a:gd name="connsiteX113" fmla="*/ 5724661 w 11269336"/>
              <a:gd name="connsiteY113" fmla="*/ 1937455 h 2323145"/>
              <a:gd name="connsiteX114" fmla="*/ 5710186 w 11269336"/>
              <a:gd name="connsiteY114" fmla="*/ 1941370 h 2323145"/>
              <a:gd name="connsiteX115" fmla="*/ 5704910 w 11269336"/>
              <a:gd name="connsiteY115" fmla="*/ 1943663 h 2323145"/>
              <a:gd name="connsiteX116" fmla="*/ 5696836 w 11269336"/>
              <a:gd name="connsiteY116" fmla="*/ 1945271 h 2323145"/>
              <a:gd name="connsiteX117" fmla="*/ 5696583 w 11269336"/>
              <a:gd name="connsiteY117" fmla="*/ 1945050 h 2323145"/>
              <a:gd name="connsiteX118" fmla="*/ 5689123 w 11269336"/>
              <a:gd name="connsiteY118" fmla="*/ 1947067 h 2323145"/>
              <a:gd name="connsiteX119" fmla="*/ 5653291 w 11269336"/>
              <a:gd name="connsiteY119" fmla="*/ 1960245 h 2323145"/>
              <a:gd name="connsiteX120" fmla="*/ 5599385 w 11269336"/>
              <a:gd name="connsiteY120" fmla="*/ 1945198 h 2323145"/>
              <a:gd name="connsiteX121" fmla="*/ 5578300 w 11269336"/>
              <a:gd name="connsiteY121" fmla="*/ 1944963 h 2323145"/>
              <a:gd name="connsiteX122" fmla="*/ 5566758 w 11269336"/>
              <a:gd name="connsiteY122" fmla="*/ 1943441 h 2323145"/>
              <a:gd name="connsiteX123" fmla="*/ 5565857 w 11269336"/>
              <a:gd name="connsiteY123" fmla="*/ 1942445 h 2323145"/>
              <a:gd name="connsiteX124" fmla="*/ 5531534 w 11269336"/>
              <a:gd name="connsiteY124" fmla="*/ 1955208 h 2323145"/>
              <a:gd name="connsiteX125" fmla="*/ 5526552 w 11269336"/>
              <a:gd name="connsiteY125" fmla="*/ 1954799 h 2323145"/>
              <a:gd name="connsiteX126" fmla="*/ 5504723 w 11269336"/>
              <a:gd name="connsiteY126" fmla="*/ 1965811 h 2323145"/>
              <a:gd name="connsiteX127" fmla="*/ 5493156 w 11269336"/>
              <a:gd name="connsiteY127" fmla="*/ 1970063 h 2323145"/>
              <a:gd name="connsiteX128" fmla="*/ 5490486 w 11269336"/>
              <a:gd name="connsiteY128" fmla="*/ 1974227 h 2323145"/>
              <a:gd name="connsiteX129" fmla="*/ 5473107 w 11269336"/>
              <a:gd name="connsiteY129" fmla="*/ 1979001 h 2323145"/>
              <a:gd name="connsiteX130" fmla="*/ 5470885 w 11269336"/>
              <a:gd name="connsiteY130" fmla="*/ 1978432 h 2323145"/>
              <a:gd name="connsiteX131" fmla="*/ 5457393 w 11269336"/>
              <a:gd name="connsiteY131" fmla="*/ 1986525 h 2323145"/>
              <a:gd name="connsiteX132" fmla="*/ 5447102 w 11269336"/>
              <a:gd name="connsiteY132" fmla="*/ 1998329 h 2323145"/>
              <a:gd name="connsiteX133" fmla="*/ 5159151 w 11269336"/>
              <a:gd name="connsiteY133" fmla="*/ 2029640 h 2323145"/>
              <a:gd name="connsiteX134" fmla="*/ 5041688 w 11269336"/>
              <a:gd name="connsiteY134" fmla="*/ 2022334 h 2323145"/>
              <a:gd name="connsiteX135" fmla="*/ 4860988 w 11269336"/>
              <a:gd name="connsiteY135" fmla="*/ 2135698 h 2323145"/>
              <a:gd name="connsiteX136" fmla="*/ 4807902 w 11269336"/>
              <a:gd name="connsiteY136" fmla="*/ 2138894 h 2323145"/>
              <a:gd name="connsiteX137" fmla="*/ 4765388 w 11269336"/>
              <a:gd name="connsiteY137" fmla="*/ 2162525 h 2323145"/>
              <a:gd name="connsiteX138" fmla="*/ 4745033 w 11269336"/>
              <a:gd name="connsiteY138" fmla="*/ 2158859 h 2323145"/>
              <a:gd name="connsiteX139" fmla="*/ 4741475 w 11269336"/>
              <a:gd name="connsiteY139" fmla="*/ 2157998 h 2323145"/>
              <a:gd name="connsiteX140" fmla="*/ 4728247 w 11269336"/>
              <a:gd name="connsiteY140" fmla="*/ 2159526 h 2323145"/>
              <a:gd name="connsiteX141" fmla="*/ 4723263 w 11269336"/>
              <a:gd name="connsiteY141" fmla="*/ 2153742 h 2323145"/>
              <a:gd name="connsiteX142" fmla="*/ 4702453 w 11269336"/>
              <a:gd name="connsiteY142" fmla="*/ 2151586 h 2323145"/>
              <a:gd name="connsiteX143" fmla="*/ 4678455 w 11269336"/>
              <a:gd name="connsiteY143" fmla="*/ 2156131 h 2323145"/>
              <a:gd name="connsiteX144" fmla="*/ 4593061 w 11269336"/>
              <a:gd name="connsiteY144" fmla="*/ 2171597 h 2323145"/>
              <a:gd name="connsiteX145" fmla="*/ 4579902 w 11269336"/>
              <a:gd name="connsiteY145" fmla="*/ 2177927 h 2323145"/>
              <a:gd name="connsiteX146" fmla="*/ 4533444 w 11269336"/>
              <a:gd name="connsiteY146" fmla="*/ 2181200 h 2323145"/>
              <a:gd name="connsiteX147" fmla="*/ 4492832 w 11269336"/>
              <a:gd name="connsiteY147" fmla="*/ 2188033 h 2323145"/>
              <a:gd name="connsiteX148" fmla="*/ 4467257 w 11269336"/>
              <a:gd name="connsiteY148" fmla="*/ 2196121 h 2323145"/>
              <a:gd name="connsiteX149" fmla="*/ 4459937 w 11269336"/>
              <a:gd name="connsiteY149" fmla="*/ 2195182 h 2323145"/>
              <a:gd name="connsiteX150" fmla="*/ 4433312 w 11269336"/>
              <a:gd name="connsiteY150" fmla="*/ 2199004 h 2323145"/>
              <a:gd name="connsiteX151" fmla="*/ 4420601 w 11269336"/>
              <a:gd name="connsiteY151" fmla="*/ 2205158 h 2323145"/>
              <a:gd name="connsiteX152" fmla="*/ 4405765 w 11269336"/>
              <a:gd name="connsiteY152" fmla="*/ 2199902 h 2323145"/>
              <a:gd name="connsiteX153" fmla="*/ 4401354 w 11269336"/>
              <a:gd name="connsiteY153" fmla="*/ 2194745 h 2323145"/>
              <a:gd name="connsiteX154" fmla="*/ 4383151 w 11269336"/>
              <a:gd name="connsiteY154" fmla="*/ 2201140 h 2323145"/>
              <a:gd name="connsiteX155" fmla="*/ 4366646 w 11269336"/>
              <a:gd name="connsiteY155" fmla="*/ 2198564 h 2323145"/>
              <a:gd name="connsiteX156" fmla="*/ 4354009 w 11269336"/>
              <a:gd name="connsiteY156" fmla="*/ 2204984 h 2323145"/>
              <a:gd name="connsiteX157" fmla="*/ 4348284 w 11269336"/>
              <a:gd name="connsiteY157" fmla="*/ 2205270 h 2323145"/>
              <a:gd name="connsiteX158" fmla="*/ 4333906 w 11269336"/>
              <a:gd name="connsiteY158" fmla="*/ 2205251 h 2323145"/>
              <a:gd name="connsiteX159" fmla="*/ 4308819 w 11269336"/>
              <a:gd name="connsiteY159" fmla="*/ 2203822 h 2323145"/>
              <a:gd name="connsiteX160" fmla="*/ 4301210 w 11269336"/>
              <a:gd name="connsiteY160" fmla="*/ 2204456 h 2323145"/>
              <a:gd name="connsiteX161" fmla="*/ 4283095 w 11269336"/>
              <a:gd name="connsiteY161" fmla="*/ 2198177 h 2323145"/>
              <a:gd name="connsiteX162" fmla="*/ 4250119 w 11269336"/>
              <a:gd name="connsiteY162" fmla="*/ 2196342 h 2323145"/>
              <a:gd name="connsiteX163" fmla="*/ 4189203 w 11269336"/>
              <a:gd name="connsiteY163" fmla="*/ 2178994 h 2323145"/>
              <a:gd name="connsiteX164" fmla="*/ 4154035 w 11269336"/>
              <a:gd name="connsiteY164" fmla="*/ 2171950 h 2323145"/>
              <a:gd name="connsiteX165" fmla="*/ 4129569 w 11269336"/>
              <a:gd name="connsiteY165" fmla="*/ 2163850 h 2323145"/>
              <a:gd name="connsiteX166" fmla="*/ 4061250 w 11269336"/>
              <a:gd name="connsiteY166" fmla="*/ 2159236 h 2323145"/>
              <a:gd name="connsiteX167" fmla="*/ 3945480 w 11269336"/>
              <a:gd name="connsiteY167" fmla="*/ 2158279 h 2323145"/>
              <a:gd name="connsiteX168" fmla="*/ 3921468 w 11269336"/>
              <a:gd name="connsiteY168" fmla="*/ 2156588 h 2323145"/>
              <a:gd name="connsiteX169" fmla="*/ 3903348 w 11269336"/>
              <a:gd name="connsiteY169" fmla="*/ 2149220 h 2323145"/>
              <a:gd name="connsiteX170" fmla="*/ 3901342 w 11269336"/>
              <a:gd name="connsiteY170" fmla="*/ 2142355 h 2323145"/>
              <a:gd name="connsiteX171" fmla="*/ 3888539 w 11269336"/>
              <a:gd name="connsiteY171" fmla="*/ 2140476 h 2323145"/>
              <a:gd name="connsiteX172" fmla="*/ 3885662 w 11269336"/>
              <a:gd name="connsiteY172" fmla="*/ 2138740 h 2323145"/>
              <a:gd name="connsiteX173" fmla="*/ 3868627 w 11269336"/>
              <a:gd name="connsiteY173" fmla="*/ 2130023 h 2323145"/>
              <a:gd name="connsiteX174" fmla="*/ 3819177 w 11269336"/>
              <a:gd name="connsiteY174" fmla="*/ 2142111 h 2323145"/>
              <a:gd name="connsiteX175" fmla="*/ 3769100 w 11269336"/>
              <a:gd name="connsiteY175" fmla="*/ 2131731 h 2323145"/>
              <a:gd name="connsiteX176" fmla="*/ 3562752 w 11269336"/>
              <a:gd name="connsiteY176" fmla="*/ 2131785 h 2323145"/>
              <a:gd name="connsiteX177" fmla="*/ 3541402 w 11269336"/>
              <a:gd name="connsiteY177" fmla="*/ 2106821 h 2323145"/>
              <a:gd name="connsiteX178" fmla="*/ 3365341 w 11269336"/>
              <a:gd name="connsiteY178" fmla="*/ 2077638 h 2323145"/>
              <a:gd name="connsiteX179" fmla="*/ 3170922 w 11269336"/>
              <a:gd name="connsiteY179" fmla="*/ 2115957 h 2323145"/>
              <a:gd name="connsiteX180" fmla="*/ 3156256 w 11269336"/>
              <a:gd name="connsiteY180" fmla="*/ 2124773 h 2323145"/>
              <a:gd name="connsiteX181" fmla="*/ 3140298 w 11269336"/>
              <a:gd name="connsiteY181" fmla="*/ 2129182 h 2323145"/>
              <a:gd name="connsiteX182" fmla="*/ 3138514 w 11269336"/>
              <a:gd name="connsiteY182" fmla="*/ 2128069 h 2323145"/>
              <a:gd name="connsiteX183" fmla="*/ 3120467 w 11269336"/>
              <a:gd name="connsiteY183" fmla="*/ 2128281 h 2323145"/>
              <a:gd name="connsiteX184" fmla="*/ 3116175 w 11269336"/>
              <a:gd name="connsiteY184" fmla="*/ 2131633 h 2323145"/>
              <a:gd name="connsiteX185" fmla="*/ 3103685 w 11269336"/>
              <a:gd name="connsiteY185" fmla="*/ 2132814 h 2323145"/>
              <a:gd name="connsiteX186" fmla="*/ 3078794 w 11269336"/>
              <a:gd name="connsiteY186" fmla="*/ 2137935 h 2323145"/>
              <a:gd name="connsiteX187" fmla="*/ 3074407 w 11269336"/>
              <a:gd name="connsiteY187" fmla="*/ 2136274 h 2323145"/>
              <a:gd name="connsiteX188" fmla="*/ 3037285 w 11269336"/>
              <a:gd name="connsiteY188" fmla="*/ 2139919 h 2323145"/>
              <a:gd name="connsiteX189" fmla="*/ 3036901 w 11269336"/>
              <a:gd name="connsiteY189" fmla="*/ 2138726 h 2323145"/>
              <a:gd name="connsiteX190" fmla="*/ 3026996 w 11269336"/>
              <a:gd name="connsiteY190" fmla="*/ 2134322 h 2323145"/>
              <a:gd name="connsiteX191" fmla="*/ 3007772 w 11269336"/>
              <a:gd name="connsiteY191" fmla="*/ 2128742 h 2323145"/>
              <a:gd name="connsiteX192" fmla="*/ 2965030 w 11269336"/>
              <a:gd name="connsiteY192" fmla="*/ 2100494 h 2323145"/>
              <a:gd name="connsiteX193" fmla="*/ 2926342 w 11269336"/>
              <a:gd name="connsiteY193" fmla="*/ 2104155 h 2323145"/>
              <a:gd name="connsiteX194" fmla="*/ 2918608 w 11269336"/>
              <a:gd name="connsiteY194" fmla="*/ 2104215 h 2323145"/>
              <a:gd name="connsiteX195" fmla="*/ 2918475 w 11269336"/>
              <a:gd name="connsiteY195" fmla="*/ 2103937 h 2323145"/>
              <a:gd name="connsiteX196" fmla="*/ 2910360 w 11269336"/>
              <a:gd name="connsiteY196" fmla="*/ 2103444 h 2323145"/>
              <a:gd name="connsiteX197" fmla="*/ 2904507 w 11269336"/>
              <a:gd name="connsiteY197" fmla="*/ 2104326 h 2323145"/>
              <a:gd name="connsiteX198" fmla="*/ 2889503 w 11269336"/>
              <a:gd name="connsiteY198" fmla="*/ 2104443 h 2323145"/>
              <a:gd name="connsiteX199" fmla="*/ 2884480 w 11269336"/>
              <a:gd name="connsiteY199" fmla="*/ 2102626 h 2323145"/>
              <a:gd name="connsiteX200" fmla="*/ 2882689 w 11269336"/>
              <a:gd name="connsiteY200" fmla="*/ 2099228 h 2323145"/>
              <a:gd name="connsiteX201" fmla="*/ 2881291 w 11269336"/>
              <a:gd name="connsiteY201" fmla="*/ 2099618 h 2323145"/>
              <a:gd name="connsiteX202" fmla="*/ 2853979 w 11269336"/>
              <a:gd name="connsiteY202" fmla="*/ 2090388 h 2323145"/>
              <a:gd name="connsiteX203" fmla="*/ 2791790 w 11269336"/>
              <a:gd name="connsiteY203" fmla="*/ 2080332 h 2323145"/>
              <a:gd name="connsiteX204" fmla="*/ 2755844 w 11269336"/>
              <a:gd name="connsiteY204" fmla="*/ 2078874 h 2323145"/>
              <a:gd name="connsiteX205" fmla="*/ 2657742 w 11269336"/>
              <a:gd name="connsiteY205" fmla="*/ 2070179 h 2323145"/>
              <a:gd name="connsiteX206" fmla="*/ 2559549 w 11269336"/>
              <a:gd name="connsiteY206" fmla="*/ 2057873 h 2323145"/>
              <a:gd name="connsiteX207" fmla="*/ 2512054 w 11269336"/>
              <a:gd name="connsiteY207" fmla="*/ 2031671 h 2323145"/>
              <a:gd name="connsiteX208" fmla="*/ 2506437 w 11269336"/>
              <a:gd name="connsiteY208" fmla="*/ 2030918 h 2323145"/>
              <a:gd name="connsiteX209" fmla="*/ 2491752 w 11269336"/>
              <a:gd name="connsiteY209" fmla="*/ 2033906 h 2323145"/>
              <a:gd name="connsiteX210" fmla="*/ 2486338 w 11269336"/>
              <a:gd name="connsiteY210" fmla="*/ 2035862 h 2323145"/>
              <a:gd name="connsiteX211" fmla="*/ 2478186 w 11269336"/>
              <a:gd name="connsiteY211" fmla="*/ 2036953 h 2323145"/>
              <a:gd name="connsiteX212" fmla="*/ 2477950 w 11269336"/>
              <a:gd name="connsiteY212" fmla="*/ 2036715 h 2323145"/>
              <a:gd name="connsiteX213" fmla="*/ 2470381 w 11269336"/>
              <a:gd name="connsiteY213" fmla="*/ 2038256 h 2323145"/>
              <a:gd name="connsiteX214" fmla="*/ 2433781 w 11269336"/>
              <a:gd name="connsiteY214" fmla="*/ 2049140 h 2323145"/>
              <a:gd name="connsiteX215" fmla="*/ 2381172 w 11269336"/>
              <a:gd name="connsiteY215" fmla="*/ 2030645 h 2323145"/>
              <a:gd name="connsiteX216" fmla="*/ 2360198 w 11269336"/>
              <a:gd name="connsiteY216" fmla="*/ 2029059 h 2323145"/>
              <a:gd name="connsiteX217" fmla="*/ 2348815 w 11269336"/>
              <a:gd name="connsiteY217" fmla="*/ 2026798 h 2323145"/>
              <a:gd name="connsiteX218" fmla="*/ 2347988 w 11269336"/>
              <a:gd name="connsiteY218" fmla="*/ 2025745 h 2323145"/>
              <a:gd name="connsiteX219" fmla="*/ 2312920 w 11269336"/>
              <a:gd name="connsiteY219" fmla="*/ 2036311 h 2323145"/>
              <a:gd name="connsiteX220" fmla="*/ 2307986 w 11269336"/>
              <a:gd name="connsiteY220" fmla="*/ 2035583 h 2323145"/>
              <a:gd name="connsiteX221" fmla="*/ 2285481 w 11269336"/>
              <a:gd name="connsiteY221" fmla="*/ 2045197 h 2323145"/>
              <a:gd name="connsiteX222" fmla="*/ 2273666 w 11269336"/>
              <a:gd name="connsiteY222" fmla="*/ 2048710 h 2323145"/>
              <a:gd name="connsiteX223" fmla="*/ 2270719 w 11269336"/>
              <a:gd name="connsiteY223" fmla="*/ 2052702 h 2323145"/>
              <a:gd name="connsiteX224" fmla="*/ 2253080 w 11269336"/>
              <a:gd name="connsiteY224" fmla="*/ 2056363 h 2323145"/>
              <a:gd name="connsiteX225" fmla="*/ 2250906 w 11269336"/>
              <a:gd name="connsiteY225" fmla="*/ 2055654 h 2323145"/>
              <a:gd name="connsiteX226" fmla="*/ 2236905 w 11269336"/>
              <a:gd name="connsiteY226" fmla="*/ 2062882 h 2323145"/>
              <a:gd name="connsiteX227" fmla="*/ 2225830 w 11269336"/>
              <a:gd name="connsiteY227" fmla="*/ 2074027 h 2323145"/>
              <a:gd name="connsiteX228" fmla="*/ 2073776 w 11269336"/>
              <a:gd name="connsiteY228" fmla="*/ 2089244 h 2323145"/>
              <a:gd name="connsiteX229" fmla="*/ 1948256 w 11269336"/>
              <a:gd name="connsiteY229" fmla="*/ 2146616 h 2323145"/>
              <a:gd name="connsiteX230" fmla="*/ 1865582 w 11269336"/>
              <a:gd name="connsiteY230" fmla="*/ 2153738 h 2323145"/>
              <a:gd name="connsiteX231" fmla="*/ 1835210 w 11269336"/>
              <a:gd name="connsiteY231" fmla="*/ 2134244 h 2323145"/>
              <a:gd name="connsiteX232" fmla="*/ 1632661 w 11269336"/>
              <a:gd name="connsiteY232" fmla="*/ 2173882 h 2323145"/>
              <a:gd name="connsiteX233" fmla="*/ 1579590 w 11269336"/>
              <a:gd name="connsiteY233" fmla="*/ 2173680 h 2323145"/>
              <a:gd name="connsiteX234" fmla="*/ 1535601 w 11269336"/>
              <a:gd name="connsiteY234" fmla="*/ 2194590 h 2323145"/>
              <a:gd name="connsiteX235" fmla="*/ 1515594 w 11269336"/>
              <a:gd name="connsiteY235" fmla="*/ 2189622 h 2323145"/>
              <a:gd name="connsiteX236" fmla="*/ 1512113 w 11269336"/>
              <a:gd name="connsiteY236" fmla="*/ 2188534 h 2323145"/>
              <a:gd name="connsiteX237" fmla="*/ 1498838 w 11269336"/>
              <a:gd name="connsiteY237" fmla="*/ 2189213 h 2323145"/>
              <a:gd name="connsiteX238" fmla="*/ 1494279 w 11269336"/>
              <a:gd name="connsiteY238" fmla="*/ 2183112 h 2323145"/>
              <a:gd name="connsiteX239" fmla="*/ 1473714 w 11269336"/>
              <a:gd name="connsiteY239" fmla="*/ 2179625 h 2323145"/>
              <a:gd name="connsiteX240" fmla="*/ 1449503 w 11269336"/>
              <a:gd name="connsiteY240" fmla="*/ 2182633 h 2323145"/>
              <a:gd name="connsiteX241" fmla="*/ 1266687 w 11269336"/>
              <a:gd name="connsiteY241" fmla="*/ 2212688 h 2323145"/>
              <a:gd name="connsiteX242" fmla="*/ 1239614 w 11269336"/>
              <a:gd name="connsiteY242" fmla="*/ 2209727 h 2323145"/>
              <a:gd name="connsiteX243" fmla="*/ 1202436 w 11269336"/>
              <a:gd name="connsiteY243" fmla="*/ 2209817 h 2323145"/>
              <a:gd name="connsiteX244" fmla="*/ 1136097 w 11269336"/>
              <a:gd name="connsiteY244" fmla="*/ 2205112 h 2323145"/>
              <a:gd name="connsiteX245" fmla="*/ 988232 w 11269336"/>
              <a:gd name="connsiteY245" fmla="*/ 2235635 h 2323145"/>
              <a:gd name="connsiteX246" fmla="*/ 981959 w 11269336"/>
              <a:gd name="connsiteY246" fmla="*/ 2231607 h 2323145"/>
              <a:gd name="connsiteX247" fmla="*/ 938600 w 11269336"/>
              <a:gd name="connsiteY247" fmla="*/ 2238113 h 2323145"/>
              <a:gd name="connsiteX248" fmla="*/ 791788 w 11269336"/>
              <a:gd name="connsiteY248" fmla="*/ 2293224 h 2323145"/>
              <a:gd name="connsiteX249" fmla="*/ 706914 w 11269336"/>
              <a:gd name="connsiteY249" fmla="*/ 2305046 h 2323145"/>
              <a:gd name="connsiteX250" fmla="*/ 675971 w 11269336"/>
              <a:gd name="connsiteY250" fmla="*/ 2304030 h 2323145"/>
              <a:gd name="connsiteX251" fmla="*/ 624180 w 11269336"/>
              <a:gd name="connsiteY251" fmla="*/ 2302650 h 2323145"/>
              <a:gd name="connsiteX252" fmla="*/ 583453 w 11269336"/>
              <a:gd name="connsiteY252" fmla="*/ 2288788 h 2323145"/>
              <a:gd name="connsiteX253" fmla="*/ 540946 w 11269336"/>
              <a:gd name="connsiteY253" fmla="*/ 2292721 h 2323145"/>
              <a:gd name="connsiteX254" fmla="*/ 533680 w 11269336"/>
              <a:gd name="connsiteY254" fmla="*/ 2310233 h 2323145"/>
              <a:gd name="connsiteX255" fmla="*/ 487366 w 11269336"/>
              <a:gd name="connsiteY255" fmla="*/ 2309053 h 2323145"/>
              <a:gd name="connsiteX256" fmla="*/ 416820 w 11269336"/>
              <a:gd name="connsiteY256" fmla="*/ 2305443 h 2323145"/>
              <a:gd name="connsiteX257" fmla="*/ 376805 w 11269336"/>
              <a:gd name="connsiteY257" fmla="*/ 2307647 h 2323145"/>
              <a:gd name="connsiteX258" fmla="*/ 266777 w 11269336"/>
              <a:gd name="connsiteY258" fmla="*/ 2309012 h 2323145"/>
              <a:gd name="connsiteX259" fmla="*/ 156013 w 11269336"/>
              <a:gd name="connsiteY259" fmla="*/ 2306832 h 2323145"/>
              <a:gd name="connsiteX260" fmla="*/ 87258 w 11269336"/>
              <a:gd name="connsiteY260" fmla="*/ 2285511 h 2323145"/>
              <a:gd name="connsiteX261" fmla="*/ 23798 w 11269336"/>
              <a:gd name="connsiteY261" fmla="*/ 2281822 h 2323145"/>
              <a:gd name="connsiteX262" fmla="*/ 0 w 11269336"/>
              <a:gd name="connsiteY262" fmla="*/ 2285369 h 2323145"/>
              <a:gd name="connsiteX263" fmla="*/ 0 w 11269336"/>
              <a:gd name="connsiteY26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41688 w 11269336"/>
              <a:gd name="connsiteY133" fmla="*/ 2022334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41688 w 11269336"/>
              <a:gd name="connsiteY133" fmla="*/ 2022334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33444 w 11269336"/>
              <a:gd name="connsiteY144" fmla="*/ 2181200 h 2323145"/>
              <a:gd name="connsiteX145" fmla="*/ 4492832 w 11269336"/>
              <a:gd name="connsiteY145" fmla="*/ 2188033 h 2323145"/>
              <a:gd name="connsiteX146" fmla="*/ 4467257 w 11269336"/>
              <a:gd name="connsiteY146" fmla="*/ 2196121 h 2323145"/>
              <a:gd name="connsiteX147" fmla="*/ 4459937 w 11269336"/>
              <a:gd name="connsiteY147" fmla="*/ 2195182 h 2323145"/>
              <a:gd name="connsiteX148" fmla="*/ 4433312 w 11269336"/>
              <a:gd name="connsiteY148" fmla="*/ 2199004 h 2323145"/>
              <a:gd name="connsiteX149" fmla="*/ 4420601 w 11269336"/>
              <a:gd name="connsiteY149" fmla="*/ 2205158 h 2323145"/>
              <a:gd name="connsiteX150" fmla="*/ 4405765 w 11269336"/>
              <a:gd name="connsiteY150" fmla="*/ 2199902 h 2323145"/>
              <a:gd name="connsiteX151" fmla="*/ 4401354 w 11269336"/>
              <a:gd name="connsiteY151" fmla="*/ 2194745 h 2323145"/>
              <a:gd name="connsiteX152" fmla="*/ 4383151 w 11269336"/>
              <a:gd name="connsiteY152" fmla="*/ 2201140 h 2323145"/>
              <a:gd name="connsiteX153" fmla="*/ 4366646 w 11269336"/>
              <a:gd name="connsiteY153" fmla="*/ 2198564 h 2323145"/>
              <a:gd name="connsiteX154" fmla="*/ 4354009 w 11269336"/>
              <a:gd name="connsiteY154" fmla="*/ 2204984 h 2323145"/>
              <a:gd name="connsiteX155" fmla="*/ 4348284 w 11269336"/>
              <a:gd name="connsiteY155" fmla="*/ 2205270 h 2323145"/>
              <a:gd name="connsiteX156" fmla="*/ 4333906 w 11269336"/>
              <a:gd name="connsiteY156" fmla="*/ 2205251 h 2323145"/>
              <a:gd name="connsiteX157" fmla="*/ 4308819 w 11269336"/>
              <a:gd name="connsiteY157" fmla="*/ 2203822 h 2323145"/>
              <a:gd name="connsiteX158" fmla="*/ 4301210 w 11269336"/>
              <a:gd name="connsiteY158" fmla="*/ 2204456 h 2323145"/>
              <a:gd name="connsiteX159" fmla="*/ 4283095 w 11269336"/>
              <a:gd name="connsiteY159" fmla="*/ 2198177 h 2323145"/>
              <a:gd name="connsiteX160" fmla="*/ 4250119 w 11269336"/>
              <a:gd name="connsiteY160" fmla="*/ 2196342 h 2323145"/>
              <a:gd name="connsiteX161" fmla="*/ 4189203 w 11269336"/>
              <a:gd name="connsiteY161" fmla="*/ 2178994 h 2323145"/>
              <a:gd name="connsiteX162" fmla="*/ 4154035 w 11269336"/>
              <a:gd name="connsiteY162" fmla="*/ 2171950 h 2323145"/>
              <a:gd name="connsiteX163" fmla="*/ 4129569 w 11269336"/>
              <a:gd name="connsiteY163" fmla="*/ 2163850 h 2323145"/>
              <a:gd name="connsiteX164" fmla="*/ 4061250 w 11269336"/>
              <a:gd name="connsiteY164" fmla="*/ 2159236 h 2323145"/>
              <a:gd name="connsiteX165" fmla="*/ 3945480 w 11269336"/>
              <a:gd name="connsiteY165" fmla="*/ 2158279 h 2323145"/>
              <a:gd name="connsiteX166" fmla="*/ 3921468 w 11269336"/>
              <a:gd name="connsiteY166" fmla="*/ 2156588 h 2323145"/>
              <a:gd name="connsiteX167" fmla="*/ 3903348 w 11269336"/>
              <a:gd name="connsiteY167" fmla="*/ 2149220 h 2323145"/>
              <a:gd name="connsiteX168" fmla="*/ 3901342 w 11269336"/>
              <a:gd name="connsiteY168" fmla="*/ 2142355 h 2323145"/>
              <a:gd name="connsiteX169" fmla="*/ 3888539 w 11269336"/>
              <a:gd name="connsiteY169" fmla="*/ 2140476 h 2323145"/>
              <a:gd name="connsiteX170" fmla="*/ 3885662 w 11269336"/>
              <a:gd name="connsiteY170" fmla="*/ 2138740 h 2323145"/>
              <a:gd name="connsiteX171" fmla="*/ 3868627 w 11269336"/>
              <a:gd name="connsiteY171" fmla="*/ 2130023 h 2323145"/>
              <a:gd name="connsiteX172" fmla="*/ 3819177 w 11269336"/>
              <a:gd name="connsiteY172" fmla="*/ 2142111 h 2323145"/>
              <a:gd name="connsiteX173" fmla="*/ 3769100 w 11269336"/>
              <a:gd name="connsiteY173" fmla="*/ 2131731 h 2323145"/>
              <a:gd name="connsiteX174" fmla="*/ 3562752 w 11269336"/>
              <a:gd name="connsiteY174" fmla="*/ 2131785 h 2323145"/>
              <a:gd name="connsiteX175" fmla="*/ 3541402 w 11269336"/>
              <a:gd name="connsiteY175" fmla="*/ 2106821 h 2323145"/>
              <a:gd name="connsiteX176" fmla="*/ 3365341 w 11269336"/>
              <a:gd name="connsiteY176" fmla="*/ 2077638 h 2323145"/>
              <a:gd name="connsiteX177" fmla="*/ 3170922 w 11269336"/>
              <a:gd name="connsiteY177" fmla="*/ 2115957 h 2323145"/>
              <a:gd name="connsiteX178" fmla="*/ 3156256 w 11269336"/>
              <a:gd name="connsiteY178" fmla="*/ 2124773 h 2323145"/>
              <a:gd name="connsiteX179" fmla="*/ 3140298 w 11269336"/>
              <a:gd name="connsiteY179" fmla="*/ 2129182 h 2323145"/>
              <a:gd name="connsiteX180" fmla="*/ 3138514 w 11269336"/>
              <a:gd name="connsiteY180" fmla="*/ 2128069 h 2323145"/>
              <a:gd name="connsiteX181" fmla="*/ 3120467 w 11269336"/>
              <a:gd name="connsiteY181" fmla="*/ 2128281 h 2323145"/>
              <a:gd name="connsiteX182" fmla="*/ 3116175 w 11269336"/>
              <a:gd name="connsiteY182" fmla="*/ 2131633 h 2323145"/>
              <a:gd name="connsiteX183" fmla="*/ 3103685 w 11269336"/>
              <a:gd name="connsiteY183" fmla="*/ 2132814 h 2323145"/>
              <a:gd name="connsiteX184" fmla="*/ 3078794 w 11269336"/>
              <a:gd name="connsiteY184" fmla="*/ 2137935 h 2323145"/>
              <a:gd name="connsiteX185" fmla="*/ 3074407 w 11269336"/>
              <a:gd name="connsiteY185" fmla="*/ 2136274 h 2323145"/>
              <a:gd name="connsiteX186" fmla="*/ 3037285 w 11269336"/>
              <a:gd name="connsiteY186" fmla="*/ 2139919 h 2323145"/>
              <a:gd name="connsiteX187" fmla="*/ 3036901 w 11269336"/>
              <a:gd name="connsiteY187" fmla="*/ 2138726 h 2323145"/>
              <a:gd name="connsiteX188" fmla="*/ 3026996 w 11269336"/>
              <a:gd name="connsiteY188" fmla="*/ 2134322 h 2323145"/>
              <a:gd name="connsiteX189" fmla="*/ 3007772 w 11269336"/>
              <a:gd name="connsiteY189" fmla="*/ 2128742 h 2323145"/>
              <a:gd name="connsiteX190" fmla="*/ 2965030 w 11269336"/>
              <a:gd name="connsiteY190" fmla="*/ 2100494 h 2323145"/>
              <a:gd name="connsiteX191" fmla="*/ 2926342 w 11269336"/>
              <a:gd name="connsiteY191" fmla="*/ 2104155 h 2323145"/>
              <a:gd name="connsiteX192" fmla="*/ 2918608 w 11269336"/>
              <a:gd name="connsiteY192" fmla="*/ 2104215 h 2323145"/>
              <a:gd name="connsiteX193" fmla="*/ 2918475 w 11269336"/>
              <a:gd name="connsiteY193" fmla="*/ 2103937 h 2323145"/>
              <a:gd name="connsiteX194" fmla="*/ 2910360 w 11269336"/>
              <a:gd name="connsiteY194" fmla="*/ 2103444 h 2323145"/>
              <a:gd name="connsiteX195" fmla="*/ 2904507 w 11269336"/>
              <a:gd name="connsiteY195" fmla="*/ 2104326 h 2323145"/>
              <a:gd name="connsiteX196" fmla="*/ 2889503 w 11269336"/>
              <a:gd name="connsiteY196" fmla="*/ 2104443 h 2323145"/>
              <a:gd name="connsiteX197" fmla="*/ 2884480 w 11269336"/>
              <a:gd name="connsiteY197" fmla="*/ 2102626 h 2323145"/>
              <a:gd name="connsiteX198" fmla="*/ 2882689 w 11269336"/>
              <a:gd name="connsiteY198" fmla="*/ 2099228 h 2323145"/>
              <a:gd name="connsiteX199" fmla="*/ 2881291 w 11269336"/>
              <a:gd name="connsiteY199" fmla="*/ 2099618 h 2323145"/>
              <a:gd name="connsiteX200" fmla="*/ 2853979 w 11269336"/>
              <a:gd name="connsiteY200" fmla="*/ 2090388 h 2323145"/>
              <a:gd name="connsiteX201" fmla="*/ 2791790 w 11269336"/>
              <a:gd name="connsiteY201" fmla="*/ 2080332 h 2323145"/>
              <a:gd name="connsiteX202" fmla="*/ 2755844 w 11269336"/>
              <a:gd name="connsiteY202" fmla="*/ 2078874 h 2323145"/>
              <a:gd name="connsiteX203" fmla="*/ 2657742 w 11269336"/>
              <a:gd name="connsiteY203" fmla="*/ 2070179 h 2323145"/>
              <a:gd name="connsiteX204" fmla="*/ 2559549 w 11269336"/>
              <a:gd name="connsiteY204" fmla="*/ 2057873 h 2323145"/>
              <a:gd name="connsiteX205" fmla="*/ 2512054 w 11269336"/>
              <a:gd name="connsiteY205" fmla="*/ 2031671 h 2323145"/>
              <a:gd name="connsiteX206" fmla="*/ 2506437 w 11269336"/>
              <a:gd name="connsiteY206" fmla="*/ 2030918 h 2323145"/>
              <a:gd name="connsiteX207" fmla="*/ 2491752 w 11269336"/>
              <a:gd name="connsiteY207" fmla="*/ 2033906 h 2323145"/>
              <a:gd name="connsiteX208" fmla="*/ 2486338 w 11269336"/>
              <a:gd name="connsiteY208" fmla="*/ 2035862 h 2323145"/>
              <a:gd name="connsiteX209" fmla="*/ 2478186 w 11269336"/>
              <a:gd name="connsiteY209" fmla="*/ 2036953 h 2323145"/>
              <a:gd name="connsiteX210" fmla="*/ 2477950 w 11269336"/>
              <a:gd name="connsiteY210" fmla="*/ 2036715 h 2323145"/>
              <a:gd name="connsiteX211" fmla="*/ 2470381 w 11269336"/>
              <a:gd name="connsiteY211" fmla="*/ 2038256 h 2323145"/>
              <a:gd name="connsiteX212" fmla="*/ 2433781 w 11269336"/>
              <a:gd name="connsiteY212" fmla="*/ 2049140 h 2323145"/>
              <a:gd name="connsiteX213" fmla="*/ 2381172 w 11269336"/>
              <a:gd name="connsiteY213" fmla="*/ 2030645 h 2323145"/>
              <a:gd name="connsiteX214" fmla="*/ 2360198 w 11269336"/>
              <a:gd name="connsiteY214" fmla="*/ 2029059 h 2323145"/>
              <a:gd name="connsiteX215" fmla="*/ 2348815 w 11269336"/>
              <a:gd name="connsiteY215" fmla="*/ 2026798 h 2323145"/>
              <a:gd name="connsiteX216" fmla="*/ 2347988 w 11269336"/>
              <a:gd name="connsiteY216" fmla="*/ 2025745 h 2323145"/>
              <a:gd name="connsiteX217" fmla="*/ 2312920 w 11269336"/>
              <a:gd name="connsiteY217" fmla="*/ 2036311 h 2323145"/>
              <a:gd name="connsiteX218" fmla="*/ 2307986 w 11269336"/>
              <a:gd name="connsiteY218" fmla="*/ 2035583 h 2323145"/>
              <a:gd name="connsiteX219" fmla="*/ 2285481 w 11269336"/>
              <a:gd name="connsiteY219" fmla="*/ 2045197 h 2323145"/>
              <a:gd name="connsiteX220" fmla="*/ 2273666 w 11269336"/>
              <a:gd name="connsiteY220" fmla="*/ 2048710 h 2323145"/>
              <a:gd name="connsiteX221" fmla="*/ 2270719 w 11269336"/>
              <a:gd name="connsiteY221" fmla="*/ 2052702 h 2323145"/>
              <a:gd name="connsiteX222" fmla="*/ 2253080 w 11269336"/>
              <a:gd name="connsiteY222" fmla="*/ 2056363 h 2323145"/>
              <a:gd name="connsiteX223" fmla="*/ 2250906 w 11269336"/>
              <a:gd name="connsiteY223" fmla="*/ 2055654 h 2323145"/>
              <a:gd name="connsiteX224" fmla="*/ 2236905 w 11269336"/>
              <a:gd name="connsiteY224" fmla="*/ 2062882 h 2323145"/>
              <a:gd name="connsiteX225" fmla="*/ 2225830 w 11269336"/>
              <a:gd name="connsiteY225" fmla="*/ 2074027 h 2323145"/>
              <a:gd name="connsiteX226" fmla="*/ 2073776 w 11269336"/>
              <a:gd name="connsiteY226" fmla="*/ 2089244 h 2323145"/>
              <a:gd name="connsiteX227" fmla="*/ 1948256 w 11269336"/>
              <a:gd name="connsiteY227" fmla="*/ 2146616 h 2323145"/>
              <a:gd name="connsiteX228" fmla="*/ 1865582 w 11269336"/>
              <a:gd name="connsiteY228" fmla="*/ 2153738 h 2323145"/>
              <a:gd name="connsiteX229" fmla="*/ 1835210 w 11269336"/>
              <a:gd name="connsiteY229" fmla="*/ 2134244 h 2323145"/>
              <a:gd name="connsiteX230" fmla="*/ 1632661 w 11269336"/>
              <a:gd name="connsiteY230" fmla="*/ 2173882 h 2323145"/>
              <a:gd name="connsiteX231" fmla="*/ 1579590 w 11269336"/>
              <a:gd name="connsiteY231" fmla="*/ 2173680 h 2323145"/>
              <a:gd name="connsiteX232" fmla="*/ 1535601 w 11269336"/>
              <a:gd name="connsiteY232" fmla="*/ 2194590 h 2323145"/>
              <a:gd name="connsiteX233" fmla="*/ 1515594 w 11269336"/>
              <a:gd name="connsiteY233" fmla="*/ 2189622 h 2323145"/>
              <a:gd name="connsiteX234" fmla="*/ 1512113 w 11269336"/>
              <a:gd name="connsiteY234" fmla="*/ 2188534 h 2323145"/>
              <a:gd name="connsiteX235" fmla="*/ 1498838 w 11269336"/>
              <a:gd name="connsiteY235" fmla="*/ 2189213 h 2323145"/>
              <a:gd name="connsiteX236" fmla="*/ 1494279 w 11269336"/>
              <a:gd name="connsiteY236" fmla="*/ 2183112 h 2323145"/>
              <a:gd name="connsiteX237" fmla="*/ 1473714 w 11269336"/>
              <a:gd name="connsiteY237" fmla="*/ 2179625 h 2323145"/>
              <a:gd name="connsiteX238" fmla="*/ 1449503 w 11269336"/>
              <a:gd name="connsiteY238" fmla="*/ 2182633 h 2323145"/>
              <a:gd name="connsiteX239" fmla="*/ 1266687 w 11269336"/>
              <a:gd name="connsiteY239" fmla="*/ 2212688 h 2323145"/>
              <a:gd name="connsiteX240" fmla="*/ 1239614 w 11269336"/>
              <a:gd name="connsiteY240" fmla="*/ 2209727 h 2323145"/>
              <a:gd name="connsiteX241" fmla="*/ 1202436 w 11269336"/>
              <a:gd name="connsiteY241" fmla="*/ 2209817 h 2323145"/>
              <a:gd name="connsiteX242" fmla="*/ 1136097 w 11269336"/>
              <a:gd name="connsiteY242" fmla="*/ 2205112 h 2323145"/>
              <a:gd name="connsiteX243" fmla="*/ 988232 w 11269336"/>
              <a:gd name="connsiteY243" fmla="*/ 2235635 h 2323145"/>
              <a:gd name="connsiteX244" fmla="*/ 981959 w 11269336"/>
              <a:gd name="connsiteY244" fmla="*/ 2231607 h 2323145"/>
              <a:gd name="connsiteX245" fmla="*/ 938600 w 11269336"/>
              <a:gd name="connsiteY245" fmla="*/ 2238113 h 2323145"/>
              <a:gd name="connsiteX246" fmla="*/ 791788 w 11269336"/>
              <a:gd name="connsiteY246" fmla="*/ 2293224 h 2323145"/>
              <a:gd name="connsiteX247" fmla="*/ 706914 w 11269336"/>
              <a:gd name="connsiteY247" fmla="*/ 2305046 h 2323145"/>
              <a:gd name="connsiteX248" fmla="*/ 675971 w 11269336"/>
              <a:gd name="connsiteY248" fmla="*/ 2304030 h 2323145"/>
              <a:gd name="connsiteX249" fmla="*/ 624180 w 11269336"/>
              <a:gd name="connsiteY249" fmla="*/ 2302650 h 2323145"/>
              <a:gd name="connsiteX250" fmla="*/ 583453 w 11269336"/>
              <a:gd name="connsiteY250" fmla="*/ 2288788 h 2323145"/>
              <a:gd name="connsiteX251" fmla="*/ 540946 w 11269336"/>
              <a:gd name="connsiteY251" fmla="*/ 2292721 h 2323145"/>
              <a:gd name="connsiteX252" fmla="*/ 533680 w 11269336"/>
              <a:gd name="connsiteY252" fmla="*/ 2310233 h 2323145"/>
              <a:gd name="connsiteX253" fmla="*/ 487366 w 11269336"/>
              <a:gd name="connsiteY253" fmla="*/ 2309053 h 2323145"/>
              <a:gd name="connsiteX254" fmla="*/ 416820 w 11269336"/>
              <a:gd name="connsiteY254" fmla="*/ 2305443 h 2323145"/>
              <a:gd name="connsiteX255" fmla="*/ 376805 w 11269336"/>
              <a:gd name="connsiteY255" fmla="*/ 2307647 h 2323145"/>
              <a:gd name="connsiteX256" fmla="*/ 266777 w 11269336"/>
              <a:gd name="connsiteY256" fmla="*/ 2309012 h 2323145"/>
              <a:gd name="connsiteX257" fmla="*/ 156013 w 11269336"/>
              <a:gd name="connsiteY257" fmla="*/ 2306832 h 2323145"/>
              <a:gd name="connsiteX258" fmla="*/ 87258 w 11269336"/>
              <a:gd name="connsiteY258" fmla="*/ 2285511 h 2323145"/>
              <a:gd name="connsiteX259" fmla="*/ 23798 w 11269336"/>
              <a:gd name="connsiteY259" fmla="*/ 2281822 h 2323145"/>
              <a:gd name="connsiteX260" fmla="*/ 0 w 11269336"/>
              <a:gd name="connsiteY260" fmla="*/ 2285369 h 2323145"/>
              <a:gd name="connsiteX261" fmla="*/ 0 w 11269336"/>
              <a:gd name="connsiteY26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593061 w 11269336"/>
              <a:gd name="connsiteY142" fmla="*/ 2171597 h 2323145"/>
              <a:gd name="connsiteX143" fmla="*/ 4533444 w 11269336"/>
              <a:gd name="connsiteY143" fmla="*/ 2181200 h 2323145"/>
              <a:gd name="connsiteX144" fmla="*/ 4492832 w 11269336"/>
              <a:gd name="connsiteY144" fmla="*/ 2188033 h 2323145"/>
              <a:gd name="connsiteX145" fmla="*/ 4467257 w 11269336"/>
              <a:gd name="connsiteY145" fmla="*/ 2196121 h 2323145"/>
              <a:gd name="connsiteX146" fmla="*/ 4459937 w 11269336"/>
              <a:gd name="connsiteY146" fmla="*/ 2195182 h 2323145"/>
              <a:gd name="connsiteX147" fmla="*/ 4433312 w 11269336"/>
              <a:gd name="connsiteY147" fmla="*/ 2199004 h 2323145"/>
              <a:gd name="connsiteX148" fmla="*/ 4420601 w 11269336"/>
              <a:gd name="connsiteY148" fmla="*/ 2205158 h 2323145"/>
              <a:gd name="connsiteX149" fmla="*/ 4405765 w 11269336"/>
              <a:gd name="connsiteY149" fmla="*/ 2199902 h 2323145"/>
              <a:gd name="connsiteX150" fmla="*/ 4401354 w 11269336"/>
              <a:gd name="connsiteY150" fmla="*/ 2194745 h 2323145"/>
              <a:gd name="connsiteX151" fmla="*/ 4383151 w 11269336"/>
              <a:gd name="connsiteY151" fmla="*/ 2201140 h 2323145"/>
              <a:gd name="connsiteX152" fmla="*/ 4366646 w 11269336"/>
              <a:gd name="connsiteY152" fmla="*/ 2198564 h 2323145"/>
              <a:gd name="connsiteX153" fmla="*/ 4354009 w 11269336"/>
              <a:gd name="connsiteY153" fmla="*/ 2204984 h 2323145"/>
              <a:gd name="connsiteX154" fmla="*/ 4348284 w 11269336"/>
              <a:gd name="connsiteY154" fmla="*/ 2205270 h 2323145"/>
              <a:gd name="connsiteX155" fmla="*/ 4333906 w 11269336"/>
              <a:gd name="connsiteY155" fmla="*/ 2205251 h 2323145"/>
              <a:gd name="connsiteX156" fmla="*/ 4308819 w 11269336"/>
              <a:gd name="connsiteY156" fmla="*/ 2203822 h 2323145"/>
              <a:gd name="connsiteX157" fmla="*/ 4301210 w 11269336"/>
              <a:gd name="connsiteY157" fmla="*/ 2204456 h 2323145"/>
              <a:gd name="connsiteX158" fmla="*/ 4283095 w 11269336"/>
              <a:gd name="connsiteY158" fmla="*/ 2198177 h 2323145"/>
              <a:gd name="connsiteX159" fmla="*/ 4250119 w 11269336"/>
              <a:gd name="connsiteY159" fmla="*/ 2196342 h 2323145"/>
              <a:gd name="connsiteX160" fmla="*/ 4189203 w 11269336"/>
              <a:gd name="connsiteY160" fmla="*/ 2178994 h 2323145"/>
              <a:gd name="connsiteX161" fmla="*/ 4154035 w 11269336"/>
              <a:gd name="connsiteY161" fmla="*/ 2171950 h 2323145"/>
              <a:gd name="connsiteX162" fmla="*/ 4129569 w 11269336"/>
              <a:gd name="connsiteY162" fmla="*/ 2163850 h 2323145"/>
              <a:gd name="connsiteX163" fmla="*/ 4061250 w 11269336"/>
              <a:gd name="connsiteY163" fmla="*/ 2159236 h 2323145"/>
              <a:gd name="connsiteX164" fmla="*/ 3945480 w 11269336"/>
              <a:gd name="connsiteY164" fmla="*/ 2158279 h 2323145"/>
              <a:gd name="connsiteX165" fmla="*/ 3921468 w 11269336"/>
              <a:gd name="connsiteY165" fmla="*/ 2156588 h 2323145"/>
              <a:gd name="connsiteX166" fmla="*/ 3903348 w 11269336"/>
              <a:gd name="connsiteY166" fmla="*/ 2149220 h 2323145"/>
              <a:gd name="connsiteX167" fmla="*/ 3901342 w 11269336"/>
              <a:gd name="connsiteY167" fmla="*/ 2142355 h 2323145"/>
              <a:gd name="connsiteX168" fmla="*/ 3888539 w 11269336"/>
              <a:gd name="connsiteY168" fmla="*/ 2140476 h 2323145"/>
              <a:gd name="connsiteX169" fmla="*/ 3885662 w 11269336"/>
              <a:gd name="connsiteY169" fmla="*/ 2138740 h 2323145"/>
              <a:gd name="connsiteX170" fmla="*/ 3868627 w 11269336"/>
              <a:gd name="connsiteY170" fmla="*/ 2130023 h 2323145"/>
              <a:gd name="connsiteX171" fmla="*/ 3819177 w 11269336"/>
              <a:gd name="connsiteY171" fmla="*/ 2142111 h 2323145"/>
              <a:gd name="connsiteX172" fmla="*/ 3769100 w 11269336"/>
              <a:gd name="connsiteY172" fmla="*/ 2131731 h 2323145"/>
              <a:gd name="connsiteX173" fmla="*/ 3562752 w 11269336"/>
              <a:gd name="connsiteY173" fmla="*/ 2131785 h 2323145"/>
              <a:gd name="connsiteX174" fmla="*/ 3541402 w 11269336"/>
              <a:gd name="connsiteY174" fmla="*/ 2106821 h 2323145"/>
              <a:gd name="connsiteX175" fmla="*/ 3365341 w 11269336"/>
              <a:gd name="connsiteY175" fmla="*/ 2077638 h 2323145"/>
              <a:gd name="connsiteX176" fmla="*/ 3170922 w 11269336"/>
              <a:gd name="connsiteY176" fmla="*/ 2115957 h 2323145"/>
              <a:gd name="connsiteX177" fmla="*/ 3156256 w 11269336"/>
              <a:gd name="connsiteY177" fmla="*/ 2124773 h 2323145"/>
              <a:gd name="connsiteX178" fmla="*/ 3140298 w 11269336"/>
              <a:gd name="connsiteY178" fmla="*/ 2129182 h 2323145"/>
              <a:gd name="connsiteX179" fmla="*/ 3138514 w 11269336"/>
              <a:gd name="connsiteY179" fmla="*/ 2128069 h 2323145"/>
              <a:gd name="connsiteX180" fmla="*/ 3120467 w 11269336"/>
              <a:gd name="connsiteY180" fmla="*/ 2128281 h 2323145"/>
              <a:gd name="connsiteX181" fmla="*/ 3116175 w 11269336"/>
              <a:gd name="connsiteY181" fmla="*/ 2131633 h 2323145"/>
              <a:gd name="connsiteX182" fmla="*/ 3103685 w 11269336"/>
              <a:gd name="connsiteY182" fmla="*/ 2132814 h 2323145"/>
              <a:gd name="connsiteX183" fmla="*/ 3078794 w 11269336"/>
              <a:gd name="connsiteY183" fmla="*/ 2137935 h 2323145"/>
              <a:gd name="connsiteX184" fmla="*/ 3074407 w 11269336"/>
              <a:gd name="connsiteY184" fmla="*/ 2136274 h 2323145"/>
              <a:gd name="connsiteX185" fmla="*/ 3037285 w 11269336"/>
              <a:gd name="connsiteY185" fmla="*/ 2139919 h 2323145"/>
              <a:gd name="connsiteX186" fmla="*/ 3036901 w 11269336"/>
              <a:gd name="connsiteY186" fmla="*/ 2138726 h 2323145"/>
              <a:gd name="connsiteX187" fmla="*/ 3026996 w 11269336"/>
              <a:gd name="connsiteY187" fmla="*/ 2134322 h 2323145"/>
              <a:gd name="connsiteX188" fmla="*/ 3007772 w 11269336"/>
              <a:gd name="connsiteY188" fmla="*/ 2128742 h 2323145"/>
              <a:gd name="connsiteX189" fmla="*/ 2965030 w 11269336"/>
              <a:gd name="connsiteY189" fmla="*/ 2100494 h 2323145"/>
              <a:gd name="connsiteX190" fmla="*/ 2926342 w 11269336"/>
              <a:gd name="connsiteY190" fmla="*/ 2104155 h 2323145"/>
              <a:gd name="connsiteX191" fmla="*/ 2918608 w 11269336"/>
              <a:gd name="connsiteY191" fmla="*/ 2104215 h 2323145"/>
              <a:gd name="connsiteX192" fmla="*/ 2918475 w 11269336"/>
              <a:gd name="connsiteY192" fmla="*/ 2103937 h 2323145"/>
              <a:gd name="connsiteX193" fmla="*/ 2910360 w 11269336"/>
              <a:gd name="connsiteY193" fmla="*/ 2103444 h 2323145"/>
              <a:gd name="connsiteX194" fmla="*/ 2904507 w 11269336"/>
              <a:gd name="connsiteY194" fmla="*/ 2104326 h 2323145"/>
              <a:gd name="connsiteX195" fmla="*/ 2889503 w 11269336"/>
              <a:gd name="connsiteY195" fmla="*/ 2104443 h 2323145"/>
              <a:gd name="connsiteX196" fmla="*/ 2884480 w 11269336"/>
              <a:gd name="connsiteY196" fmla="*/ 2102626 h 2323145"/>
              <a:gd name="connsiteX197" fmla="*/ 2882689 w 11269336"/>
              <a:gd name="connsiteY197" fmla="*/ 2099228 h 2323145"/>
              <a:gd name="connsiteX198" fmla="*/ 2881291 w 11269336"/>
              <a:gd name="connsiteY198" fmla="*/ 2099618 h 2323145"/>
              <a:gd name="connsiteX199" fmla="*/ 2853979 w 11269336"/>
              <a:gd name="connsiteY199" fmla="*/ 2090388 h 2323145"/>
              <a:gd name="connsiteX200" fmla="*/ 2791790 w 11269336"/>
              <a:gd name="connsiteY200" fmla="*/ 2080332 h 2323145"/>
              <a:gd name="connsiteX201" fmla="*/ 2755844 w 11269336"/>
              <a:gd name="connsiteY201" fmla="*/ 2078874 h 2323145"/>
              <a:gd name="connsiteX202" fmla="*/ 2657742 w 11269336"/>
              <a:gd name="connsiteY202" fmla="*/ 2070179 h 2323145"/>
              <a:gd name="connsiteX203" fmla="*/ 2559549 w 11269336"/>
              <a:gd name="connsiteY203" fmla="*/ 2057873 h 2323145"/>
              <a:gd name="connsiteX204" fmla="*/ 2512054 w 11269336"/>
              <a:gd name="connsiteY204" fmla="*/ 2031671 h 2323145"/>
              <a:gd name="connsiteX205" fmla="*/ 2506437 w 11269336"/>
              <a:gd name="connsiteY205" fmla="*/ 2030918 h 2323145"/>
              <a:gd name="connsiteX206" fmla="*/ 2491752 w 11269336"/>
              <a:gd name="connsiteY206" fmla="*/ 2033906 h 2323145"/>
              <a:gd name="connsiteX207" fmla="*/ 2486338 w 11269336"/>
              <a:gd name="connsiteY207" fmla="*/ 2035862 h 2323145"/>
              <a:gd name="connsiteX208" fmla="*/ 2478186 w 11269336"/>
              <a:gd name="connsiteY208" fmla="*/ 2036953 h 2323145"/>
              <a:gd name="connsiteX209" fmla="*/ 2477950 w 11269336"/>
              <a:gd name="connsiteY209" fmla="*/ 2036715 h 2323145"/>
              <a:gd name="connsiteX210" fmla="*/ 2470381 w 11269336"/>
              <a:gd name="connsiteY210" fmla="*/ 2038256 h 2323145"/>
              <a:gd name="connsiteX211" fmla="*/ 2433781 w 11269336"/>
              <a:gd name="connsiteY211" fmla="*/ 2049140 h 2323145"/>
              <a:gd name="connsiteX212" fmla="*/ 2381172 w 11269336"/>
              <a:gd name="connsiteY212" fmla="*/ 2030645 h 2323145"/>
              <a:gd name="connsiteX213" fmla="*/ 2360198 w 11269336"/>
              <a:gd name="connsiteY213" fmla="*/ 2029059 h 2323145"/>
              <a:gd name="connsiteX214" fmla="*/ 2348815 w 11269336"/>
              <a:gd name="connsiteY214" fmla="*/ 2026798 h 2323145"/>
              <a:gd name="connsiteX215" fmla="*/ 2347988 w 11269336"/>
              <a:gd name="connsiteY215" fmla="*/ 2025745 h 2323145"/>
              <a:gd name="connsiteX216" fmla="*/ 2312920 w 11269336"/>
              <a:gd name="connsiteY216" fmla="*/ 2036311 h 2323145"/>
              <a:gd name="connsiteX217" fmla="*/ 2307986 w 11269336"/>
              <a:gd name="connsiteY217" fmla="*/ 2035583 h 2323145"/>
              <a:gd name="connsiteX218" fmla="*/ 2285481 w 11269336"/>
              <a:gd name="connsiteY218" fmla="*/ 2045197 h 2323145"/>
              <a:gd name="connsiteX219" fmla="*/ 2273666 w 11269336"/>
              <a:gd name="connsiteY219" fmla="*/ 2048710 h 2323145"/>
              <a:gd name="connsiteX220" fmla="*/ 2270719 w 11269336"/>
              <a:gd name="connsiteY220" fmla="*/ 2052702 h 2323145"/>
              <a:gd name="connsiteX221" fmla="*/ 2253080 w 11269336"/>
              <a:gd name="connsiteY221" fmla="*/ 2056363 h 2323145"/>
              <a:gd name="connsiteX222" fmla="*/ 2250906 w 11269336"/>
              <a:gd name="connsiteY222" fmla="*/ 2055654 h 2323145"/>
              <a:gd name="connsiteX223" fmla="*/ 2236905 w 11269336"/>
              <a:gd name="connsiteY223" fmla="*/ 2062882 h 2323145"/>
              <a:gd name="connsiteX224" fmla="*/ 2225830 w 11269336"/>
              <a:gd name="connsiteY224" fmla="*/ 2074027 h 2323145"/>
              <a:gd name="connsiteX225" fmla="*/ 2073776 w 11269336"/>
              <a:gd name="connsiteY225" fmla="*/ 2089244 h 2323145"/>
              <a:gd name="connsiteX226" fmla="*/ 1948256 w 11269336"/>
              <a:gd name="connsiteY226" fmla="*/ 2146616 h 2323145"/>
              <a:gd name="connsiteX227" fmla="*/ 1865582 w 11269336"/>
              <a:gd name="connsiteY227" fmla="*/ 2153738 h 2323145"/>
              <a:gd name="connsiteX228" fmla="*/ 1835210 w 11269336"/>
              <a:gd name="connsiteY228" fmla="*/ 2134244 h 2323145"/>
              <a:gd name="connsiteX229" fmla="*/ 1632661 w 11269336"/>
              <a:gd name="connsiteY229" fmla="*/ 2173882 h 2323145"/>
              <a:gd name="connsiteX230" fmla="*/ 1579590 w 11269336"/>
              <a:gd name="connsiteY230" fmla="*/ 2173680 h 2323145"/>
              <a:gd name="connsiteX231" fmla="*/ 1535601 w 11269336"/>
              <a:gd name="connsiteY231" fmla="*/ 2194590 h 2323145"/>
              <a:gd name="connsiteX232" fmla="*/ 1515594 w 11269336"/>
              <a:gd name="connsiteY232" fmla="*/ 2189622 h 2323145"/>
              <a:gd name="connsiteX233" fmla="*/ 1512113 w 11269336"/>
              <a:gd name="connsiteY233" fmla="*/ 2188534 h 2323145"/>
              <a:gd name="connsiteX234" fmla="*/ 1498838 w 11269336"/>
              <a:gd name="connsiteY234" fmla="*/ 2189213 h 2323145"/>
              <a:gd name="connsiteX235" fmla="*/ 1494279 w 11269336"/>
              <a:gd name="connsiteY235" fmla="*/ 2183112 h 2323145"/>
              <a:gd name="connsiteX236" fmla="*/ 1473714 w 11269336"/>
              <a:gd name="connsiteY236" fmla="*/ 2179625 h 2323145"/>
              <a:gd name="connsiteX237" fmla="*/ 1449503 w 11269336"/>
              <a:gd name="connsiteY237" fmla="*/ 2182633 h 2323145"/>
              <a:gd name="connsiteX238" fmla="*/ 1266687 w 11269336"/>
              <a:gd name="connsiteY238" fmla="*/ 2212688 h 2323145"/>
              <a:gd name="connsiteX239" fmla="*/ 1239614 w 11269336"/>
              <a:gd name="connsiteY239" fmla="*/ 2209727 h 2323145"/>
              <a:gd name="connsiteX240" fmla="*/ 1202436 w 11269336"/>
              <a:gd name="connsiteY240" fmla="*/ 2209817 h 2323145"/>
              <a:gd name="connsiteX241" fmla="*/ 1136097 w 11269336"/>
              <a:gd name="connsiteY241" fmla="*/ 2205112 h 2323145"/>
              <a:gd name="connsiteX242" fmla="*/ 988232 w 11269336"/>
              <a:gd name="connsiteY242" fmla="*/ 2235635 h 2323145"/>
              <a:gd name="connsiteX243" fmla="*/ 981959 w 11269336"/>
              <a:gd name="connsiteY243" fmla="*/ 2231607 h 2323145"/>
              <a:gd name="connsiteX244" fmla="*/ 938600 w 11269336"/>
              <a:gd name="connsiteY244" fmla="*/ 2238113 h 2323145"/>
              <a:gd name="connsiteX245" fmla="*/ 791788 w 11269336"/>
              <a:gd name="connsiteY245" fmla="*/ 2293224 h 2323145"/>
              <a:gd name="connsiteX246" fmla="*/ 706914 w 11269336"/>
              <a:gd name="connsiteY246" fmla="*/ 2305046 h 2323145"/>
              <a:gd name="connsiteX247" fmla="*/ 675971 w 11269336"/>
              <a:gd name="connsiteY247" fmla="*/ 2304030 h 2323145"/>
              <a:gd name="connsiteX248" fmla="*/ 624180 w 11269336"/>
              <a:gd name="connsiteY248" fmla="*/ 2302650 h 2323145"/>
              <a:gd name="connsiteX249" fmla="*/ 583453 w 11269336"/>
              <a:gd name="connsiteY249" fmla="*/ 2288788 h 2323145"/>
              <a:gd name="connsiteX250" fmla="*/ 540946 w 11269336"/>
              <a:gd name="connsiteY250" fmla="*/ 2292721 h 2323145"/>
              <a:gd name="connsiteX251" fmla="*/ 533680 w 11269336"/>
              <a:gd name="connsiteY251" fmla="*/ 2310233 h 2323145"/>
              <a:gd name="connsiteX252" fmla="*/ 487366 w 11269336"/>
              <a:gd name="connsiteY252" fmla="*/ 2309053 h 2323145"/>
              <a:gd name="connsiteX253" fmla="*/ 416820 w 11269336"/>
              <a:gd name="connsiteY253" fmla="*/ 2305443 h 2323145"/>
              <a:gd name="connsiteX254" fmla="*/ 376805 w 11269336"/>
              <a:gd name="connsiteY254" fmla="*/ 2307647 h 2323145"/>
              <a:gd name="connsiteX255" fmla="*/ 266777 w 11269336"/>
              <a:gd name="connsiteY255" fmla="*/ 2309012 h 2323145"/>
              <a:gd name="connsiteX256" fmla="*/ 156013 w 11269336"/>
              <a:gd name="connsiteY256" fmla="*/ 2306832 h 2323145"/>
              <a:gd name="connsiteX257" fmla="*/ 87258 w 11269336"/>
              <a:gd name="connsiteY257" fmla="*/ 2285511 h 2323145"/>
              <a:gd name="connsiteX258" fmla="*/ 23798 w 11269336"/>
              <a:gd name="connsiteY258" fmla="*/ 2281822 h 2323145"/>
              <a:gd name="connsiteX259" fmla="*/ 0 w 11269336"/>
              <a:gd name="connsiteY259" fmla="*/ 2285369 h 2323145"/>
              <a:gd name="connsiteX260" fmla="*/ 0 w 11269336"/>
              <a:gd name="connsiteY260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593061 w 11269336"/>
              <a:gd name="connsiteY141" fmla="*/ 2171597 h 2323145"/>
              <a:gd name="connsiteX142" fmla="*/ 4533444 w 11269336"/>
              <a:gd name="connsiteY142" fmla="*/ 2181200 h 2323145"/>
              <a:gd name="connsiteX143" fmla="*/ 4492832 w 11269336"/>
              <a:gd name="connsiteY143" fmla="*/ 2188033 h 2323145"/>
              <a:gd name="connsiteX144" fmla="*/ 4467257 w 11269336"/>
              <a:gd name="connsiteY144" fmla="*/ 2196121 h 2323145"/>
              <a:gd name="connsiteX145" fmla="*/ 4459937 w 11269336"/>
              <a:gd name="connsiteY145" fmla="*/ 2195182 h 2323145"/>
              <a:gd name="connsiteX146" fmla="*/ 4433312 w 11269336"/>
              <a:gd name="connsiteY146" fmla="*/ 2199004 h 2323145"/>
              <a:gd name="connsiteX147" fmla="*/ 4420601 w 11269336"/>
              <a:gd name="connsiteY147" fmla="*/ 2205158 h 2323145"/>
              <a:gd name="connsiteX148" fmla="*/ 4405765 w 11269336"/>
              <a:gd name="connsiteY148" fmla="*/ 2199902 h 2323145"/>
              <a:gd name="connsiteX149" fmla="*/ 4401354 w 11269336"/>
              <a:gd name="connsiteY149" fmla="*/ 2194745 h 2323145"/>
              <a:gd name="connsiteX150" fmla="*/ 4383151 w 11269336"/>
              <a:gd name="connsiteY150" fmla="*/ 2201140 h 2323145"/>
              <a:gd name="connsiteX151" fmla="*/ 4366646 w 11269336"/>
              <a:gd name="connsiteY151" fmla="*/ 2198564 h 2323145"/>
              <a:gd name="connsiteX152" fmla="*/ 4354009 w 11269336"/>
              <a:gd name="connsiteY152" fmla="*/ 2204984 h 2323145"/>
              <a:gd name="connsiteX153" fmla="*/ 4348284 w 11269336"/>
              <a:gd name="connsiteY153" fmla="*/ 2205270 h 2323145"/>
              <a:gd name="connsiteX154" fmla="*/ 4333906 w 11269336"/>
              <a:gd name="connsiteY154" fmla="*/ 2205251 h 2323145"/>
              <a:gd name="connsiteX155" fmla="*/ 4308819 w 11269336"/>
              <a:gd name="connsiteY155" fmla="*/ 2203822 h 2323145"/>
              <a:gd name="connsiteX156" fmla="*/ 4301210 w 11269336"/>
              <a:gd name="connsiteY156" fmla="*/ 2204456 h 2323145"/>
              <a:gd name="connsiteX157" fmla="*/ 4283095 w 11269336"/>
              <a:gd name="connsiteY157" fmla="*/ 2198177 h 2323145"/>
              <a:gd name="connsiteX158" fmla="*/ 4250119 w 11269336"/>
              <a:gd name="connsiteY158" fmla="*/ 2196342 h 2323145"/>
              <a:gd name="connsiteX159" fmla="*/ 4189203 w 11269336"/>
              <a:gd name="connsiteY159" fmla="*/ 2178994 h 2323145"/>
              <a:gd name="connsiteX160" fmla="*/ 4154035 w 11269336"/>
              <a:gd name="connsiteY160" fmla="*/ 2171950 h 2323145"/>
              <a:gd name="connsiteX161" fmla="*/ 4129569 w 11269336"/>
              <a:gd name="connsiteY161" fmla="*/ 2163850 h 2323145"/>
              <a:gd name="connsiteX162" fmla="*/ 4061250 w 11269336"/>
              <a:gd name="connsiteY162" fmla="*/ 2159236 h 2323145"/>
              <a:gd name="connsiteX163" fmla="*/ 3945480 w 11269336"/>
              <a:gd name="connsiteY163" fmla="*/ 2158279 h 2323145"/>
              <a:gd name="connsiteX164" fmla="*/ 3921468 w 11269336"/>
              <a:gd name="connsiteY164" fmla="*/ 2156588 h 2323145"/>
              <a:gd name="connsiteX165" fmla="*/ 3903348 w 11269336"/>
              <a:gd name="connsiteY165" fmla="*/ 2149220 h 2323145"/>
              <a:gd name="connsiteX166" fmla="*/ 3901342 w 11269336"/>
              <a:gd name="connsiteY166" fmla="*/ 2142355 h 2323145"/>
              <a:gd name="connsiteX167" fmla="*/ 3888539 w 11269336"/>
              <a:gd name="connsiteY167" fmla="*/ 2140476 h 2323145"/>
              <a:gd name="connsiteX168" fmla="*/ 3885662 w 11269336"/>
              <a:gd name="connsiteY168" fmla="*/ 2138740 h 2323145"/>
              <a:gd name="connsiteX169" fmla="*/ 3868627 w 11269336"/>
              <a:gd name="connsiteY169" fmla="*/ 2130023 h 2323145"/>
              <a:gd name="connsiteX170" fmla="*/ 3819177 w 11269336"/>
              <a:gd name="connsiteY170" fmla="*/ 2142111 h 2323145"/>
              <a:gd name="connsiteX171" fmla="*/ 3769100 w 11269336"/>
              <a:gd name="connsiteY171" fmla="*/ 2131731 h 2323145"/>
              <a:gd name="connsiteX172" fmla="*/ 3562752 w 11269336"/>
              <a:gd name="connsiteY172" fmla="*/ 2131785 h 2323145"/>
              <a:gd name="connsiteX173" fmla="*/ 3541402 w 11269336"/>
              <a:gd name="connsiteY173" fmla="*/ 2106821 h 2323145"/>
              <a:gd name="connsiteX174" fmla="*/ 3365341 w 11269336"/>
              <a:gd name="connsiteY174" fmla="*/ 2077638 h 2323145"/>
              <a:gd name="connsiteX175" fmla="*/ 3170922 w 11269336"/>
              <a:gd name="connsiteY175" fmla="*/ 2115957 h 2323145"/>
              <a:gd name="connsiteX176" fmla="*/ 3156256 w 11269336"/>
              <a:gd name="connsiteY176" fmla="*/ 2124773 h 2323145"/>
              <a:gd name="connsiteX177" fmla="*/ 3140298 w 11269336"/>
              <a:gd name="connsiteY177" fmla="*/ 2129182 h 2323145"/>
              <a:gd name="connsiteX178" fmla="*/ 3138514 w 11269336"/>
              <a:gd name="connsiteY178" fmla="*/ 2128069 h 2323145"/>
              <a:gd name="connsiteX179" fmla="*/ 3120467 w 11269336"/>
              <a:gd name="connsiteY179" fmla="*/ 2128281 h 2323145"/>
              <a:gd name="connsiteX180" fmla="*/ 3116175 w 11269336"/>
              <a:gd name="connsiteY180" fmla="*/ 2131633 h 2323145"/>
              <a:gd name="connsiteX181" fmla="*/ 3103685 w 11269336"/>
              <a:gd name="connsiteY181" fmla="*/ 2132814 h 2323145"/>
              <a:gd name="connsiteX182" fmla="*/ 3078794 w 11269336"/>
              <a:gd name="connsiteY182" fmla="*/ 2137935 h 2323145"/>
              <a:gd name="connsiteX183" fmla="*/ 3074407 w 11269336"/>
              <a:gd name="connsiteY183" fmla="*/ 2136274 h 2323145"/>
              <a:gd name="connsiteX184" fmla="*/ 3037285 w 11269336"/>
              <a:gd name="connsiteY184" fmla="*/ 2139919 h 2323145"/>
              <a:gd name="connsiteX185" fmla="*/ 3036901 w 11269336"/>
              <a:gd name="connsiteY185" fmla="*/ 2138726 h 2323145"/>
              <a:gd name="connsiteX186" fmla="*/ 3026996 w 11269336"/>
              <a:gd name="connsiteY186" fmla="*/ 2134322 h 2323145"/>
              <a:gd name="connsiteX187" fmla="*/ 3007772 w 11269336"/>
              <a:gd name="connsiteY187" fmla="*/ 2128742 h 2323145"/>
              <a:gd name="connsiteX188" fmla="*/ 2965030 w 11269336"/>
              <a:gd name="connsiteY188" fmla="*/ 2100494 h 2323145"/>
              <a:gd name="connsiteX189" fmla="*/ 2926342 w 11269336"/>
              <a:gd name="connsiteY189" fmla="*/ 2104155 h 2323145"/>
              <a:gd name="connsiteX190" fmla="*/ 2918608 w 11269336"/>
              <a:gd name="connsiteY190" fmla="*/ 2104215 h 2323145"/>
              <a:gd name="connsiteX191" fmla="*/ 2918475 w 11269336"/>
              <a:gd name="connsiteY191" fmla="*/ 2103937 h 2323145"/>
              <a:gd name="connsiteX192" fmla="*/ 2910360 w 11269336"/>
              <a:gd name="connsiteY192" fmla="*/ 2103444 h 2323145"/>
              <a:gd name="connsiteX193" fmla="*/ 2904507 w 11269336"/>
              <a:gd name="connsiteY193" fmla="*/ 2104326 h 2323145"/>
              <a:gd name="connsiteX194" fmla="*/ 2889503 w 11269336"/>
              <a:gd name="connsiteY194" fmla="*/ 2104443 h 2323145"/>
              <a:gd name="connsiteX195" fmla="*/ 2884480 w 11269336"/>
              <a:gd name="connsiteY195" fmla="*/ 2102626 h 2323145"/>
              <a:gd name="connsiteX196" fmla="*/ 2882689 w 11269336"/>
              <a:gd name="connsiteY196" fmla="*/ 2099228 h 2323145"/>
              <a:gd name="connsiteX197" fmla="*/ 2881291 w 11269336"/>
              <a:gd name="connsiteY197" fmla="*/ 2099618 h 2323145"/>
              <a:gd name="connsiteX198" fmla="*/ 2853979 w 11269336"/>
              <a:gd name="connsiteY198" fmla="*/ 2090388 h 2323145"/>
              <a:gd name="connsiteX199" fmla="*/ 2791790 w 11269336"/>
              <a:gd name="connsiteY199" fmla="*/ 2080332 h 2323145"/>
              <a:gd name="connsiteX200" fmla="*/ 2755844 w 11269336"/>
              <a:gd name="connsiteY200" fmla="*/ 2078874 h 2323145"/>
              <a:gd name="connsiteX201" fmla="*/ 2657742 w 11269336"/>
              <a:gd name="connsiteY201" fmla="*/ 2070179 h 2323145"/>
              <a:gd name="connsiteX202" fmla="*/ 2559549 w 11269336"/>
              <a:gd name="connsiteY202" fmla="*/ 2057873 h 2323145"/>
              <a:gd name="connsiteX203" fmla="*/ 2512054 w 11269336"/>
              <a:gd name="connsiteY203" fmla="*/ 2031671 h 2323145"/>
              <a:gd name="connsiteX204" fmla="*/ 2506437 w 11269336"/>
              <a:gd name="connsiteY204" fmla="*/ 2030918 h 2323145"/>
              <a:gd name="connsiteX205" fmla="*/ 2491752 w 11269336"/>
              <a:gd name="connsiteY205" fmla="*/ 2033906 h 2323145"/>
              <a:gd name="connsiteX206" fmla="*/ 2486338 w 11269336"/>
              <a:gd name="connsiteY206" fmla="*/ 2035862 h 2323145"/>
              <a:gd name="connsiteX207" fmla="*/ 2478186 w 11269336"/>
              <a:gd name="connsiteY207" fmla="*/ 2036953 h 2323145"/>
              <a:gd name="connsiteX208" fmla="*/ 2477950 w 11269336"/>
              <a:gd name="connsiteY208" fmla="*/ 2036715 h 2323145"/>
              <a:gd name="connsiteX209" fmla="*/ 2470381 w 11269336"/>
              <a:gd name="connsiteY209" fmla="*/ 2038256 h 2323145"/>
              <a:gd name="connsiteX210" fmla="*/ 2433781 w 11269336"/>
              <a:gd name="connsiteY210" fmla="*/ 2049140 h 2323145"/>
              <a:gd name="connsiteX211" fmla="*/ 2381172 w 11269336"/>
              <a:gd name="connsiteY211" fmla="*/ 2030645 h 2323145"/>
              <a:gd name="connsiteX212" fmla="*/ 2360198 w 11269336"/>
              <a:gd name="connsiteY212" fmla="*/ 2029059 h 2323145"/>
              <a:gd name="connsiteX213" fmla="*/ 2348815 w 11269336"/>
              <a:gd name="connsiteY213" fmla="*/ 2026798 h 2323145"/>
              <a:gd name="connsiteX214" fmla="*/ 2347988 w 11269336"/>
              <a:gd name="connsiteY214" fmla="*/ 2025745 h 2323145"/>
              <a:gd name="connsiteX215" fmla="*/ 2312920 w 11269336"/>
              <a:gd name="connsiteY215" fmla="*/ 2036311 h 2323145"/>
              <a:gd name="connsiteX216" fmla="*/ 2307986 w 11269336"/>
              <a:gd name="connsiteY216" fmla="*/ 2035583 h 2323145"/>
              <a:gd name="connsiteX217" fmla="*/ 2285481 w 11269336"/>
              <a:gd name="connsiteY217" fmla="*/ 2045197 h 2323145"/>
              <a:gd name="connsiteX218" fmla="*/ 2273666 w 11269336"/>
              <a:gd name="connsiteY218" fmla="*/ 2048710 h 2323145"/>
              <a:gd name="connsiteX219" fmla="*/ 2270719 w 11269336"/>
              <a:gd name="connsiteY219" fmla="*/ 2052702 h 2323145"/>
              <a:gd name="connsiteX220" fmla="*/ 2253080 w 11269336"/>
              <a:gd name="connsiteY220" fmla="*/ 2056363 h 2323145"/>
              <a:gd name="connsiteX221" fmla="*/ 2250906 w 11269336"/>
              <a:gd name="connsiteY221" fmla="*/ 2055654 h 2323145"/>
              <a:gd name="connsiteX222" fmla="*/ 2236905 w 11269336"/>
              <a:gd name="connsiteY222" fmla="*/ 2062882 h 2323145"/>
              <a:gd name="connsiteX223" fmla="*/ 2225830 w 11269336"/>
              <a:gd name="connsiteY223" fmla="*/ 2074027 h 2323145"/>
              <a:gd name="connsiteX224" fmla="*/ 2073776 w 11269336"/>
              <a:gd name="connsiteY224" fmla="*/ 2089244 h 2323145"/>
              <a:gd name="connsiteX225" fmla="*/ 1948256 w 11269336"/>
              <a:gd name="connsiteY225" fmla="*/ 2146616 h 2323145"/>
              <a:gd name="connsiteX226" fmla="*/ 1865582 w 11269336"/>
              <a:gd name="connsiteY226" fmla="*/ 2153738 h 2323145"/>
              <a:gd name="connsiteX227" fmla="*/ 1835210 w 11269336"/>
              <a:gd name="connsiteY227" fmla="*/ 2134244 h 2323145"/>
              <a:gd name="connsiteX228" fmla="*/ 1632661 w 11269336"/>
              <a:gd name="connsiteY228" fmla="*/ 2173882 h 2323145"/>
              <a:gd name="connsiteX229" fmla="*/ 1579590 w 11269336"/>
              <a:gd name="connsiteY229" fmla="*/ 2173680 h 2323145"/>
              <a:gd name="connsiteX230" fmla="*/ 1535601 w 11269336"/>
              <a:gd name="connsiteY230" fmla="*/ 2194590 h 2323145"/>
              <a:gd name="connsiteX231" fmla="*/ 1515594 w 11269336"/>
              <a:gd name="connsiteY231" fmla="*/ 2189622 h 2323145"/>
              <a:gd name="connsiteX232" fmla="*/ 1512113 w 11269336"/>
              <a:gd name="connsiteY232" fmla="*/ 2188534 h 2323145"/>
              <a:gd name="connsiteX233" fmla="*/ 1498838 w 11269336"/>
              <a:gd name="connsiteY233" fmla="*/ 2189213 h 2323145"/>
              <a:gd name="connsiteX234" fmla="*/ 1494279 w 11269336"/>
              <a:gd name="connsiteY234" fmla="*/ 2183112 h 2323145"/>
              <a:gd name="connsiteX235" fmla="*/ 1473714 w 11269336"/>
              <a:gd name="connsiteY235" fmla="*/ 2179625 h 2323145"/>
              <a:gd name="connsiteX236" fmla="*/ 1449503 w 11269336"/>
              <a:gd name="connsiteY236" fmla="*/ 2182633 h 2323145"/>
              <a:gd name="connsiteX237" fmla="*/ 1266687 w 11269336"/>
              <a:gd name="connsiteY237" fmla="*/ 2212688 h 2323145"/>
              <a:gd name="connsiteX238" fmla="*/ 1239614 w 11269336"/>
              <a:gd name="connsiteY238" fmla="*/ 2209727 h 2323145"/>
              <a:gd name="connsiteX239" fmla="*/ 1202436 w 11269336"/>
              <a:gd name="connsiteY239" fmla="*/ 2209817 h 2323145"/>
              <a:gd name="connsiteX240" fmla="*/ 1136097 w 11269336"/>
              <a:gd name="connsiteY240" fmla="*/ 2205112 h 2323145"/>
              <a:gd name="connsiteX241" fmla="*/ 988232 w 11269336"/>
              <a:gd name="connsiteY241" fmla="*/ 2235635 h 2323145"/>
              <a:gd name="connsiteX242" fmla="*/ 981959 w 11269336"/>
              <a:gd name="connsiteY242" fmla="*/ 2231607 h 2323145"/>
              <a:gd name="connsiteX243" fmla="*/ 938600 w 11269336"/>
              <a:gd name="connsiteY243" fmla="*/ 2238113 h 2323145"/>
              <a:gd name="connsiteX244" fmla="*/ 791788 w 11269336"/>
              <a:gd name="connsiteY244" fmla="*/ 2293224 h 2323145"/>
              <a:gd name="connsiteX245" fmla="*/ 706914 w 11269336"/>
              <a:gd name="connsiteY245" fmla="*/ 2305046 h 2323145"/>
              <a:gd name="connsiteX246" fmla="*/ 675971 w 11269336"/>
              <a:gd name="connsiteY246" fmla="*/ 2304030 h 2323145"/>
              <a:gd name="connsiteX247" fmla="*/ 624180 w 11269336"/>
              <a:gd name="connsiteY247" fmla="*/ 2302650 h 2323145"/>
              <a:gd name="connsiteX248" fmla="*/ 583453 w 11269336"/>
              <a:gd name="connsiteY248" fmla="*/ 2288788 h 2323145"/>
              <a:gd name="connsiteX249" fmla="*/ 540946 w 11269336"/>
              <a:gd name="connsiteY249" fmla="*/ 2292721 h 2323145"/>
              <a:gd name="connsiteX250" fmla="*/ 533680 w 11269336"/>
              <a:gd name="connsiteY250" fmla="*/ 2310233 h 2323145"/>
              <a:gd name="connsiteX251" fmla="*/ 487366 w 11269336"/>
              <a:gd name="connsiteY251" fmla="*/ 2309053 h 2323145"/>
              <a:gd name="connsiteX252" fmla="*/ 416820 w 11269336"/>
              <a:gd name="connsiteY252" fmla="*/ 2305443 h 2323145"/>
              <a:gd name="connsiteX253" fmla="*/ 376805 w 11269336"/>
              <a:gd name="connsiteY253" fmla="*/ 2307647 h 2323145"/>
              <a:gd name="connsiteX254" fmla="*/ 266777 w 11269336"/>
              <a:gd name="connsiteY254" fmla="*/ 2309012 h 2323145"/>
              <a:gd name="connsiteX255" fmla="*/ 156013 w 11269336"/>
              <a:gd name="connsiteY255" fmla="*/ 2306832 h 2323145"/>
              <a:gd name="connsiteX256" fmla="*/ 87258 w 11269336"/>
              <a:gd name="connsiteY256" fmla="*/ 2285511 h 2323145"/>
              <a:gd name="connsiteX257" fmla="*/ 23798 w 11269336"/>
              <a:gd name="connsiteY257" fmla="*/ 2281822 h 2323145"/>
              <a:gd name="connsiteX258" fmla="*/ 0 w 11269336"/>
              <a:gd name="connsiteY258" fmla="*/ 2285369 h 2323145"/>
              <a:gd name="connsiteX259" fmla="*/ 0 w 11269336"/>
              <a:gd name="connsiteY259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20601 w 11269336"/>
              <a:gd name="connsiteY146" fmla="*/ 2205158 h 2323145"/>
              <a:gd name="connsiteX147" fmla="*/ 4405765 w 11269336"/>
              <a:gd name="connsiteY147" fmla="*/ 2199902 h 2323145"/>
              <a:gd name="connsiteX148" fmla="*/ 4401354 w 11269336"/>
              <a:gd name="connsiteY148" fmla="*/ 2194745 h 2323145"/>
              <a:gd name="connsiteX149" fmla="*/ 4383151 w 11269336"/>
              <a:gd name="connsiteY149" fmla="*/ 2201140 h 2323145"/>
              <a:gd name="connsiteX150" fmla="*/ 4366646 w 11269336"/>
              <a:gd name="connsiteY150" fmla="*/ 2198564 h 2323145"/>
              <a:gd name="connsiteX151" fmla="*/ 4354009 w 11269336"/>
              <a:gd name="connsiteY151" fmla="*/ 2204984 h 2323145"/>
              <a:gd name="connsiteX152" fmla="*/ 4348284 w 11269336"/>
              <a:gd name="connsiteY152" fmla="*/ 2205270 h 2323145"/>
              <a:gd name="connsiteX153" fmla="*/ 4333906 w 11269336"/>
              <a:gd name="connsiteY153" fmla="*/ 2205251 h 2323145"/>
              <a:gd name="connsiteX154" fmla="*/ 4308819 w 11269336"/>
              <a:gd name="connsiteY154" fmla="*/ 2203822 h 2323145"/>
              <a:gd name="connsiteX155" fmla="*/ 4301210 w 11269336"/>
              <a:gd name="connsiteY155" fmla="*/ 2204456 h 2323145"/>
              <a:gd name="connsiteX156" fmla="*/ 4283095 w 11269336"/>
              <a:gd name="connsiteY156" fmla="*/ 2198177 h 2323145"/>
              <a:gd name="connsiteX157" fmla="*/ 4250119 w 11269336"/>
              <a:gd name="connsiteY157" fmla="*/ 2196342 h 2323145"/>
              <a:gd name="connsiteX158" fmla="*/ 4189203 w 11269336"/>
              <a:gd name="connsiteY158" fmla="*/ 2178994 h 2323145"/>
              <a:gd name="connsiteX159" fmla="*/ 4154035 w 11269336"/>
              <a:gd name="connsiteY159" fmla="*/ 2171950 h 2323145"/>
              <a:gd name="connsiteX160" fmla="*/ 4129569 w 11269336"/>
              <a:gd name="connsiteY160" fmla="*/ 2163850 h 2323145"/>
              <a:gd name="connsiteX161" fmla="*/ 4061250 w 11269336"/>
              <a:gd name="connsiteY161" fmla="*/ 2159236 h 2323145"/>
              <a:gd name="connsiteX162" fmla="*/ 3945480 w 11269336"/>
              <a:gd name="connsiteY162" fmla="*/ 2158279 h 2323145"/>
              <a:gd name="connsiteX163" fmla="*/ 3921468 w 11269336"/>
              <a:gd name="connsiteY163" fmla="*/ 2156588 h 2323145"/>
              <a:gd name="connsiteX164" fmla="*/ 3903348 w 11269336"/>
              <a:gd name="connsiteY164" fmla="*/ 2149220 h 2323145"/>
              <a:gd name="connsiteX165" fmla="*/ 3901342 w 11269336"/>
              <a:gd name="connsiteY165" fmla="*/ 2142355 h 2323145"/>
              <a:gd name="connsiteX166" fmla="*/ 3888539 w 11269336"/>
              <a:gd name="connsiteY166" fmla="*/ 2140476 h 2323145"/>
              <a:gd name="connsiteX167" fmla="*/ 3885662 w 11269336"/>
              <a:gd name="connsiteY167" fmla="*/ 2138740 h 2323145"/>
              <a:gd name="connsiteX168" fmla="*/ 3868627 w 11269336"/>
              <a:gd name="connsiteY168" fmla="*/ 2130023 h 2323145"/>
              <a:gd name="connsiteX169" fmla="*/ 3819177 w 11269336"/>
              <a:gd name="connsiteY169" fmla="*/ 2142111 h 2323145"/>
              <a:gd name="connsiteX170" fmla="*/ 3769100 w 11269336"/>
              <a:gd name="connsiteY170" fmla="*/ 2131731 h 2323145"/>
              <a:gd name="connsiteX171" fmla="*/ 3562752 w 11269336"/>
              <a:gd name="connsiteY171" fmla="*/ 2131785 h 2323145"/>
              <a:gd name="connsiteX172" fmla="*/ 3541402 w 11269336"/>
              <a:gd name="connsiteY172" fmla="*/ 2106821 h 2323145"/>
              <a:gd name="connsiteX173" fmla="*/ 3365341 w 11269336"/>
              <a:gd name="connsiteY173" fmla="*/ 2077638 h 2323145"/>
              <a:gd name="connsiteX174" fmla="*/ 3170922 w 11269336"/>
              <a:gd name="connsiteY174" fmla="*/ 2115957 h 2323145"/>
              <a:gd name="connsiteX175" fmla="*/ 3156256 w 11269336"/>
              <a:gd name="connsiteY175" fmla="*/ 2124773 h 2323145"/>
              <a:gd name="connsiteX176" fmla="*/ 3140298 w 11269336"/>
              <a:gd name="connsiteY176" fmla="*/ 2129182 h 2323145"/>
              <a:gd name="connsiteX177" fmla="*/ 3138514 w 11269336"/>
              <a:gd name="connsiteY177" fmla="*/ 2128069 h 2323145"/>
              <a:gd name="connsiteX178" fmla="*/ 3120467 w 11269336"/>
              <a:gd name="connsiteY178" fmla="*/ 2128281 h 2323145"/>
              <a:gd name="connsiteX179" fmla="*/ 3116175 w 11269336"/>
              <a:gd name="connsiteY179" fmla="*/ 2131633 h 2323145"/>
              <a:gd name="connsiteX180" fmla="*/ 3103685 w 11269336"/>
              <a:gd name="connsiteY180" fmla="*/ 2132814 h 2323145"/>
              <a:gd name="connsiteX181" fmla="*/ 3078794 w 11269336"/>
              <a:gd name="connsiteY181" fmla="*/ 2137935 h 2323145"/>
              <a:gd name="connsiteX182" fmla="*/ 3074407 w 11269336"/>
              <a:gd name="connsiteY182" fmla="*/ 2136274 h 2323145"/>
              <a:gd name="connsiteX183" fmla="*/ 3037285 w 11269336"/>
              <a:gd name="connsiteY183" fmla="*/ 2139919 h 2323145"/>
              <a:gd name="connsiteX184" fmla="*/ 3036901 w 11269336"/>
              <a:gd name="connsiteY184" fmla="*/ 2138726 h 2323145"/>
              <a:gd name="connsiteX185" fmla="*/ 3026996 w 11269336"/>
              <a:gd name="connsiteY185" fmla="*/ 2134322 h 2323145"/>
              <a:gd name="connsiteX186" fmla="*/ 3007772 w 11269336"/>
              <a:gd name="connsiteY186" fmla="*/ 2128742 h 2323145"/>
              <a:gd name="connsiteX187" fmla="*/ 2965030 w 11269336"/>
              <a:gd name="connsiteY187" fmla="*/ 2100494 h 2323145"/>
              <a:gd name="connsiteX188" fmla="*/ 2926342 w 11269336"/>
              <a:gd name="connsiteY188" fmla="*/ 2104155 h 2323145"/>
              <a:gd name="connsiteX189" fmla="*/ 2918608 w 11269336"/>
              <a:gd name="connsiteY189" fmla="*/ 2104215 h 2323145"/>
              <a:gd name="connsiteX190" fmla="*/ 2918475 w 11269336"/>
              <a:gd name="connsiteY190" fmla="*/ 2103937 h 2323145"/>
              <a:gd name="connsiteX191" fmla="*/ 2910360 w 11269336"/>
              <a:gd name="connsiteY191" fmla="*/ 2103444 h 2323145"/>
              <a:gd name="connsiteX192" fmla="*/ 2904507 w 11269336"/>
              <a:gd name="connsiteY192" fmla="*/ 2104326 h 2323145"/>
              <a:gd name="connsiteX193" fmla="*/ 2889503 w 11269336"/>
              <a:gd name="connsiteY193" fmla="*/ 2104443 h 2323145"/>
              <a:gd name="connsiteX194" fmla="*/ 2884480 w 11269336"/>
              <a:gd name="connsiteY194" fmla="*/ 2102626 h 2323145"/>
              <a:gd name="connsiteX195" fmla="*/ 2882689 w 11269336"/>
              <a:gd name="connsiteY195" fmla="*/ 2099228 h 2323145"/>
              <a:gd name="connsiteX196" fmla="*/ 2881291 w 11269336"/>
              <a:gd name="connsiteY196" fmla="*/ 2099618 h 2323145"/>
              <a:gd name="connsiteX197" fmla="*/ 2853979 w 11269336"/>
              <a:gd name="connsiteY197" fmla="*/ 2090388 h 2323145"/>
              <a:gd name="connsiteX198" fmla="*/ 2791790 w 11269336"/>
              <a:gd name="connsiteY198" fmla="*/ 2080332 h 2323145"/>
              <a:gd name="connsiteX199" fmla="*/ 2755844 w 11269336"/>
              <a:gd name="connsiteY199" fmla="*/ 2078874 h 2323145"/>
              <a:gd name="connsiteX200" fmla="*/ 2657742 w 11269336"/>
              <a:gd name="connsiteY200" fmla="*/ 2070179 h 2323145"/>
              <a:gd name="connsiteX201" fmla="*/ 2559549 w 11269336"/>
              <a:gd name="connsiteY201" fmla="*/ 2057873 h 2323145"/>
              <a:gd name="connsiteX202" fmla="*/ 2512054 w 11269336"/>
              <a:gd name="connsiteY202" fmla="*/ 2031671 h 2323145"/>
              <a:gd name="connsiteX203" fmla="*/ 2506437 w 11269336"/>
              <a:gd name="connsiteY203" fmla="*/ 2030918 h 2323145"/>
              <a:gd name="connsiteX204" fmla="*/ 2491752 w 11269336"/>
              <a:gd name="connsiteY204" fmla="*/ 2033906 h 2323145"/>
              <a:gd name="connsiteX205" fmla="*/ 2486338 w 11269336"/>
              <a:gd name="connsiteY205" fmla="*/ 2035862 h 2323145"/>
              <a:gd name="connsiteX206" fmla="*/ 2478186 w 11269336"/>
              <a:gd name="connsiteY206" fmla="*/ 2036953 h 2323145"/>
              <a:gd name="connsiteX207" fmla="*/ 2477950 w 11269336"/>
              <a:gd name="connsiteY207" fmla="*/ 2036715 h 2323145"/>
              <a:gd name="connsiteX208" fmla="*/ 2470381 w 11269336"/>
              <a:gd name="connsiteY208" fmla="*/ 2038256 h 2323145"/>
              <a:gd name="connsiteX209" fmla="*/ 2433781 w 11269336"/>
              <a:gd name="connsiteY209" fmla="*/ 2049140 h 2323145"/>
              <a:gd name="connsiteX210" fmla="*/ 2381172 w 11269336"/>
              <a:gd name="connsiteY210" fmla="*/ 2030645 h 2323145"/>
              <a:gd name="connsiteX211" fmla="*/ 2360198 w 11269336"/>
              <a:gd name="connsiteY211" fmla="*/ 2029059 h 2323145"/>
              <a:gd name="connsiteX212" fmla="*/ 2348815 w 11269336"/>
              <a:gd name="connsiteY212" fmla="*/ 2026798 h 2323145"/>
              <a:gd name="connsiteX213" fmla="*/ 2347988 w 11269336"/>
              <a:gd name="connsiteY213" fmla="*/ 2025745 h 2323145"/>
              <a:gd name="connsiteX214" fmla="*/ 2312920 w 11269336"/>
              <a:gd name="connsiteY214" fmla="*/ 2036311 h 2323145"/>
              <a:gd name="connsiteX215" fmla="*/ 2307986 w 11269336"/>
              <a:gd name="connsiteY215" fmla="*/ 2035583 h 2323145"/>
              <a:gd name="connsiteX216" fmla="*/ 2285481 w 11269336"/>
              <a:gd name="connsiteY216" fmla="*/ 2045197 h 2323145"/>
              <a:gd name="connsiteX217" fmla="*/ 2273666 w 11269336"/>
              <a:gd name="connsiteY217" fmla="*/ 2048710 h 2323145"/>
              <a:gd name="connsiteX218" fmla="*/ 2270719 w 11269336"/>
              <a:gd name="connsiteY218" fmla="*/ 2052702 h 2323145"/>
              <a:gd name="connsiteX219" fmla="*/ 2253080 w 11269336"/>
              <a:gd name="connsiteY219" fmla="*/ 2056363 h 2323145"/>
              <a:gd name="connsiteX220" fmla="*/ 2250906 w 11269336"/>
              <a:gd name="connsiteY220" fmla="*/ 2055654 h 2323145"/>
              <a:gd name="connsiteX221" fmla="*/ 2236905 w 11269336"/>
              <a:gd name="connsiteY221" fmla="*/ 2062882 h 2323145"/>
              <a:gd name="connsiteX222" fmla="*/ 2225830 w 11269336"/>
              <a:gd name="connsiteY222" fmla="*/ 2074027 h 2323145"/>
              <a:gd name="connsiteX223" fmla="*/ 2073776 w 11269336"/>
              <a:gd name="connsiteY223" fmla="*/ 2089244 h 2323145"/>
              <a:gd name="connsiteX224" fmla="*/ 1948256 w 11269336"/>
              <a:gd name="connsiteY224" fmla="*/ 2146616 h 2323145"/>
              <a:gd name="connsiteX225" fmla="*/ 1865582 w 11269336"/>
              <a:gd name="connsiteY225" fmla="*/ 2153738 h 2323145"/>
              <a:gd name="connsiteX226" fmla="*/ 1835210 w 11269336"/>
              <a:gd name="connsiteY226" fmla="*/ 2134244 h 2323145"/>
              <a:gd name="connsiteX227" fmla="*/ 1632661 w 11269336"/>
              <a:gd name="connsiteY227" fmla="*/ 2173882 h 2323145"/>
              <a:gd name="connsiteX228" fmla="*/ 1579590 w 11269336"/>
              <a:gd name="connsiteY228" fmla="*/ 2173680 h 2323145"/>
              <a:gd name="connsiteX229" fmla="*/ 1535601 w 11269336"/>
              <a:gd name="connsiteY229" fmla="*/ 2194590 h 2323145"/>
              <a:gd name="connsiteX230" fmla="*/ 1515594 w 11269336"/>
              <a:gd name="connsiteY230" fmla="*/ 2189622 h 2323145"/>
              <a:gd name="connsiteX231" fmla="*/ 1512113 w 11269336"/>
              <a:gd name="connsiteY231" fmla="*/ 2188534 h 2323145"/>
              <a:gd name="connsiteX232" fmla="*/ 1498838 w 11269336"/>
              <a:gd name="connsiteY232" fmla="*/ 2189213 h 2323145"/>
              <a:gd name="connsiteX233" fmla="*/ 1494279 w 11269336"/>
              <a:gd name="connsiteY233" fmla="*/ 2183112 h 2323145"/>
              <a:gd name="connsiteX234" fmla="*/ 1473714 w 11269336"/>
              <a:gd name="connsiteY234" fmla="*/ 2179625 h 2323145"/>
              <a:gd name="connsiteX235" fmla="*/ 1449503 w 11269336"/>
              <a:gd name="connsiteY235" fmla="*/ 2182633 h 2323145"/>
              <a:gd name="connsiteX236" fmla="*/ 1266687 w 11269336"/>
              <a:gd name="connsiteY236" fmla="*/ 2212688 h 2323145"/>
              <a:gd name="connsiteX237" fmla="*/ 1239614 w 11269336"/>
              <a:gd name="connsiteY237" fmla="*/ 2209727 h 2323145"/>
              <a:gd name="connsiteX238" fmla="*/ 1202436 w 11269336"/>
              <a:gd name="connsiteY238" fmla="*/ 2209817 h 2323145"/>
              <a:gd name="connsiteX239" fmla="*/ 1136097 w 11269336"/>
              <a:gd name="connsiteY239" fmla="*/ 2205112 h 2323145"/>
              <a:gd name="connsiteX240" fmla="*/ 988232 w 11269336"/>
              <a:gd name="connsiteY240" fmla="*/ 2235635 h 2323145"/>
              <a:gd name="connsiteX241" fmla="*/ 981959 w 11269336"/>
              <a:gd name="connsiteY241" fmla="*/ 2231607 h 2323145"/>
              <a:gd name="connsiteX242" fmla="*/ 938600 w 11269336"/>
              <a:gd name="connsiteY242" fmla="*/ 2238113 h 2323145"/>
              <a:gd name="connsiteX243" fmla="*/ 791788 w 11269336"/>
              <a:gd name="connsiteY243" fmla="*/ 2293224 h 2323145"/>
              <a:gd name="connsiteX244" fmla="*/ 706914 w 11269336"/>
              <a:gd name="connsiteY244" fmla="*/ 2305046 h 2323145"/>
              <a:gd name="connsiteX245" fmla="*/ 675971 w 11269336"/>
              <a:gd name="connsiteY245" fmla="*/ 2304030 h 2323145"/>
              <a:gd name="connsiteX246" fmla="*/ 624180 w 11269336"/>
              <a:gd name="connsiteY246" fmla="*/ 2302650 h 2323145"/>
              <a:gd name="connsiteX247" fmla="*/ 583453 w 11269336"/>
              <a:gd name="connsiteY247" fmla="*/ 2288788 h 2323145"/>
              <a:gd name="connsiteX248" fmla="*/ 540946 w 11269336"/>
              <a:gd name="connsiteY248" fmla="*/ 2292721 h 2323145"/>
              <a:gd name="connsiteX249" fmla="*/ 533680 w 11269336"/>
              <a:gd name="connsiteY249" fmla="*/ 2310233 h 2323145"/>
              <a:gd name="connsiteX250" fmla="*/ 487366 w 11269336"/>
              <a:gd name="connsiteY250" fmla="*/ 2309053 h 2323145"/>
              <a:gd name="connsiteX251" fmla="*/ 416820 w 11269336"/>
              <a:gd name="connsiteY251" fmla="*/ 2305443 h 2323145"/>
              <a:gd name="connsiteX252" fmla="*/ 376805 w 11269336"/>
              <a:gd name="connsiteY252" fmla="*/ 2307647 h 2323145"/>
              <a:gd name="connsiteX253" fmla="*/ 266777 w 11269336"/>
              <a:gd name="connsiteY253" fmla="*/ 2309012 h 2323145"/>
              <a:gd name="connsiteX254" fmla="*/ 156013 w 11269336"/>
              <a:gd name="connsiteY254" fmla="*/ 2306832 h 2323145"/>
              <a:gd name="connsiteX255" fmla="*/ 87258 w 11269336"/>
              <a:gd name="connsiteY255" fmla="*/ 2285511 h 2323145"/>
              <a:gd name="connsiteX256" fmla="*/ 23798 w 11269336"/>
              <a:gd name="connsiteY256" fmla="*/ 2281822 h 2323145"/>
              <a:gd name="connsiteX257" fmla="*/ 0 w 11269336"/>
              <a:gd name="connsiteY257" fmla="*/ 2285369 h 2323145"/>
              <a:gd name="connsiteX258" fmla="*/ 0 w 11269336"/>
              <a:gd name="connsiteY258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20601 w 11269336"/>
              <a:gd name="connsiteY146" fmla="*/ 2205158 h 2323145"/>
              <a:gd name="connsiteX147" fmla="*/ 4405765 w 11269336"/>
              <a:gd name="connsiteY147" fmla="*/ 2199902 h 2323145"/>
              <a:gd name="connsiteX148" fmla="*/ 4401354 w 11269336"/>
              <a:gd name="connsiteY148" fmla="*/ 2194745 h 2323145"/>
              <a:gd name="connsiteX149" fmla="*/ 4366646 w 11269336"/>
              <a:gd name="connsiteY149" fmla="*/ 2198564 h 2323145"/>
              <a:gd name="connsiteX150" fmla="*/ 4354009 w 11269336"/>
              <a:gd name="connsiteY150" fmla="*/ 2204984 h 2323145"/>
              <a:gd name="connsiteX151" fmla="*/ 4348284 w 11269336"/>
              <a:gd name="connsiteY151" fmla="*/ 2205270 h 2323145"/>
              <a:gd name="connsiteX152" fmla="*/ 4333906 w 11269336"/>
              <a:gd name="connsiteY152" fmla="*/ 2205251 h 2323145"/>
              <a:gd name="connsiteX153" fmla="*/ 4308819 w 11269336"/>
              <a:gd name="connsiteY153" fmla="*/ 2203822 h 2323145"/>
              <a:gd name="connsiteX154" fmla="*/ 4301210 w 11269336"/>
              <a:gd name="connsiteY154" fmla="*/ 2204456 h 2323145"/>
              <a:gd name="connsiteX155" fmla="*/ 4283095 w 11269336"/>
              <a:gd name="connsiteY155" fmla="*/ 2198177 h 2323145"/>
              <a:gd name="connsiteX156" fmla="*/ 4250119 w 11269336"/>
              <a:gd name="connsiteY156" fmla="*/ 2196342 h 2323145"/>
              <a:gd name="connsiteX157" fmla="*/ 4189203 w 11269336"/>
              <a:gd name="connsiteY157" fmla="*/ 2178994 h 2323145"/>
              <a:gd name="connsiteX158" fmla="*/ 4154035 w 11269336"/>
              <a:gd name="connsiteY158" fmla="*/ 2171950 h 2323145"/>
              <a:gd name="connsiteX159" fmla="*/ 4129569 w 11269336"/>
              <a:gd name="connsiteY159" fmla="*/ 2163850 h 2323145"/>
              <a:gd name="connsiteX160" fmla="*/ 4061250 w 11269336"/>
              <a:gd name="connsiteY160" fmla="*/ 2159236 h 2323145"/>
              <a:gd name="connsiteX161" fmla="*/ 3945480 w 11269336"/>
              <a:gd name="connsiteY161" fmla="*/ 2158279 h 2323145"/>
              <a:gd name="connsiteX162" fmla="*/ 3921468 w 11269336"/>
              <a:gd name="connsiteY162" fmla="*/ 2156588 h 2323145"/>
              <a:gd name="connsiteX163" fmla="*/ 3903348 w 11269336"/>
              <a:gd name="connsiteY163" fmla="*/ 2149220 h 2323145"/>
              <a:gd name="connsiteX164" fmla="*/ 3901342 w 11269336"/>
              <a:gd name="connsiteY164" fmla="*/ 2142355 h 2323145"/>
              <a:gd name="connsiteX165" fmla="*/ 3888539 w 11269336"/>
              <a:gd name="connsiteY165" fmla="*/ 2140476 h 2323145"/>
              <a:gd name="connsiteX166" fmla="*/ 3885662 w 11269336"/>
              <a:gd name="connsiteY166" fmla="*/ 2138740 h 2323145"/>
              <a:gd name="connsiteX167" fmla="*/ 3868627 w 11269336"/>
              <a:gd name="connsiteY167" fmla="*/ 2130023 h 2323145"/>
              <a:gd name="connsiteX168" fmla="*/ 3819177 w 11269336"/>
              <a:gd name="connsiteY168" fmla="*/ 2142111 h 2323145"/>
              <a:gd name="connsiteX169" fmla="*/ 3769100 w 11269336"/>
              <a:gd name="connsiteY169" fmla="*/ 2131731 h 2323145"/>
              <a:gd name="connsiteX170" fmla="*/ 3562752 w 11269336"/>
              <a:gd name="connsiteY170" fmla="*/ 2131785 h 2323145"/>
              <a:gd name="connsiteX171" fmla="*/ 3541402 w 11269336"/>
              <a:gd name="connsiteY171" fmla="*/ 2106821 h 2323145"/>
              <a:gd name="connsiteX172" fmla="*/ 3365341 w 11269336"/>
              <a:gd name="connsiteY172" fmla="*/ 2077638 h 2323145"/>
              <a:gd name="connsiteX173" fmla="*/ 3170922 w 11269336"/>
              <a:gd name="connsiteY173" fmla="*/ 2115957 h 2323145"/>
              <a:gd name="connsiteX174" fmla="*/ 3156256 w 11269336"/>
              <a:gd name="connsiteY174" fmla="*/ 2124773 h 2323145"/>
              <a:gd name="connsiteX175" fmla="*/ 3140298 w 11269336"/>
              <a:gd name="connsiteY175" fmla="*/ 2129182 h 2323145"/>
              <a:gd name="connsiteX176" fmla="*/ 3138514 w 11269336"/>
              <a:gd name="connsiteY176" fmla="*/ 2128069 h 2323145"/>
              <a:gd name="connsiteX177" fmla="*/ 3120467 w 11269336"/>
              <a:gd name="connsiteY177" fmla="*/ 2128281 h 2323145"/>
              <a:gd name="connsiteX178" fmla="*/ 3116175 w 11269336"/>
              <a:gd name="connsiteY178" fmla="*/ 2131633 h 2323145"/>
              <a:gd name="connsiteX179" fmla="*/ 3103685 w 11269336"/>
              <a:gd name="connsiteY179" fmla="*/ 2132814 h 2323145"/>
              <a:gd name="connsiteX180" fmla="*/ 3078794 w 11269336"/>
              <a:gd name="connsiteY180" fmla="*/ 2137935 h 2323145"/>
              <a:gd name="connsiteX181" fmla="*/ 3074407 w 11269336"/>
              <a:gd name="connsiteY181" fmla="*/ 2136274 h 2323145"/>
              <a:gd name="connsiteX182" fmla="*/ 3037285 w 11269336"/>
              <a:gd name="connsiteY182" fmla="*/ 2139919 h 2323145"/>
              <a:gd name="connsiteX183" fmla="*/ 3036901 w 11269336"/>
              <a:gd name="connsiteY183" fmla="*/ 2138726 h 2323145"/>
              <a:gd name="connsiteX184" fmla="*/ 3026996 w 11269336"/>
              <a:gd name="connsiteY184" fmla="*/ 2134322 h 2323145"/>
              <a:gd name="connsiteX185" fmla="*/ 3007772 w 11269336"/>
              <a:gd name="connsiteY185" fmla="*/ 2128742 h 2323145"/>
              <a:gd name="connsiteX186" fmla="*/ 2965030 w 11269336"/>
              <a:gd name="connsiteY186" fmla="*/ 2100494 h 2323145"/>
              <a:gd name="connsiteX187" fmla="*/ 2926342 w 11269336"/>
              <a:gd name="connsiteY187" fmla="*/ 2104155 h 2323145"/>
              <a:gd name="connsiteX188" fmla="*/ 2918608 w 11269336"/>
              <a:gd name="connsiteY188" fmla="*/ 2104215 h 2323145"/>
              <a:gd name="connsiteX189" fmla="*/ 2918475 w 11269336"/>
              <a:gd name="connsiteY189" fmla="*/ 2103937 h 2323145"/>
              <a:gd name="connsiteX190" fmla="*/ 2910360 w 11269336"/>
              <a:gd name="connsiteY190" fmla="*/ 2103444 h 2323145"/>
              <a:gd name="connsiteX191" fmla="*/ 2904507 w 11269336"/>
              <a:gd name="connsiteY191" fmla="*/ 2104326 h 2323145"/>
              <a:gd name="connsiteX192" fmla="*/ 2889503 w 11269336"/>
              <a:gd name="connsiteY192" fmla="*/ 2104443 h 2323145"/>
              <a:gd name="connsiteX193" fmla="*/ 2884480 w 11269336"/>
              <a:gd name="connsiteY193" fmla="*/ 2102626 h 2323145"/>
              <a:gd name="connsiteX194" fmla="*/ 2882689 w 11269336"/>
              <a:gd name="connsiteY194" fmla="*/ 2099228 h 2323145"/>
              <a:gd name="connsiteX195" fmla="*/ 2881291 w 11269336"/>
              <a:gd name="connsiteY195" fmla="*/ 2099618 h 2323145"/>
              <a:gd name="connsiteX196" fmla="*/ 2853979 w 11269336"/>
              <a:gd name="connsiteY196" fmla="*/ 2090388 h 2323145"/>
              <a:gd name="connsiteX197" fmla="*/ 2791790 w 11269336"/>
              <a:gd name="connsiteY197" fmla="*/ 2080332 h 2323145"/>
              <a:gd name="connsiteX198" fmla="*/ 2755844 w 11269336"/>
              <a:gd name="connsiteY198" fmla="*/ 2078874 h 2323145"/>
              <a:gd name="connsiteX199" fmla="*/ 2657742 w 11269336"/>
              <a:gd name="connsiteY199" fmla="*/ 2070179 h 2323145"/>
              <a:gd name="connsiteX200" fmla="*/ 2559549 w 11269336"/>
              <a:gd name="connsiteY200" fmla="*/ 2057873 h 2323145"/>
              <a:gd name="connsiteX201" fmla="*/ 2512054 w 11269336"/>
              <a:gd name="connsiteY201" fmla="*/ 2031671 h 2323145"/>
              <a:gd name="connsiteX202" fmla="*/ 2506437 w 11269336"/>
              <a:gd name="connsiteY202" fmla="*/ 2030918 h 2323145"/>
              <a:gd name="connsiteX203" fmla="*/ 2491752 w 11269336"/>
              <a:gd name="connsiteY203" fmla="*/ 2033906 h 2323145"/>
              <a:gd name="connsiteX204" fmla="*/ 2486338 w 11269336"/>
              <a:gd name="connsiteY204" fmla="*/ 2035862 h 2323145"/>
              <a:gd name="connsiteX205" fmla="*/ 2478186 w 11269336"/>
              <a:gd name="connsiteY205" fmla="*/ 2036953 h 2323145"/>
              <a:gd name="connsiteX206" fmla="*/ 2477950 w 11269336"/>
              <a:gd name="connsiteY206" fmla="*/ 2036715 h 2323145"/>
              <a:gd name="connsiteX207" fmla="*/ 2470381 w 11269336"/>
              <a:gd name="connsiteY207" fmla="*/ 2038256 h 2323145"/>
              <a:gd name="connsiteX208" fmla="*/ 2433781 w 11269336"/>
              <a:gd name="connsiteY208" fmla="*/ 2049140 h 2323145"/>
              <a:gd name="connsiteX209" fmla="*/ 2381172 w 11269336"/>
              <a:gd name="connsiteY209" fmla="*/ 2030645 h 2323145"/>
              <a:gd name="connsiteX210" fmla="*/ 2360198 w 11269336"/>
              <a:gd name="connsiteY210" fmla="*/ 2029059 h 2323145"/>
              <a:gd name="connsiteX211" fmla="*/ 2348815 w 11269336"/>
              <a:gd name="connsiteY211" fmla="*/ 2026798 h 2323145"/>
              <a:gd name="connsiteX212" fmla="*/ 2347988 w 11269336"/>
              <a:gd name="connsiteY212" fmla="*/ 2025745 h 2323145"/>
              <a:gd name="connsiteX213" fmla="*/ 2312920 w 11269336"/>
              <a:gd name="connsiteY213" fmla="*/ 2036311 h 2323145"/>
              <a:gd name="connsiteX214" fmla="*/ 2307986 w 11269336"/>
              <a:gd name="connsiteY214" fmla="*/ 2035583 h 2323145"/>
              <a:gd name="connsiteX215" fmla="*/ 2285481 w 11269336"/>
              <a:gd name="connsiteY215" fmla="*/ 2045197 h 2323145"/>
              <a:gd name="connsiteX216" fmla="*/ 2273666 w 11269336"/>
              <a:gd name="connsiteY216" fmla="*/ 2048710 h 2323145"/>
              <a:gd name="connsiteX217" fmla="*/ 2270719 w 11269336"/>
              <a:gd name="connsiteY217" fmla="*/ 2052702 h 2323145"/>
              <a:gd name="connsiteX218" fmla="*/ 2253080 w 11269336"/>
              <a:gd name="connsiteY218" fmla="*/ 2056363 h 2323145"/>
              <a:gd name="connsiteX219" fmla="*/ 2250906 w 11269336"/>
              <a:gd name="connsiteY219" fmla="*/ 2055654 h 2323145"/>
              <a:gd name="connsiteX220" fmla="*/ 2236905 w 11269336"/>
              <a:gd name="connsiteY220" fmla="*/ 2062882 h 2323145"/>
              <a:gd name="connsiteX221" fmla="*/ 2225830 w 11269336"/>
              <a:gd name="connsiteY221" fmla="*/ 2074027 h 2323145"/>
              <a:gd name="connsiteX222" fmla="*/ 2073776 w 11269336"/>
              <a:gd name="connsiteY222" fmla="*/ 2089244 h 2323145"/>
              <a:gd name="connsiteX223" fmla="*/ 1948256 w 11269336"/>
              <a:gd name="connsiteY223" fmla="*/ 2146616 h 2323145"/>
              <a:gd name="connsiteX224" fmla="*/ 1865582 w 11269336"/>
              <a:gd name="connsiteY224" fmla="*/ 2153738 h 2323145"/>
              <a:gd name="connsiteX225" fmla="*/ 1835210 w 11269336"/>
              <a:gd name="connsiteY225" fmla="*/ 2134244 h 2323145"/>
              <a:gd name="connsiteX226" fmla="*/ 1632661 w 11269336"/>
              <a:gd name="connsiteY226" fmla="*/ 2173882 h 2323145"/>
              <a:gd name="connsiteX227" fmla="*/ 1579590 w 11269336"/>
              <a:gd name="connsiteY227" fmla="*/ 2173680 h 2323145"/>
              <a:gd name="connsiteX228" fmla="*/ 1535601 w 11269336"/>
              <a:gd name="connsiteY228" fmla="*/ 2194590 h 2323145"/>
              <a:gd name="connsiteX229" fmla="*/ 1515594 w 11269336"/>
              <a:gd name="connsiteY229" fmla="*/ 2189622 h 2323145"/>
              <a:gd name="connsiteX230" fmla="*/ 1512113 w 11269336"/>
              <a:gd name="connsiteY230" fmla="*/ 2188534 h 2323145"/>
              <a:gd name="connsiteX231" fmla="*/ 1498838 w 11269336"/>
              <a:gd name="connsiteY231" fmla="*/ 2189213 h 2323145"/>
              <a:gd name="connsiteX232" fmla="*/ 1494279 w 11269336"/>
              <a:gd name="connsiteY232" fmla="*/ 2183112 h 2323145"/>
              <a:gd name="connsiteX233" fmla="*/ 1473714 w 11269336"/>
              <a:gd name="connsiteY233" fmla="*/ 2179625 h 2323145"/>
              <a:gd name="connsiteX234" fmla="*/ 1449503 w 11269336"/>
              <a:gd name="connsiteY234" fmla="*/ 2182633 h 2323145"/>
              <a:gd name="connsiteX235" fmla="*/ 1266687 w 11269336"/>
              <a:gd name="connsiteY235" fmla="*/ 2212688 h 2323145"/>
              <a:gd name="connsiteX236" fmla="*/ 1239614 w 11269336"/>
              <a:gd name="connsiteY236" fmla="*/ 2209727 h 2323145"/>
              <a:gd name="connsiteX237" fmla="*/ 1202436 w 11269336"/>
              <a:gd name="connsiteY237" fmla="*/ 2209817 h 2323145"/>
              <a:gd name="connsiteX238" fmla="*/ 1136097 w 11269336"/>
              <a:gd name="connsiteY238" fmla="*/ 2205112 h 2323145"/>
              <a:gd name="connsiteX239" fmla="*/ 988232 w 11269336"/>
              <a:gd name="connsiteY239" fmla="*/ 2235635 h 2323145"/>
              <a:gd name="connsiteX240" fmla="*/ 981959 w 11269336"/>
              <a:gd name="connsiteY240" fmla="*/ 2231607 h 2323145"/>
              <a:gd name="connsiteX241" fmla="*/ 938600 w 11269336"/>
              <a:gd name="connsiteY241" fmla="*/ 2238113 h 2323145"/>
              <a:gd name="connsiteX242" fmla="*/ 791788 w 11269336"/>
              <a:gd name="connsiteY242" fmla="*/ 2293224 h 2323145"/>
              <a:gd name="connsiteX243" fmla="*/ 706914 w 11269336"/>
              <a:gd name="connsiteY243" fmla="*/ 2305046 h 2323145"/>
              <a:gd name="connsiteX244" fmla="*/ 675971 w 11269336"/>
              <a:gd name="connsiteY244" fmla="*/ 2304030 h 2323145"/>
              <a:gd name="connsiteX245" fmla="*/ 624180 w 11269336"/>
              <a:gd name="connsiteY245" fmla="*/ 2302650 h 2323145"/>
              <a:gd name="connsiteX246" fmla="*/ 583453 w 11269336"/>
              <a:gd name="connsiteY246" fmla="*/ 2288788 h 2323145"/>
              <a:gd name="connsiteX247" fmla="*/ 540946 w 11269336"/>
              <a:gd name="connsiteY247" fmla="*/ 2292721 h 2323145"/>
              <a:gd name="connsiteX248" fmla="*/ 533680 w 11269336"/>
              <a:gd name="connsiteY248" fmla="*/ 2310233 h 2323145"/>
              <a:gd name="connsiteX249" fmla="*/ 487366 w 11269336"/>
              <a:gd name="connsiteY249" fmla="*/ 2309053 h 2323145"/>
              <a:gd name="connsiteX250" fmla="*/ 416820 w 11269336"/>
              <a:gd name="connsiteY250" fmla="*/ 2305443 h 2323145"/>
              <a:gd name="connsiteX251" fmla="*/ 376805 w 11269336"/>
              <a:gd name="connsiteY251" fmla="*/ 2307647 h 2323145"/>
              <a:gd name="connsiteX252" fmla="*/ 266777 w 11269336"/>
              <a:gd name="connsiteY252" fmla="*/ 2309012 h 2323145"/>
              <a:gd name="connsiteX253" fmla="*/ 156013 w 11269336"/>
              <a:gd name="connsiteY253" fmla="*/ 2306832 h 2323145"/>
              <a:gd name="connsiteX254" fmla="*/ 87258 w 11269336"/>
              <a:gd name="connsiteY254" fmla="*/ 2285511 h 2323145"/>
              <a:gd name="connsiteX255" fmla="*/ 23798 w 11269336"/>
              <a:gd name="connsiteY255" fmla="*/ 2281822 h 2323145"/>
              <a:gd name="connsiteX256" fmla="*/ 0 w 11269336"/>
              <a:gd name="connsiteY256" fmla="*/ 2285369 h 2323145"/>
              <a:gd name="connsiteX257" fmla="*/ 0 w 11269336"/>
              <a:gd name="connsiteY257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05765 w 11269336"/>
              <a:gd name="connsiteY146" fmla="*/ 2199902 h 2323145"/>
              <a:gd name="connsiteX147" fmla="*/ 4401354 w 11269336"/>
              <a:gd name="connsiteY147" fmla="*/ 2194745 h 2323145"/>
              <a:gd name="connsiteX148" fmla="*/ 4366646 w 11269336"/>
              <a:gd name="connsiteY148" fmla="*/ 2198564 h 2323145"/>
              <a:gd name="connsiteX149" fmla="*/ 4354009 w 11269336"/>
              <a:gd name="connsiteY149" fmla="*/ 2204984 h 2323145"/>
              <a:gd name="connsiteX150" fmla="*/ 4348284 w 11269336"/>
              <a:gd name="connsiteY150" fmla="*/ 2205270 h 2323145"/>
              <a:gd name="connsiteX151" fmla="*/ 4333906 w 11269336"/>
              <a:gd name="connsiteY151" fmla="*/ 2205251 h 2323145"/>
              <a:gd name="connsiteX152" fmla="*/ 4308819 w 11269336"/>
              <a:gd name="connsiteY152" fmla="*/ 2203822 h 2323145"/>
              <a:gd name="connsiteX153" fmla="*/ 4301210 w 11269336"/>
              <a:gd name="connsiteY153" fmla="*/ 2204456 h 2323145"/>
              <a:gd name="connsiteX154" fmla="*/ 4283095 w 11269336"/>
              <a:gd name="connsiteY154" fmla="*/ 2198177 h 2323145"/>
              <a:gd name="connsiteX155" fmla="*/ 4250119 w 11269336"/>
              <a:gd name="connsiteY155" fmla="*/ 2196342 h 2323145"/>
              <a:gd name="connsiteX156" fmla="*/ 4189203 w 11269336"/>
              <a:gd name="connsiteY156" fmla="*/ 2178994 h 2323145"/>
              <a:gd name="connsiteX157" fmla="*/ 4154035 w 11269336"/>
              <a:gd name="connsiteY157" fmla="*/ 2171950 h 2323145"/>
              <a:gd name="connsiteX158" fmla="*/ 4129569 w 11269336"/>
              <a:gd name="connsiteY158" fmla="*/ 2163850 h 2323145"/>
              <a:gd name="connsiteX159" fmla="*/ 4061250 w 11269336"/>
              <a:gd name="connsiteY159" fmla="*/ 2159236 h 2323145"/>
              <a:gd name="connsiteX160" fmla="*/ 3945480 w 11269336"/>
              <a:gd name="connsiteY160" fmla="*/ 2158279 h 2323145"/>
              <a:gd name="connsiteX161" fmla="*/ 3921468 w 11269336"/>
              <a:gd name="connsiteY161" fmla="*/ 2156588 h 2323145"/>
              <a:gd name="connsiteX162" fmla="*/ 3903348 w 11269336"/>
              <a:gd name="connsiteY162" fmla="*/ 2149220 h 2323145"/>
              <a:gd name="connsiteX163" fmla="*/ 3901342 w 11269336"/>
              <a:gd name="connsiteY163" fmla="*/ 2142355 h 2323145"/>
              <a:gd name="connsiteX164" fmla="*/ 3888539 w 11269336"/>
              <a:gd name="connsiteY164" fmla="*/ 2140476 h 2323145"/>
              <a:gd name="connsiteX165" fmla="*/ 3885662 w 11269336"/>
              <a:gd name="connsiteY165" fmla="*/ 2138740 h 2323145"/>
              <a:gd name="connsiteX166" fmla="*/ 3868627 w 11269336"/>
              <a:gd name="connsiteY166" fmla="*/ 2130023 h 2323145"/>
              <a:gd name="connsiteX167" fmla="*/ 3819177 w 11269336"/>
              <a:gd name="connsiteY167" fmla="*/ 2142111 h 2323145"/>
              <a:gd name="connsiteX168" fmla="*/ 3769100 w 11269336"/>
              <a:gd name="connsiteY168" fmla="*/ 2131731 h 2323145"/>
              <a:gd name="connsiteX169" fmla="*/ 3562752 w 11269336"/>
              <a:gd name="connsiteY169" fmla="*/ 2131785 h 2323145"/>
              <a:gd name="connsiteX170" fmla="*/ 3541402 w 11269336"/>
              <a:gd name="connsiteY170" fmla="*/ 2106821 h 2323145"/>
              <a:gd name="connsiteX171" fmla="*/ 3365341 w 11269336"/>
              <a:gd name="connsiteY171" fmla="*/ 2077638 h 2323145"/>
              <a:gd name="connsiteX172" fmla="*/ 3170922 w 11269336"/>
              <a:gd name="connsiteY172" fmla="*/ 2115957 h 2323145"/>
              <a:gd name="connsiteX173" fmla="*/ 3156256 w 11269336"/>
              <a:gd name="connsiteY173" fmla="*/ 2124773 h 2323145"/>
              <a:gd name="connsiteX174" fmla="*/ 3140298 w 11269336"/>
              <a:gd name="connsiteY174" fmla="*/ 2129182 h 2323145"/>
              <a:gd name="connsiteX175" fmla="*/ 3138514 w 11269336"/>
              <a:gd name="connsiteY175" fmla="*/ 2128069 h 2323145"/>
              <a:gd name="connsiteX176" fmla="*/ 3120467 w 11269336"/>
              <a:gd name="connsiteY176" fmla="*/ 2128281 h 2323145"/>
              <a:gd name="connsiteX177" fmla="*/ 3116175 w 11269336"/>
              <a:gd name="connsiteY177" fmla="*/ 2131633 h 2323145"/>
              <a:gd name="connsiteX178" fmla="*/ 3103685 w 11269336"/>
              <a:gd name="connsiteY178" fmla="*/ 2132814 h 2323145"/>
              <a:gd name="connsiteX179" fmla="*/ 3078794 w 11269336"/>
              <a:gd name="connsiteY179" fmla="*/ 2137935 h 2323145"/>
              <a:gd name="connsiteX180" fmla="*/ 3074407 w 11269336"/>
              <a:gd name="connsiteY180" fmla="*/ 2136274 h 2323145"/>
              <a:gd name="connsiteX181" fmla="*/ 3037285 w 11269336"/>
              <a:gd name="connsiteY181" fmla="*/ 2139919 h 2323145"/>
              <a:gd name="connsiteX182" fmla="*/ 3036901 w 11269336"/>
              <a:gd name="connsiteY182" fmla="*/ 2138726 h 2323145"/>
              <a:gd name="connsiteX183" fmla="*/ 3026996 w 11269336"/>
              <a:gd name="connsiteY183" fmla="*/ 2134322 h 2323145"/>
              <a:gd name="connsiteX184" fmla="*/ 3007772 w 11269336"/>
              <a:gd name="connsiteY184" fmla="*/ 2128742 h 2323145"/>
              <a:gd name="connsiteX185" fmla="*/ 2965030 w 11269336"/>
              <a:gd name="connsiteY185" fmla="*/ 2100494 h 2323145"/>
              <a:gd name="connsiteX186" fmla="*/ 2926342 w 11269336"/>
              <a:gd name="connsiteY186" fmla="*/ 2104155 h 2323145"/>
              <a:gd name="connsiteX187" fmla="*/ 2918608 w 11269336"/>
              <a:gd name="connsiteY187" fmla="*/ 2104215 h 2323145"/>
              <a:gd name="connsiteX188" fmla="*/ 2918475 w 11269336"/>
              <a:gd name="connsiteY188" fmla="*/ 2103937 h 2323145"/>
              <a:gd name="connsiteX189" fmla="*/ 2910360 w 11269336"/>
              <a:gd name="connsiteY189" fmla="*/ 2103444 h 2323145"/>
              <a:gd name="connsiteX190" fmla="*/ 2904507 w 11269336"/>
              <a:gd name="connsiteY190" fmla="*/ 2104326 h 2323145"/>
              <a:gd name="connsiteX191" fmla="*/ 2889503 w 11269336"/>
              <a:gd name="connsiteY191" fmla="*/ 2104443 h 2323145"/>
              <a:gd name="connsiteX192" fmla="*/ 2884480 w 11269336"/>
              <a:gd name="connsiteY192" fmla="*/ 2102626 h 2323145"/>
              <a:gd name="connsiteX193" fmla="*/ 2882689 w 11269336"/>
              <a:gd name="connsiteY193" fmla="*/ 2099228 h 2323145"/>
              <a:gd name="connsiteX194" fmla="*/ 2881291 w 11269336"/>
              <a:gd name="connsiteY194" fmla="*/ 2099618 h 2323145"/>
              <a:gd name="connsiteX195" fmla="*/ 2853979 w 11269336"/>
              <a:gd name="connsiteY195" fmla="*/ 2090388 h 2323145"/>
              <a:gd name="connsiteX196" fmla="*/ 2791790 w 11269336"/>
              <a:gd name="connsiteY196" fmla="*/ 2080332 h 2323145"/>
              <a:gd name="connsiteX197" fmla="*/ 2755844 w 11269336"/>
              <a:gd name="connsiteY197" fmla="*/ 2078874 h 2323145"/>
              <a:gd name="connsiteX198" fmla="*/ 2657742 w 11269336"/>
              <a:gd name="connsiteY198" fmla="*/ 2070179 h 2323145"/>
              <a:gd name="connsiteX199" fmla="*/ 2559549 w 11269336"/>
              <a:gd name="connsiteY199" fmla="*/ 2057873 h 2323145"/>
              <a:gd name="connsiteX200" fmla="*/ 2512054 w 11269336"/>
              <a:gd name="connsiteY200" fmla="*/ 2031671 h 2323145"/>
              <a:gd name="connsiteX201" fmla="*/ 2506437 w 11269336"/>
              <a:gd name="connsiteY201" fmla="*/ 2030918 h 2323145"/>
              <a:gd name="connsiteX202" fmla="*/ 2491752 w 11269336"/>
              <a:gd name="connsiteY202" fmla="*/ 2033906 h 2323145"/>
              <a:gd name="connsiteX203" fmla="*/ 2486338 w 11269336"/>
              <a:gd name="connsiteY203" fmla="*/ 2035862 h 2323145"/>
              <a:gd name="connsiteX204" fmla="*/ 2478186 w 11269336"/>
              <a:gd name="connsiteY204" fmla="*/ 2036953 h 2323145"/>
              <a:gd name="connsiteX205" fmla="*/ 2477950 w 11269336"/>
              <a:gd name="connsiteY205" fmla="*/ 2036715 h 2323145"/>
              <a:gd name="connsiteX206" fmla="*/ 2470381 w 11269336"/>
              <a:gd name="connsiteY206" fmla="*/ 2038256 h 2323145"/>
              <a:gd name="connsiteX207" fmla="*/ 2433781 w 11269336"/>
              <a:gd name="connsiteY207" fmla="*/ 2049140 h 2323145"/>
              <a:gd name="connsiteX208" fmla="*/ 2381172 w 11269336"/>
              <a:gd name="connsiteY208" fmla="*/ 2030645 h 2323145"/>
              <a:gd name="connsiteX209" fmla="*/ 2360198 w 11269336"/>
              <a:gd name="connsiteY209" fmla="*/ 2029059 h 2323145"/>
              <a:gd name="connsiteX210" fmla="*/ 2348815 w 11269336"/>
              <a:gd name="connsiteY210" fmla="*/ 2026798 h 2323145"/>
              <a:gd name="connsiteX211" fmla="*/ 2347988 w 11269336"/>
              <a:gd name="connsiteY211" fmla="*/ 2025745 h 2323145"/>
              <a:gd name="connsiteX212" fmla="*/ 2312920 w 11269336"/>
              <a:gd name="connsiteY212" fmla="*/ 2036311 h 2323145"/>
              <a:gd name="connsiteX213" fmla="*/ 2307986 w 11269336"/>
              <a:gd name="connsiteY213" fmla="*/ 2035583 h 2323145"/>
              <a:gd name="connsiteX214" fmla="*/ 2285481 w 11269336"/>
              <a:gd name="connsiteY214" fmla="*/ 2045197 h 2323145"/>
              <a:gd name="connsiteX215" fmla="*/ 2273666 w 11269336"/>
              <a:gd name="connsiteY215" fmla="*/ 2048710 h 2323145"/>
              <a:gd name="connsiteX216" fmla="*/ 2270719 w 11269336"/>
              <a:gd name="connsiteY216" fmla="*/ 2052702 h 2323145"/>
              <a:gd name="connsiteX217" fmla="*/ 2253080 w 11269336"/>
              <a:gd name="connsiteY217" fmla="*/ 2056363 h 2323145"/>
              <a:gd name="connsiteX218" fmla="*/ 2250906 w 11269336"/>
              <a:gd name="connsiteY218" fmla="*/ 2055654 h 2323145"/>
              <a:gd name="connsiteX219" fmla="*/ 2236905 w 11269336"/>
              <a:gd name="connsiteY219" fmla="*/ 2062882 h 2323145"/>
              <a:gd name="connsiteX220" fmla="*/ 2225830 w 11269336"/>
              <a:gd name="connsiteY220" fmla="*/ 2074027 h 2323145"/>
              <a:gd name="connsiteX221" fmla="*/ 2073776 w 11269336"/>
              <a:gd name="connsiteY221" fmla="*/ 2089244 h 2323145"/>
              <a:gd name="connsiteX222" fmla="*/ 1948256 w 11269336"/>
              <a:gd name="connsiteY222" fmla="*/ 2146616 h 2323145"/>
              <a:gd name="connsiteX223" fmla="*/ 1865582 w 11269336"/>
              <a:gd name="connsiteY223" fmla="*/ 2153738 h 2323145"/>
              <a:gd name="connsiteX224" fmla="*/ 1835210 w 11269336"/>
              <a:gd name="connsiteY224" fmla="*/ 2134244 h 2323145"/>
              <a:gd name="connsiteX225" fmla="*/ 1632661 w 11269336"/>
              <a:gd name="connsiteY225" fmla="*/ 2173882 h 2323145"/>
              <a:gd name="connsiteX226" fmla="*/ 1579590 w 11269336"/>
              <a:gd name="connsiteY226" fmla="*/ 2173680 h 2323145"/>
              <a:gd name="connsiteX227" fmla="*/ 1535601 w 11269336"/>
              <a:gd name="connsiteY227" fmla="*/ 2194590 h 2323145"/>
              <a:gd name="connsiteX228" fmla="*/ 1515594 w 11269336"/>
              <a:gd name="connsiteY228" fmla="*/ 2189622 h 2323145"/>
              <a:gd name="connsiteX229" fmla="*/ 1512113 w 11269336"/>
              <a:gd name="connsiteY229" fmla="*/ 2188534 h 2323145"/>
              <a:gd name="connsiteX230" fmla="*/ 1498838 w 11269336"/>
              <a:gd name="connsiteY230" fmla="*/ 2189213 h 2323145"/>
              <a:gd name="connsiteX231" fmla="*/ 1494279 w 11269336"/>
              <a:gd name="connsiteY231" fmla="*/ 2183112 h 2323145"/>
              <a:gd name="connsiteX232" fmla="*/ 1473714 w 11269336"/>
              <a:gd name="connsiteY232" fmla="*/ 2179625 h 2323145"/>
              <a:gd name="connsiteX233" fmla="*/ 1449503 w 11269336"/>
              <a:gd name="connsiteY233" fmla="*/ 2182633 h 2323145"/>
              <a:gd name="connsiteX234" fmla="*/ 1266687 w 11269336"/>
              <a:gd name="connsiteY234" fmla="*/ 2212688 h 2323145"/>
              <a:gd name="connsiteX235" fmla="*/ 1239614 w 11269336"/>
              <a:gd name="connsiteY235" fmla="*/ 2209727 h 2323145"/>
              <a:gd name="connsiteX236" fmla="*/ 1202436 w 11269336"/>
              <a:gd name="connsiteY236" fmla="*/ 2209817 h 2323145"/>
              <a:gd name="connsiteX237" fmla="*/ 1136097 w 11269336"/>
              <a:gd name="connsiteY237" fmla="*/ 2205112 h 2323145"/>
              <a:gd name="connsiteX238" fmla="*/ 988232 w 11269336"/>
              <a:gd name="connsiteY238" fmla="*/ 2235635 h 2323145"/>
              <a:gd name="connsiteX239" fmla="*/ 981959 w 11269336"/>
              <a:gd name="connsiteY239" fmla="*/ 2231607 h 2323145"/>
              <a:gd name="connsiteX240" fmla="*/ 938600 w 11269336"/>
              <a:gd name="connsiteY240" fmla="*/ 2238113 h 2323145"/>
              <a:gd name="connsiteX241" fmla="*/ 791788 w 11269336"/>
              <a:gd name="connsiteY241" fmla="*/ 2293224 h 2323145"/>
              <a:gd name="connsiteX242" fmla="*/ 706914 w 11269336"/>
              <a:gd name="connsiteY242" fmla="*/ 2305046 h 2323145"/>
              <a:gd name="connsiteX243" fmla="*/ 675971 w 11269336"/>
              <a:gd name="connsiteY243" fmla="*/ 2304030 h 2323145"/>
              <a:gd name="connsiteX244" fmla="*/ 624180 w 11269336"/>
              <a:gd name="connsiteY244" fmla="*/ 2302650 h 2323145"/>
              <a:gd name="connsiteX245" fmla="*/ 583453 w 11269336"/>
              <a:gd name="connsiteY245" fmla="*/ 2288788 h 2323145"/>
              <a:gd name="connsiteX246" fmla="*/ 540946 w 11269336"/>
              <a:gd name="connsiteY246" fmla="*/ 2292721 h 2323145"/>
              <a:gd name="connsiteX247" fmla="*/ 533680 w 11269336"/>
              <a:gd name="connsiteY247" fmla="*/ 2310233 h 2323145"/>
              <a:gd name="connsiteX248" fmla="*/ 487366 w 11269336"/>
              <a:gd name="connsiteY248" fmla="*/ 2309053 h 2323145"/>
              <a:gd name="connsiteX249" fmla="*/ 416820 w 11269336"/>
              <a:gd name="connsiteY249" fmla="*/ 2305443 h 2323145"/>
              <a:gd name="connsiteX250" fmla="*/ 376805 w 11269336"/>
              <a:gd name="connsiteY250" fmla="*/ 2307647 h 2323145"/>
              <a:gd name="connsiteX251" fmla="*/ 266777 w 11269336"/>
              <a:gd name="connsiteY251" fmla="*/ 2309012 h 2323145"/>
              <a:gd name="connsiteX252" fmla="*/ 156013 w 11269336"/>
              <a:gd name="connsiteY252" fmla="*/ 2306832 h 2323145"/>
              <a:gd name="connsiteX253" fmla="*/ 87258 w 11269336"/>
              <a:gd name="connsiteY253" fmla="*/ 2285511 h 2323145"/>
              <a:gd name="connsiteX254" fmla="*/ 23798 w 11269336"/>
              <a:gd name="connsiteY254" fmla="*/ 2281822 h 2323145"/>
              <a:gd name="connsiteX255" fmla="*/ 0 w 11269336"/>
              <a:gd name="connsiteY255" fmla="*/ 2285369 h 2323145"/>
              <a:gd name="connsiteX256" fmla="*/ 0 w 11269336"/>
              <a:gd name="connsiteY25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05765 w 11269336"/>
              <a:gd name="connsiteY145" fmla="*/ 2199902 h 2323145"/>
              <a:gd name="connsiteX146" fmla="*/ 4401354 w 11269336"/>
              <a:gd name="connsiteY146" fmla="*/ 2194745 h 2323145"/>
              <a:gd name="connsiteX147" fmla="*/ 4366646 w 11269336"/>
              <a:gd name="connsiteY147" fmla="*/ 2198564 h 2323145"/>
              <a:gd name="connsiteX148" fmla="*/ 4354009 w 11269336"/>
              <a:gd name="connsiteY148" fmla="*/ 2204984 h 2323145"/>
              <a:gd name="connsiteX149" fmla="*/ 4348284 w 11269336"/>
              <a:gd name="connsiteY149" fmla="*/ 2205270 h 2323145"/>
              <a:gd name="connsiteX150" fmla="*/ 4333906 w 11269336"/>
              <a:gd name="connsiteY150" fmla="*/ 2205251 h 2323145"/>
              <a:gd name="connsiteX151" fmla="*/ 4308819 w 11269336"/>
              <a:gd name="connsiteY151" fmla="*/ 2203822 h 2323145"/>
              <a:gd name="connsiteX152" fmla="*/ 4301210 w 11269336"/>
              <a:gd name="connsiteY152" fmla="*/ 2204456 h 2323145"/>
              <a:gd name="connsiteX153" fmla="*/ 4283095 w 11269336"/>
              <a:gd name="connsiteY153" fmla="*/ 2198177 h 2323145"/>
              <a:gd name="connsiteX154" fmla="*/ 4250119 w 11269336"/>
              <a:gd name="connsiteY154" fmla="*/ 2196342 h 2323145"/>
              <a:gd name="connsiteX155" fmla="*/ 4189203 w 11269336"/>
              <a:gd name="connsiteY155" fmla="*/ 2178994 h 2323145"/>
              <a:gd name="connsiteX156" fmla="*/ 4154035 w 11269336"/>
              <a:gd name="connsiteY156" fmla="*/ 2171950 h 2323145"/>
              <a:gd name="connsiteX157" fmla="*/ 4129569 w 11269336"/>
              <a:gd name="connsiteY157" fmla="*/ 2163850 h 2323145"/>
              <a:gd name="connsiteX158" fmla="*/ 4061250 w 11269336"/>
              <a:gd name="connsiteY158" fmla="*/ 2159236 h 2323145"/>
              <a:gd name="connsiteX159" fmla="*/ 3945480 w 11269336"/>
              <a:gd name="connsiteY159" fmla="*/ 2158279 h 2323145"/>
              <a:gd name="connsiteX160" fmla="*/ 3921468 w 11269336"/>
              <a:gd name="connsiteY160" fmla="*/ 2156588 h 2323145"/>
              <a:gd name="connsiteX161" fmla="*/ 3903348 w 11269336"/>
              <a:gd name="connsiteY161" fmla="*/ 2149220 h 2323145"/>
              <a:gd name="connsiteX162" fmla="*/ 3901342 w 11269336"/>
              <a:gd name="connsiteY162" fmla="*/ 2142355 h 2323145"/>
              <a:gd name="connsiteX163" fmla="*/ 3888539 w 11269336"/>
              <a:gd name="connsiteY163" fmla="*/ 2140476 h 2323145"/>
              <a:gd name="connsiteX164" fmla="*/ 3885662 w 11269336"/>
              <a:gd name="connsiteY164" fmla="*/ 2138740 h 2323145"/>
              <a:gd name="connsiteX165" fmla="*/ 3868627 w 11269336"/>
              <a:gd name="connsiteY165" fmla="*/ 2130023 h 2323145"/>
              <a:gd name="connsiteX166" fmla="*/ 3819177 w 11269336"/>
              <a:gd name="connsiteY166" fmla="*/ 2142111 h 2323145"/>
              <a:gd name="connsiteX167" fmla="*/ 3769100 w 11269336"/>
              <a:gd name="connsiteY167" fmla="*/ 2131731 h 2323145"/>
              <a:gd name="connsiteX168" fmla="*/ 3562752 w 11269336"/>
              <a:gd name="connsiteY168" fmla="*/ 2131785 h 2323145"/>
              <a:gd name="connsiteX169" fmla="*/ 3541402 w 11269336"/>
              <a:gd name="connsiteY169" fmla="*/ 2106821 h 2323145"/>
              <a:gd name="connsiteX170" fmla="*/ 3365341 w 11269336"/>
              <a:gd name="connsiteY170" fmla="*/ 2077638 h 2323145"/>
              <a:gd name="connsiteX171" fmla="*/ 3170922 w 11269336"/>
              <a:gd name="connsiteY171" fmla="*/ 2115957 h 2323145"/>
              <a:gd name="connsiteX172" fmla="*/ 3156256 w 11269336"/>
              <a:gd name="connsiteY172" fmla="*/ 2124773 h 2323145"/>
              <a:gd name="connsiteX173" fmla="*/ 3140298 w 11269336"/>
              <a:gd name="connsiteY173" fmla="*/ 2129182 h 2323145"/>
              <a:gd name="connsiteX174" fmla="*/ 3138514 w 11269336"/>
              <a:gd name="connsiteY174" fmla="*/ 2128069 h 2323145"/>
              <a:gd name="connsiteX175" fmla="*/ 3120467 w 11269336"/>
              <a:gd name="connsiteY175" fmla="*/ 2128281 h 2323145"/>
              <a:gd name="connsiteX176" fmla="*/ 3116175 w 11269336"/>
              <a:gd name="connsiteY176" fmla="*/ 2131633 h 2323145"/>
              <a:gd name="connsiteX177" fmla="*/ 3103685 w 11269336"/>
              <a:gd name="connsiteY177" fmla="*/ 2132814 h 2323145"/>
              <a:gd name="connsiteX178" fmla="*/ 3078794 w 11269336"/>
              <a:gd name="connsiteY178" fmla="*/ 2137935 h 2323145"/>
              <a:gd name="connsiteX179" fmla="*/ 3074407 w 11269336"/>
              <a:gd name="connsiteY179" fmla="*/ 2136274 h 2323145"/>
              <a:gd name="connsiteX180" fmla="*/ 3037285 w 11269336"/>
              <a:gd name="connsiteY180" fmla="*/ 2139919 h 2323145"/>
              <a:gd name="connsiteX181" fmla="*/ 3036901 w 11269336"/>
              <a:gd name="connsiteY181" fmla="*/ 2138726 h 2323145"/>
              <a:gd name="connsiteX182" fmla="*/ 3026996 w 11269336"/>
              <a:gd name="connsiteY182" fmla="*/ 2134322 h 2323145"/>
              <a:gd name="connsiteX183" fmla="*/ 3007772 w 11269336"/>
              <a:gd name="connsiteY183" fmla="*/ 2128742 h 2323145"/>
              <a:gd name="connsiteX184" fmla="*/ 2965030 w 11269336"/>
              <a:gd name="connsiteY184" fmla="*/ 2100494 h 2323145"/>
              <a:gd name="connsiteX185" fmla="*/ 2926342 w 11269336"/>
              <a:gd name="connsiteY185" fmla="*/ 2104155 h 2323145"/>
              <a:gd name="connsiteX186" fmla="*/ 2918608 w 11269336"/>
              <a:gd name="connsiteY186" fmla="*/ 2104215 h 2323145"/>
              <a:gd name="connsiteX187" fmla="*/ 2918475 w 11269336"/>
              <a:gd name="connsiteY187" fmla="*/ 2103937 h 2323145"/>
              <a:gd name="connsiteX188" fmla="*/ 2910360 w 11269336"/>
              <a:gd name="connsiteY188" fmla="*/ 2103444 h 2323145"/>
              <a:gd name="connsiteX189" fmla="*/ 2904507 w 11269336"/>
              <a:gd name="connsiteY189" fmla="*/ 2104326 h 2323145"/>
              <a:gd name="connsiteX190" fmla="*/ 2889503 w 11269336"/>
              <a:gd name="connsiteY190" fmla="*/ 2104443 h 2323145"/>
              <a:gd name="connsiteX191" fmla="*/ 2884480 w 11269336"/>
              <a:gd name="connsiteY191" fmla="*/ 2102626 h 2323145"/>
              <a:gd name="connsiteX192" fmla="*/ 2882689 w 11269336"/>
              <a:gd name="connsiteY192" fmla="*/ 2099228 h 2323145"/>
              <a:gd name="connsiteX193" fmla="*/ 2881291 w 11269336"/>
              <a:gd name="connsiteY193" fmla="*/ 2099618 h 2323145"/>
              <a:gd name="connsiteX194" fmla="*/ 2853979 w 11269336"/>
              <a:gd name="connsiteY194" fmla="*/ 2090388 h 2323145"/>
              <a:gd name="connsiteX195" fmla="*/ 2791790 w 11269336"/>
              <a:gd name="connsiteY195" fmla="*/ 2080332 h 2323145"/>
              <a:gd name="connsiteX196" fmla="*/ 2755844 w 11269336"/>
              <a:gd name="connsiteY196" fmla="*/ 2078874 h 2323145"/>
              <a:gd name="connsiteX197" fmla="*/ 2657742 w 11269336"/>
              <a:gd name="connsiteY197" fmla="*/ 2070179 h 2323145"/>
              <a:gd name="connsiteX198" fmla="*/ 2559549 w 11269336"/>
              <a:gd name="connsiteY198" fmla="*/ 2057873 h 2323145"/>
              <a:gd name="connsiteX199" fmla="*/ 2512054 w 11269336"/>
              <a:gd name="connsiteY199" fmla="*/ 2031671 h 2323145"/>
              <a:gd name="connsiteX200" fmla="*/ 2506437 w 11269336"/>
              <a:gd name="connsiteY200" fmla="*/ 2030918 h 2323145"/>
              <a:gd name="connsiteX201" fmla="*/ 2491752 w 11269336"/>
              <a:gd name="connsiteY201" fmla="*/ 2033906 h 2323145"/>
              <a:gd name="connsiteX202" fmla="*/ 2486338 w 11269336"/>
              <a:gd name="connsiteY202" fmla="*/ 2035862 h 2323145"/>
              <a:gd name="connsiteX203" fmla="*/ 2478186 w 11269336"/>
              <a:gd name="connsiteY203" fmla="*/ 2036953 h 2323145"/>
              <a:gd name="connsiteX204" fmla="*/ 2477950 w 11269336"/>
              <a:gd name="connsiteY204" fmla="*/ 2036715 h 2323145"/>
              <a:gd name="connsiteX205" fmla="*/ 2470381 w 11269336"/>
              <a:gd name="connsiteY205" fmla="*/ 2038256 h 2323145"/>
              <a:gd name="connsiteX206" fmla="*/ 2433781 w 11269336"/>
              <a:gd name="connsiteY206" fmla="*/ 2049140 h 2323145"/>
              <a:gd name="connsiteX207" fmla="*/ 2381172 w 11269336"/>
              <a:gd name="connsiteY207" fmla="*/ 2030645 h 2323145"/>
              <a:gd name="connsiteX208" fmla="*/ 2360198 w 11269336"/>
              <a:gd name="connsiteY208" fmla="*/ 2029059 h 2323145"/>
              <a:gd name="connsiteX209" fmla="*/ 2348815 w 11269336"/>
              <a:gd name="connsiteY209" fmla="*/ 2026798 h 2323145"/>
              <a:gd name="connsiteX210" fmla="*/ 2347988 w 11269336"/>
              <a:gd name="connsiteY210" fmla="*/ 2025745 h 2323145"/>
              <a:gd name="connsiteX211" fmla="*/ 2312920 w 11269336"/>
              <a:gd name="connsiteY211" fmla="*/ 2036311 h 2323145"/>
              <a:gd name="connsiteX212" fmla="*/ 2307986 w 11269336"/>
              <a:gd name="connsiteY212" fmla="*/ 2035583 h 2323145"/>
              <a:gd name="connsiteX213" fmla="*/ 2285481 w 11269336"/>
              <a:gd name="connsiteY213" fmla="*/ 2045197 h 2323145"/>
              <a:gd name="connsiteX214" fmla="*/ 2273666 w 11269336"/>
              <a:gd name="connsiteY214" fmla="*/ 2048710 h 2323145"/>
              <a:gd name="connsiteX215" fmla="*/ 2270719 w 11269336"/>
              <a:gd name="connsiteY215" fmla="*/ 2052702 h 2323145"/>
              <a:gd name="connsiteX216" fmla="*/ 2253080 w 11269336"/>
              <a:gd name="connsiteY216" fmla="*/ 2056363 h 2323145"/>
              <a:gd name="connsiteX217" fmla="*/ 2250906 w 11269336"/>
              <a:gd name="connsiteY217" fmla="*/ 2055654 h 2323145"/>
              <a:gd name="connsiteX218" fmla="*/ 2236905 w 11269336"/>
              <a:gd name="connsiteY218" fmla="*/ 2062882 h 2323145"/>
              <a:gd name="connsiteX219" fmla="*/ 2225830 w 11269336"/>
              <a:gd name="connsiteY219" fmla="*/ 2074027 h 2323145"/>
              <a:gd name="connsiteX220" fmla="*/ 2073776 w 11269336"/>
              <a:gd name="connsiteY220" fmla="*/ 2089244 h 2323145"/>
              <a:gd name="connsiteX221" fmla="*/ 1948256 w 11269336"/>
              <a:gd name="connsiteY221" fmla="*/ 2146616 h 2323145"/>
              <a:gd name="connsiteX222" fmla="*/ 1865582 w 11269336"/>
              <a:gd name="connsiteY222" fmla="*/ 2153738 h 2323145"/>
              <a:gd name="connsiteX223" fmla="*/ 1835210 w 11269336"/>
              <a:gd name="connsiteY223" fmla="*/ 2134244 h 2323145"/>
              <a:gd name="connsiteX224" fmla="*/ 1632661 w 11269336"/>
              <a:gd name="connsiteY224" fmla="*/ 2173882 h 2323145"/>
              <a:gd name="connsiteX225" fmla="*/ 1579590 w 11269336"/>
              <a:gd name="connsiteY225" fmla="*/ 2173680 h 2323145"/>
              <a:gd name="connsiteX226" fmla="*/ 1535601 w 11269336"/>
              <a:gd name="connsiteY226" fmla="*/ 2194590 h 2323145"/>
              <a:gd name="connsiteX227" fmla="*/ 1515594 w 11269336"/>
              <a:gd name="connsiteY227" fmla="*/ 2189622 h 2323145"/>
              <a:gd name="connsiteX228" fmla="*/ 1512113 w 11269336"/>
              <a:gd name="connsiteY228" fmla="*/ 2188534 h 2323145"/>
              <a:gd name="connsiteX229" fmla="*/ 1498838 w 11269336"/>
              <a:gd name="connsiteY229" fmla="*/ 2189213 h 2323145"/>
              <a:gd name="connsiteX230" fmla="*/ 1494279 w 11269336"/>
              <a:gd name="connsiteY230" fmla="*/ 2183112 h 2323145"/>
              <a:gd name="connsiteX231" fmla="*/ 1473714 w 11269336"/>
              <a:gd name="connsiteY231" fmla="*/ 2179625 h 2323145"/>
              <a:gd name="connsiteX232" fmla="*/ 1449503 w 11269336"/>
              <a:gd name="connsiteY232" fmla="*/ 2182633 h 2323145"/>
              <a:gd name="connsiteX233" fmla="*/ 1266687 w 11269336"/>
              <a:gd name="connsiteY233" fmla="*/ 2212688 h 2323145"/>
              <a:gd name="connsiteX234" fmla="*/ 1239614 w 11269336"/>
              <a:gd name="connsiteY234" fmla="*/ 2209727 h 2323145"/>
              <a:gd name="connsiteX235" fmla="*/ 1202436 w 11269336"/>
              <a:gd name="connsiteY235" fmla="*/ 2209817 h 2323145"/>
              <a:gd name="connsiteX236" fmla="*/ 1136097 w 11269336"/>
              <a:gd name="connsiteY236" fmla="*/ 2205112 h 2323145"/>
              <a:gd name="connsiteX237" fmla="*/ 988232 w 11269336"/>
              <a:gd name="connsiteY237" fmla="*/ 2235635 h 2323145"/>
              <a:gd name="connsiteX238" fmla="*/ 981959 w 11269336"/>
              <a:gd name="connsiteY238" fmla="*/ 2231607 h 2323145"/>
              <a:gd name="connsiteX239" fmla="*/ 938600 w 11269336"/>
              <a:gd name="connsiteY239" fmla="*/ 2238113 h 2323145"/>
              <a:gd name="connsiteX240" fmla="*/ 791788 w 11269336"/>
              <a:gd name="connsiteY240" fmla="*/ 2293224 h 2323145"/>
              <a:gd name="connsiteX241" fmla="*/ 706914 w 11269336"/>
              <a:gd name="connsiteY241" fmla="*/ 2305046 h 2323145"/>
              <a:gd name="connsiteX242" fmla="*/ 675971 w 11269336"/>
              <a:gd name="connsiteY242" fmla="*/ 2304030 h 2323145"/>
              <a:gd name="connsiteX243" fmla="*/ 624180 w 11269336"/>
              <a:gd name="connsiteY243" fmla="*/ 2302650 h 2323145"/>
              <a:gd name="connsiteX244" fmla="*/ 583453 w 11269336"/>
              <a:gd name="connsiteY244" fmla="*/ 2288788 h 2323145"/>
              <a:gd name="connsiteX245" fmla="*/ 540946 w 11269336"/>
              <a:gd name="connsiteY245" fmla="*/ 2292721 h 2323145"/>
              <a:gd name="connsiteX246" fmla="*/ 533680 w 11269336"/>
              <a:gd name="connsiteY246" fmla="*/ 2310233 h 2323145"/>
              <a:gd name="connsiteX247" fmla="*/ 487366 w 11269336"/>
              <a:gd name="connsiteY247" fmla="*/ 2309053 h 2323145"/>
              <a:gd name="connsiteX248" fmla="*/ 416820 w 11269336"/>
              <a:gd name="connsiteY248" fmla="*/ 2305443 h 2323145"/>
              <a:gd name="connsiteX249" fmla="*/ 376805 w 11269336"/>
              <a:gd name="connsiteY249" fmla="*/ 2307647 h 2323145"/>
              <a:gd name="connsiteX250" fmla="*/ 266777 w 11269336"/>
              <a:gd name="connsiteY250" fmla="*/ 2309012 h 2323145"/>
              <a:gd name="connsiteX251" fmla="*/ 156013 w 11269336"/>
              <a:gd name="connsiteY251" fmla="*/ 2306832 h 2323145"/>
              <a:gd name="connsiteX252" fmla="*/ 87258 w 11269336"/>
              <a:gd name="connsiteY252" fmla="*/ 2285511 h 2323145"/>
              <a:gd name="connsiteX253" fmla="*/ 23798 w 11269336"/>
              <a:gd name="connsiteY253" fmla="*/ 2281822 h 2323145"/>
              <a:gd name="connsiteX254" fmla="*/ 0 w 11269336"/>
              <a:gd name="connsiteY254" fmla="*/ 2285369 h 2323145"/>
              <a:gd name="connsiteX255" fmla="*/ 0 w 11269336"/>
              <a:gd name="connsiteY25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05765 w 11269336"/>
              <a:gd name="connsiteY144" fmla="*/ 2199902 h 2323145"/>
              <a:gd name="connsiteX145" fmla="*/ 4401354 w 11269336"/>
              <a:gd name="connsiteY145" fmla="*/ 2194745 h 2323145"/>
              <a:gd name="connsiteX146" fmla="*/ 4366646 w 11269336"/>
              <a:gd name="connsiteY146" fmla="*/ 2198564 h 2323145"/>
              <a:gd name="connsiteX147" fmla="*/ 4354009 w 11269336"/>
              <a:gd name="connsiteY147" fmla="*/ 2204984 h 2323145"/>
              <a:gd name="connsiteX148" fmla="*/ 4348284 w 11269336"/>
              <a:gd name="connsiteY148" fmla="*/ 2205270 h 2323145"/>
              <a:gd name="connsiteX149" fmla="*/ 4333906 w 11269336"/>
              <a:gd name="connsiteY149" fmla="*/ 2205251 h 2323145"/>
              <a:gd name="connsiteX150" fmla="*/ 4308819 w 11269336"/>
              <a:gd name="connsiteY150" fmla="*/ 2203822 h 2323145"/>
              <a:gd name="connsiteX151" fmla="*/ 4301210 w 11269336"/>
              <a:gd name="connsiteY151" fmla="*/ 2204456 h 2323145"/>
              <a:gd name="connsiteX152" fmla="*/ 4283095 w 11269336"/>
              <a:gd name="connsiteY152" fmla="*/ 2198177 h 2323145"/>
              <a:gd name="connsiteX153" fmla="*/ 4250119 w 11269336"/>
              <a:gd name="connsiteY153" fmla="*/ 2196342 h 2323145"/>
              <a:gd name="connsiteX154" fmla="*/ 4189203 w 11269336"/>
              <a:gd name="connsiteY154" fmla="*/ 2178994 h 2323145"/>
              <a:gd name="connsiteX155" fmla="*/ 4154035 w 11269336"/>
              <a:gd name="connsiteY155" fmla="*/ 2171950 h 2323145"/>
              <a:gd name="connsiteX156" fmla="*/ 4129569 w 11269336"/>
              <a:gd name="connsiteY156" fmla="*/ 2163850 h 2323145"/>
              <a:gd name="connsiteX157" fmla="*/ 4061250 w 11269336"/>
              <a:gd name="connsiteY157" fmla="*/ 2159236 h 2323145"/>
              <a:gd name="connsiteX158" fmla="*/ 3945480 w 11269336"/>
              <a:gd name="connsiteY158" fmla="*/ 2158279 h 2323145"/>
              <a:gd name="connsiteX159" fmla="*/ 3921468 w 11269336"/>
              <a:gd name="connsiteY159" fmla="*/ 2156588 h 2323145"/>
              <a:gd name="connsiteX160" fmla="*/ 3903348 w 11269336"/>
              <a:gd name="connsiteY160" fmla="*/ 2149220 h 2323145"/>
              <a:gd name="connsiteX161" fmla="*/ 3901342 w 11269336"/>
              <a:gd name="connsiteY161" fmla="*/ 2142355 h 2323145"/>
              <a:gd name="connsiteX162" fmla="*/ 3888539 w 11269336"/>
              <a:gd name="connsiteY162" fmla="*/ 2140476 h 2323145"/>
              <a:gd name="connsiteX163" fmla="*/ 3885662 w 11269336"/>
              <a:gd name="connsiteY163" fmla="*/ 2138740 h 2323145"/>
              <a:gd name="connsiteX164" fmla="*/ 3868627 w 11269336"/>
              <a:gd name="connsiteY164" fmla="*/ 2130023 h 2323145"/>
              <a:gd name="connsiteX165" fmla="*/ 3819177 w 11269336"/>
              <a:gd name="connsiteY165" fmla="*/ 2142111 h 2323145"/>
              <a:gd name="connsiteX166" fmla="*/ 3769100 w 11269336"/>
              <a:gd name="connsiteY166" fmla="*/ 2131731 h 2323145"/>
              <a:gd name="connsiteX167" fmla="*/ 3562752 w 11269336"/>
              <a:gd name="connsiteY167" fmla="*/ 2131785 h 2323145"/>
              <a:gd name="connsiteX168" fmla="*/ 3541402 w 11269336"/>
              <a:gd name="connsiteY168" fmla="*/ 2106821 h 2323145"/>
              <a:gd name="connsiteX169" fmla="*/ 3365341 w 11269336"/>
              <a:gd name="connsiteY169" fmla="*/ 2077638 h 2323145"/>
              <a:gd name="connsiteX170" fmla="*/ 3170922 w 11269336"/>
              <a:gd name="connsiteY170" fmla="*/ 2115957 h 2323145"/>
              <a:gd name="connsiteX171" fmla="*/ 3156256 w 11269336"/>
              <a:gd name="connsiteY171" fmla="*/ 2124773 h 2323145"/>
              <a:gd name="connsiteX172" fmla="*/ 3140298 w 11269336"/>
              <a:gd name="connsiteY172" fmla="*/ 2129182 h 2323145"/>
              <a:gd name="connsiteX173" fmla="*/ 3138514 w 11269336"/>
              <a:gd name="connsiteY173" fmla="*/ 2128069 h 2323145"/>
              <a:gd name="connsiteX174" fmla="*/ 3120467 w 11269336"/>
              <a:gd name="connsiteY174" fmla="*/ 2128281 h 2323145"/>
              <a:gd name="connsiteX175" fmla="*/ 3116175 w 11269336"/>
              <a:gd name="connsiteY175" fmla="*/ 2131633 h 2323145"/>
              <a:gd name="connsiteX176" fmla="*/ 3103685 w 11269336"/>
              <a:gd name="connsiteY176" fmla="*/ 2132814 h 2323145"/>
              <a:gd name="connsiteX177" fmla="*/ 3078794 w 11269336"/>
              <a:gd name="connsiteY177" fmla="*/ 2137935 h 2323145"/>
              <a:gd name="connsiteX178" fmla="*/ 3074407 w 11269336"/>
              <a:gd name="connsiteY178" fmla="*/ 2136274 h 2323145"/>
              <a:gd name="connsiteX179" fmla="*/ 3037285 w 11269336"/>
              <a:gd name="connsiteY179" fmla="*/ 2139919 h 2323145"/>
              <a:gd name="connsiteX180" fmla="*/ 3036901 w 11269336"/>
              <a:gd name="connsiteY180" fmla="*/ 2138726 h 2323145"/>
              <a:gd name="connsiteX181" fmla="*/ 3026996 w 11269336"/>
              <a:gd name="connsiteY181" fmla="*/ 2134322 h 2323145"/>
              <a:gd name="connsiteX182" fmla="*/ 3007772 w 11269336"/>
              <a:gd name="connsiteY182" fmla="*/ 2128742 h 2323145"/>
              <a:gd name="connsiteX183" fmla="*/ 2965030 w 11269336"/>
              <a:gd name="connsiteY183" fmla="*/ 2100494 h 2323145"/>
              <a:gd name="connsiteX184" fmla="*/ 2926342 w 11269336"/>
              <a:gd name="connsiteY184" fmla="*/ 2104155 h 2323145"/>
              <a:gd name="connsiteX185" fmla="*/ 2918608 w 11269336"/>
              <a:gd name="connsiteY185" fmla="*/ 2104215 h 2323145"/>
              <a:gd name="connsiteX186" fmla="*/ 2918475 w 11269336"/>
              <a:gd name="connsiteY186" fmla="*/ 2103937 h 2323145"/>
              <a:gd name="connsiteX187" fmla="*/ 2910360 w 11269336"/>
              <a:gd name="connsiteY187" fmla="*/ 2103444 h 2323145"/>
              <a:gd name="connsiteX188" fmla="*/ 2904507 w 11269336"/>
              <a:gd name="connsiteY188" fmla="*/ 2104326 h 2323145"/>
              <a:gd name="connsiteX189" fmla="*/ 2889503 w 11269336"/>
              <a:gd name="connsiteY189" fmla="*/ 2104443 h 2323145"/>
              <a:gd name="connsiteX190" fmla="*/ 2884480 w 11269336"/>
              <a:gd name="connsiteY190" fmla="*/ 2102626 h 2323145"/>
              <a:gd name="connsiteX191" fmla="*/ 2882689 w 11269336"/>
              <a:gd name="connsiteY191" fmla="*/ 2099228 h 2323145"/>
              <a:gd name="connsiteX192" fmla="*/ 2881291 w 11269336"/>
              <a:gd name="connsiteY192" fmla="*/ 2099618 h 2323145"/>
              <a:gd name="connsiteX193" fmla="*/ 2853979 w 11269336"/>
              <a:gd name="connsiteY193" fmla="*/ 2090388 h 2323145"/>
              <a:gd name="connsiteX194" fmla="*/ 2791790 w 11269336"/>
              <a:gd name="connsiteY194" fmla="*/ 2080332 h 2323145"/>
              <a:gd name="connsiteX195" fmla="*/ 2755844 w 11269336"/>
              <a:gd name="connsiteY195" fmla="*/ 2078874 h 2323145"/>
              <a:gd name="connsiteX196" fmla="*/ 2657742 w 11269336"/>
              <a:gd name="connsiteY196" fmla="*/ 2070179 h 2323145"/>
              <a:gd name="connsiteX197" fmla="*/ 2559549 w 11269336"/>
              <a:gd name="connsiteY197" fmla="*/ 2057873 h 2323145"/>
              <a:gd name="connsiteX198" fmla="*/ 2512054 w 11269336"/>
              <a:gd name="connsiteY198" fmla="*/ 2031671 h 2323145"/>
              <a:gd name="connsiteX199" fmla="*/ 2506437 w 11269336"/>
              <a:gd name="connsiteY199" fmla="*/ 2030918 h 2323145"/>
              <a:gd name="connsiteX200" fmla="*/ 2491752 w 11269336"/>
              <a:gd name="connsiteY200" fmla="*/ 2033906 h 2323145"/>
              <a:gd name="connsiteX201" fmla="*/ 2486338 w 11269336"/>
              <a:gd name="connsiteY201" fmla="*/ 2035862 h 2323145"/>
              <a:gd name="connsiteX202" fmla="*/ 2478186 w 11269336"/>
              <a:gd name="connsiteY202" fmla="*/ 2036953 h 2323145"/>
              <a:gd name="connsiteX203" fmla="*/ 2477950 w 11269336"/>
              <a:gd name="connsiteY203" fmla="*/ 2036715 h 2323145"/>
              <a:gd name="connsiteX204" fmla="*/ 2470381 w 11269336"/>
              <a:gd name="connsiteY204" fmla="*/ 2038256 h 2323145"/>
              <a:gd name="connsiteX205" fmla="*/ 2433781 w 11269336"/>
              <a:gd name="connsiteY205" fmla="*/ 2049140 h 2323145"/>
              <a:gd name="connsiteX206" fmla="*/ 2381172 w 11269336"/>
              <a:gd name="connsiteY206" fmla="*/ 2030645 h 2323145"/>
              <a:gd name="connsiteX207" fmla="*/ 2360198 w 11269336"/>
              <a:gd name="connsiteY207" fmla="*/ 2029059 h 2323145"/>
              <a:gd name="connsiteX208" fmla="*/ 2348815 w 11269336"/>
              <a:gd name="connsiteY208" fmla="*/ 2026798 h 2323145"/>
              <a:gd name="connsiteX209" fmla="*/ 2347988 w 11269336"/>
              <a:gd name="connsiteY209" fmla="*/ 2025745 h 2323145"/>
              <a:gd name="connsiteX210" fmla="*/ 2312920 w 11269336"/>
              <a:gd name="connsiteY210" fmla="*/ 2036311 h 2323145"/>
              <a:gd name="connsiteX211" fmla="*/ 2307986 w 11269336"/>
              <a:gd name="connsiteY211" fmla="*/ 2035583 h 2323145"/>
              <a:gd name="connsiteX212" fmla="*/ 2285481 w 11269336"/>
              <a:gd name="connsiteY212" fmla="*/ 2045197 h 2323145"/>
              <a:gd name="connsiteX213" fmla="*/ 2273666 w 11269336"/>
              <a:gd name="connsiteY213" fmla="*/ 2048710 h 2323145"/>
              <a:gd name="connsiteX214" fmla="*/ 2270719 w 11269336"/>
              <a:gd name="connsiteY214" fmla="*/ 2052702 h 2323145"/>
              <a:gd name="connsiteX215" fmla="*/ 2253080 w 11269336"/>
              <a:gd name="connsiteY215" fmla="*/ 2056363 h 2323145"/>
              <a:gd name="connsiteX216" fmla="*/ 2250906 w 11269336"/>
              <a:gd name="connsiteY216" fmla="*/ 2055654 h 2323145"/>
              <a:gd name="connsiteX217" fmla="*/ 2236905 w 11269336"/>
              <a:gd name="connsiteY217" fmla="*/ 2062882 h 2323145"/>
              <a:gd name="connsiteX218" fmla="*/ 2225830 w 11269336"/>
              <a:gd name="connsiteY218" fmla="*/ 2074027 h 2323145"/>
              <a:gd name="connsiteX219" fmla="*/ 2073776 w 11269336"/>
              <a:gd name="connsiteY219" fmla="*/ 2089244 h 2323145"/>
              <a:gd name="connsiteX220" fmla="*/ 1948256 w 11269336"/>
              <a:gd name="connsiteY220" fmla="*/ 2146616 h 2323145"/>
              <a:gd name="connsiteX221" fmla="*/ 1865582 w 11269336"/>
              <a:gd name="connsiteY221" fmla="*/ 2153738 h 2323145"/>
              <a:gd name="connsiteX222" fmla="*/ 1835210 w 11269336"/>
              <a:gd name="connsiteY222" fmla="*/ 2134244 h 2323145"/>
              <a:gd name="connsiteX223" fmla="*/ 1632661 w 11269336"/>
              <a:gd name="connsiteY223" fmla="*/ 2173882 h 2323145"/>
              <a:gd name="connsiteX224" fmla="*/ 1579590 w 11269336"/>
              <a:gd name="connsiteY224" fmla="*/ 2173680 h 2323145"/>
              <a:gd name="connsiteX225" fmla="*/ 1535601 w 11269336"/>
              <a:gd name="connsiteY225" fmla="*/ 2194590 h 2323145"/>
              <a:gd name="connsiteX226" fmla="*/ 1515594 w 11269336"/>
              <a:gd name="connsiteY226" fmla="*/ 2189622 h 2323145"/>
              <a:gd name="connsiteX227" fmla="*/ 1512113 w 11269336"/>
              <a:gd name="connsiteY227" fmla="*/ 2188534 h 2323145"/>
              <a:gd name="connsiteX228" fmla="*/ 1498838 w 11269336"/>
              <a:gd name="connsiteY228" fmla="*/ 2189213 h 2323145"/>
              <a:gd name="connsiteX229" fmla="*/ 1494279 w 11269336"/>
              <a:gd name="connsiteY229" fmla="*/ 2183112 h 2323145"/>
              <a:gd name="connsiteX230" fmla="*/ 1473714 w 11269336"/>
              <a:gd name="connsiteY230" fmla="*/ 2179625 h 2323145"/>
              <a:gd name="connsiteX231" fmla="*/ 1449503 w 11269336"/>
              <a:gd name="connsiteY231" fmla="*/ 2182633 h 2323145"/>
              <a:gd name="connsiteX232" fmla="*/ 1266687 w 11269336"/>
              <a:gd name="connsiteY232" fmla="*/ 2212688 h 2323145"/>
              <a:gd name="connsiteX233" fmla="*/ 1239614 w 11269336"/>
              <a:gd name="connsiteY233" fmla="*/ 2209727 h 2323145"/>
              <a:gd name="connsiteX234" fmla="*/ 1202436 w 11269336"/>
              <a:gd name="connsiteY234" fmla="*/ 2209817 h 2323145"/>
              <a:gd name="connsiteX235" fmla="*/ 1136097 w 11269336"/>
              <a:gd name="connsiteY235" fmla="*/ 2205112 h 2323145"/>
              <a:gd name="connsiteX236" fmla="*/ 988232 w 11269336"/>
              <a:gd name="connsiteY236" fmla="*/ 2235635 h 2323145"/>
              <a:gd name="connsiteX237" fmla="*/ 981959 w 11269336"/>
              <a:gd name="connsiteY237" fmla="*/ 2231607 h 2323145"/>
              <a:gd name="connsiteX238" fmla="*/ 938600 w 11269336"/>
              <a:gd name="connsiteY238" fmla="*/ 2238113 h 2323145"/>
              <a:gd name="connsiteX239" fmla="*/ 791788 w 11269336"/>
              <a:gd name="connsiteY239" fmla="*/ 2293224 h 2323145"/>
              <a:gd name="connsiteX240" fmla="*/ 706914 w 11269336"/>
              <a:gd name="connsiteY240" fmla="*/ 2305046 h 2323145"/>
              <a:gd name="connsiteX241" fmla="*/ 675971 w 11269336"/>
              <a:gd name="connsiteY241" fmla="*/ 2304030 h 2323145"/>
              <a:gd name="connsiteX242" fmla="*/ 624180 w 11269336"/>
              <a:gd name="connsiteY242" fmla="*/ 2302650 h 2323145"/>
              <a:gd name="connsiteX243" fmla="*/ 583453 w 11269336"/>
              <a:gd name="connsiteY243" fmla="*/ 2288788 h 2323145"/>
              <a:gd name="connsiteX244" fmla="*/ 540946 w 11269336"/>
              <a:gd name="connsiteY244" fmla="*/ 2292721 h 2323145"/>
              <a:gd name="connsiteX245" fmla="*/ 533680 w 11269336"/>
              <a:gd name="connsiteY245" fmla="*/ 2310233 h 2323145"/>
              <a:gd name="connsiteX246" fmla="*/ 487366 w 11269336"/>
              <a:gd name="connsiteY246" fmla="*/ 2309053 h 2323145"/>
              <a:gd name="connsiteX247" fmla="*/ 416820 w 11269336"/>
              <a:gd name="connsiteY247" fmla="*/ 2305443 h 2323145"/>
              <a:gd name="connsiteX248" fmla="*/ 376805 w 11269336"/>
              <a:gd name="connsiteY248" fmla="*/ 2307647 h 2323145"/>
              <a:gd name="connsiteX249" fmla="*/ 266777 w 11269336"/>
              <a:gd name="connsiteY249" fmla="*/ 2309012 h 2323145"/>
              <a:gd name="connsiteX250" fmla="*/ 156013 w 11269336"/>
              <a:gd name="connsiteY250" fmla="*/ 2306832 h 2323145"/>
              <a:gd name="connsiteX251" fmla="*/ 87258 w 11269336"/>
              <a:gd name="connsiteY251" fmla="*/ 2285511 h 2323145"/>
              <a:gd name="connsiteX252" fmla="*/ 23798 w 11269336"/>
              <a:gd name="connsiteY252" fmla="*/ 2281822 h 2323145"/>
              <a:gd name="connsiteX253" fmla="*/ 0 w 11269336"/>
              <a:gd name="connsiteY253" fmla="*/ 2285369 h 2323145"/>
              <a:gd name="connsiteX254" fmla="*/ 0 w 11269336"/>
              <a:gd name="connsiteY254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67257 w 11269336"/>
              <a:gd name="connsiteY142" fmla="*/ 2196121 h 2323145"/>
              <a:gd name="connsiteX143" fmla="*/ 4405765 w 11269336"/>
              <a:gd name="connsiteY143" fmla="*/ 2199902 h 2323145"/>
              <a:gd name="connsiteX144" fmla="*/ 4401354 w 11269336"/>
              <a:gd name="connsiteY144" fmla="*/ 2194745 h 2323145"/>
              <a:gd name="connsiteX145" fmla="*/ 4366646 w 11269336"/>
              <a:gd name="connsiteY145" fmla="*/ 2198564 h 2323145"/>
              <a:gd name="connsiteX146" fmla="*/ 4354009 w 11269336"/>
              <a:gd name="connsiteY146" fmla="*/ 2204984 h 2323145"/>
              <a:gd name="connsiteX147" fmla="*/ 4348284 w 11269336"/>
              <a:gd name="connsiteY147" fmla="*/ 2205270 h 2323145"/>
              <a:gd name="connsiteX148" fmla="*/ 4333906 w 11269336"/>
              <a:gd name="connsiteY148" fmla="*/ 2205251 h 2323145"/>
              <a:gd name="connsiteX149" fmla="*/ 4308819 w 11269336"/>
              <a:gd name="connsiteY149" fmla="*/ 2203822 h 2323145"/>
              <a:gd name="connsiteX150" fmla="*/ 4301210 w 11269336"/>
              <a:gd name="connsiteY150" fmla="*/ 2204456 h 2323145"/>
              <a:gd name="connsiteX151" fmla="*/ 4283095 w 11269336"/>
              <a:gd name="connsiteY151" fmla="*/ 2198177 h 2323145"/>
              <a:gd name="connsiteX152" fmla="*/ 4250119 w 11269336"/>
              <a:gd name="connsiteY152" fmla="*/ 2196342 h 2323145"/>
              <a:gd name="connsiteX153" fmla="*/ 4189203 w 11269336"/>
              <a:gd name="connsiteY153" fmla="*/ 2178994 h 2323145"/>
              <a:gd name="connsiteX154" fmla="*/ 4154035 w 11269336"/>
              <a:gd name="connsiteY154" fmla="*/ 2171950 h 2323145"/>
              <a:gd name="connsiteX155" fmla="*/ 4129569 w 11269336"/>
              <a:gd name="connsiteY155" fmla="*/ 2163850 h 2323145"/>
              <a:gd name="connsiteX156" fmla="*/ 4061250 w 11269336"/>
              <a:gd name="connsiteY156" fmla="*/ 2159236 h 2323145"/>
              <a:gd name="connsiteX157" fmla="*/ 3945480 w 11269336"/>
              <a:gd name="connsiteY157" fmla="*/ 2158279 h 2323145"/>
              <a:gd name="connsiteX158" fmla="*/ 3921468 w 11269336"/>
              <a:gd name="connsiteY158" fmla="*/ 2156588 h 2323145"/>
              <a:gd name="connsiteX159" fmla="*/ 3903348 w 11269336"/>
              <a:gd name="connsiteY159" fmla="*/ 2149220 h 2323145"/>
              <a:gd name="connsiteX160" fmla="*/ 3901342 w 11269336"/>
              <a:gd name="connsiteY160" fmla="*/ 2142355 h 2323145"/>
              <a:gd name="connsiteX161" fmla="*/ 3888539 w 11269336"/>
              <a:gd name="connsiteY161" fmla="*/ 2140476 h 2323145"/>
              <a:gd name="connsiteX162" fmla="*/ 3885662 w 11269336"/>
              <a:gd name="connsiteY162" fmla="*/ 2138740 h 2323145"/>
              <a:gd name="connsiteX163" fmla="*/ 3868627 w 11269336"/>
              <a:gd name="connsiteY163" fmla="*/ 2130023 h 2323145"/>
              <a:gd name="connsiteX164" fmla="*/ 3819177 w 11269336"/>
              <a:gd name="connsiteY164" fmla="*/ 2142111 h 2323145"/>
              <a:gd name="connsiteX165" fmla="*/ 3769100 w 11269336"/>
              <a:gd name="connsiteY165" fmla="*/ 2131731 h 2323145"/>
              <a:gd name="connsiteX166" fmla="*/ 3562752 w 11269336"/>
              <a:gd name="connsiteY166" fmla="*/ 2131785 h 2323145"/>
              <a:gd name="connsiteX167" fmla="*/ 3541402 w 11269336"/>
              <a:gd name="connsiteY167" fmla="*/ 2106821 h 2323145"/>
              <a:gd name="connsiteX168" fmla="*/ 3365341 w 11269336"/>
              <a:gd name="connsiteY168" fmla="*/ 2077638 h 2323145"/>
              <a:gd name="connsiteX169" fmla="*/ 3170922 w 11269336"/>
              <a:gd name="connsiteY169" fmla="*/ 2115957 h 2323145"/>
              <a:gd name="connsiteX170" fmla="*/ 3156256 w 11269336"/>
              <a:gd name="connsiteY170" fmla="*/ 2124773 h 2323145"/>
              <a:gd name="connsiteX171" fmla="*/ 3140298 w 11269336"/>
              <a:gd name="connsiteY171" fmla="*/ 2129182 h 2323145"/>
              <a:gd name="connsiteX172" fmla="*/ 3138514 w 11269336"/>
              <a:gd name="connsiteY172" fmla="*/ 2128069 h 2323145"/>
              <a:gd name="connsiteX173" fmla="*/ 3120467 w 11269336"/>
              <a:gd name="connsiteY173" fmla="*/ 2128281 h 2323145"/>
              <a:gd name="connsiteX174" fmla="*/ 3116175 w 11269336"/>
              <a:gd name="connsiteY174" fmla="*/ 2131633 h 2323145"/>
              <a:gd name="connsiteX175" fmla="*/ 3103685 w 11269336"/>
              <a:gd name="connsiteY175" fmla="*/ 2132814 h 2323145"/>
              <a:gd name="connsiteX176" fmla="*/ 3078794 w 11269336"/>
              <a:gd name="connsiteY176" fmla="*/ 2137935 h 2323145"/>
              <a:gd name="connsiteX177" fmla="*/ 3074407 w 11269336"/>
              <a:gd name="connsiteY177" fmla="*/ 2136274 h 2323145"/>
              <a:gd name="connsiteX178" fmla="*/ 3037285 w 11269336"/>
              <a:gd name="connsiteY178" fmla="*/ 2139919 h 2323145"/>
              <a:gd name="connsiteX179" fmla="*/ 3036901 w 11269336"/>
              <a:gd name="connsiteY179" fmla="*/ 2138726 h 2323145"/>
              <a:gd name="connsiteX180" fmla="*/ 3026996 w 11269336"/>
              <a:gd name="connsiteY180" fmla="*/ 2134322 h 2323145"/>
              <a:gd name="connsiteX181" fmla="*/ 3007772 w 11269336"/>
              <a:gd name="connsiteY181" fmla="*/ 2128742 h 2323145"/>
              <a:gd name="connsiteX182" fmla="*/ 2965030 w 11269336"/>
              <a:gd name="connsiteY182" fmla="*/ 2100494 h 2323145"/>
              <a:gd name="connsiteX183" fmla="*/ 2926342 w 11269336"/>
              <a:gd name="connsiteY183" fmla="*/ 2104155 h 2323145"/>
              <a:gd name="connsiteX184" fmla="*/ 2918608 w 11269336"/>
              <a:gd name="connsiteY184" fmla="*/ 2104215 h 2323145"/>
              <a:gd name="connsiteX185" fmla="*/ 2918475 w 11269336"/>
              <a:gd name="connsiteY185" fmla="*/ 2103937 h 2323145"/>
              <a:gd name="connsiteX186" fmla="*/ 2910360 w 11269336"/>
              <a:gd name="connsiteY186" fmla="*/ 2103444 h 2323145"/>
              <a:gd name="connsiteX187" fmla="*/ 2904507 w 11269336"/>
              <a:gd name="connsiteY187" fmla="*/ 2104326 h 2323145"/>
              <a:gd name="connsiteX188" fmla="*/ 2889503 w 11269336"/>
              <a:gd name="connsiteY188" fmla="*/ 2104443 h 2323145"/>
              <a:gd name="connsiteX189" fmla="*/ 2884480 w 11269336"/>
              <a:gd name="connsiteY189" fmla="*/ 2102626 h 2323145"/>
              <a:gd name="connsiteX190" fmla="*/ 2882689 w 11269336"/>
              <a:gd name="connsiteY190" fmla="*/ 2099228 h 2323145"/>
              <a:gd name="connsiteX191" fmla="*/ 2881291 w 11269336"/>
              <a:gd name="connsiteY191" fmla="*/ 2099618 h 2323145"/>
              <a:gd name="connsiteX192" fmla="*/ 2853979 w 11269336"/>
              <a:gd name="connsiteY192" fmla="*/ 2090388 h 2323145"/>
              <a:gd name="connsiteX193" fmla="*/ 2791790 w 11269336"/>
              <a:gd name="connsiteY193" fmla="*/ 2080332 h 2323145"/>
              <a:gd name="connsiteX194" fmla="*/ 2755844 w 11269336"/>
              <a:gd name="connsiteY194" fmla="*/ 2078874 h 2323145"/>
              <a:gd name="connsiteX195" fmla="*/ 2657742 w 11269336"/>
              <a:gd name="connsiteY195" fmla="*/ 2070179 h 2323145"/>
              <a:gd name="connsiteX196" fmla="*/ 2559549 w 11269336"/>
              <a:gd name="connsiteY196" fmla="*/ 2057873 h 2323145"/>
              <a:gd name="connsiteX197" fmla="*/ 2512054 w 11269336"/>
              <a:gd name="connsiteY197" fmla="*/ 2031671 h 2323145"/>
              <a:gd name="connsiteX198" fmla="*/ 2506437 w 11269336"/>
              <a:gd name="connsiteY198" fmla="*/ 2030918 h 2323145"/>
              <a:gd name="connsiteX199" fmla="*/ 2491752 w 11269336"/>
              <a:gd name="connsiteY199" fmla="*/ 2033906 h 2323145"/>
              <a:gd name="connsiteX200" fmla="*/ 2486338 w 11269336"/>
              <a:gd name="connsiteY200" fmla="*/ 2035862 h 2323145"/>
              <a:gd name="connsiteX201" fmla="*/ 2478186 w 11269336"/>
              <a:gd name="connsiteY201" fmla="*/ 2036953 h 2323145"/>
              <a:gd name="connsiteX202" fmla="*/ 2477950 w 11269336"/>
              <a:gd name="connsiteY202" fmla="*/ 2036715 h 2323145"/>
              <a:gd name="connsiteX203" fmla="*/ 2470381 w 11269336"/>
              <a:gd name="connsiteY203" fmla="*/ 2038256 h 2323145"/>
              <a:gd name="connsiteX204" fmla="*/ 2433781 w 11269336"/>
              <a:gd name="connsiteY204" fmla="*/ 2049140 h 2323145"/>
              <a:gd name="connsiteX205" fmla="*/ 2381172 w 11269336"/>
              <a:gd name="connsiteY205" fmla="*/ 2030645 h 2323145"/>
              <a:gd name="connsiteX206" fmla="*/ 2360198 w 11269336"/>
              <a:gd name="connsiteY206" fmla="*/ 2029059 h 2323145"/>
              <a:gd name="connsiteX207" fmla="*/ 2348815 w 11269336"/>
              <a:gd name="connsiteY207" fmla="*/ 2026798 h 2323145"/>
              <a:gd name="connsiteX208" fmla="*/ 2347988 w 11269336"/>
              <a:gd name="connsiteY208" fmla="*/ 2025745 h 2323145"/>
              <a:gd name="connsiteX209" fmla="*/ 2312920 w 11269336"/>
              <a:gd name="connsiteY209" fmla="*/ 2036311 h 2323145"/>
              <a:gd name="connsiteX210" fmla="*/ 2307986 w 11269336"/>
              <a:gd name="connsiteY210" fmla="*/ 2035583 h 2323145"/>
              <a:gd name="connsiteX211" fmla="*/ 2285481 w 11269336"/>
              <a:gd name="connsiteY211" fmla="*/ 2045197 h 2323145"/>
              <a:gd name="connsiteX212" fmla="*/ 2273666 w 11269336"/>
              <a:gd name="connsiteY212" fmla="*/ 2048710 h 2323145"/>
              <a:gd name="connsiteX213" fmla="*/ 2270719 w 11269336"/>
              <a:gd name="connsiteY213" fmla="*/ 2052702 h 2323145"/>
              <a:gd name="connsiteX214" fmla="*/ 2253080 w 11269336"/>
              <a:gd name="connsiteY214" fmla="*/ 2056363 h 2323145"/>
              <a:gd name="connsiteX215" fmla="*/ 2250906 w 11269336"/>
              <a:gd name="connsiteY215" fmla="*/ 2055654 h 2323145"/>
              <a:gd name="connsiteX216" fmla="*/ 2236905 w 11269336"/>
              <a:gd name="connsiteY216" fmla="*/ 2062882 h 2323145"/>
              <a:gd name="connsiteX217" fmla="*/ 2225830 w 11269336"/>
              <a:gd name="connsiteY217" fmla="*/ 2074027 h 2323145"/>
              <a:gd name="connsiteX218" fmla="*/ 2073776 w 11269336"/>
              <a:gd name="connsiteY218" fmla="*/ 2089244 h 2323145"/>
              <a:gd name="connsiteX219" fmla="*/ 1948256 w 11269336"/>
              <a:gd name="connsiteY219" fmla="*/ 2146616 h 2323145"/>
              <a:gd name="connsiteX220" fmla="*/ 1865582 w 11269336"/>
              <a:gd name="connsiteY220" fmla="*/ 2153738 h 2323145"/>
              <a:gd name="connsiteX221" fmla="*/ 1835210 w 11269336"/>
              <a:gd name="connsiteY221" fmla="*/ 2134244 h 2323145"/>
              <a:gd name="connsiteX222" fmla="*/ 1632661 w 11269336"/>
              <a:gd name="connsiteY222" fmla="*/ 2173882 h 2323145"/>
              <a:gd name="connsiteX223" fmla="*/ 1579590 w 11269336"/>
              <a:gd name="connsiteY223" fmla="*/ 2173680 h 2323145"/>
              <a:gd name="connsiteX224" fmla="*/ 1535601 w 11269336"/>
              <a:gd name="connsiteY224" fmla="*/ 2194590 h 2323145"/>
              <a:gd name="connsiteX225" fmla="*/ 1515594 w 11269336"/>
              <a:gd name="connsiteY225" fmla="*/ 2189622 h 2323145"/>
              <a:gd name="connsiteX226" fmla="*/ 1512113 w 11269336"/>
              <a:gd name="connsiteY226" fmla="*/ 2188534 h 2323145"/>
              <a:gd name="connsiteX227" fmla="*/ 1498838 w 11269336"/>
              <a:gd name="connsiteY227" fmla="*/ 2189213 h 2323145"/>
              <a:gd name="connsiteX228" fmla="*/ 1494279 w 11269336"/>
              <a:gd name="connsiteY228" fmla="*/ 2183112 h 2323145"/>
              <a:gd name="connsiteX229" fmla="*/ 1473714 w 11269336"/>
              <a:gd name="connsiteY229" fmla="*/ 2179625 h 2323145"/>
              <a:gd name="connsiteX230" fmla="*/ 1449503 w 11269336"/>
              <a:gd name="connsiteY230" fmla="*/ 2182633 h 2323145"/>
              <a:gd name="connsiteX231" fmla="*/ 1266687 w 11269336"/>
              <a:gd name="connsiteY231" fmla="*/ 2212688 h 2323145"/>
              <a:gd name="connsiteX232" fmla="*/ 1239614 w 11269336"/>
              <a:gd name="connsiteY232" fmla="*/ 2209727 h 2323145"/>
              <a:gd name="connsiteX233" fmla="*/ 1202436 w 11269336"/>
              <a:gd name="connsiteY233" fmla="*/ 2209817 h 2323145"/>
              <a:gd name="connsiteX234" fmla="*/ 1136097 w 11269336"/>
              <a:gd name="connsiteY234" fmla="*/ 2205112 h 2323145"/>
              <a:gd name="connsiteX235" fmla="*/ 988232 w 11269336"/>
              <a:gd name="connsiteY235" fmla="*/ 2235635 h 2323145"/>
              <a:gd name="connsiteX236" fmla="*/ 981959 w 11269336"/>
              <a:gd name="connsiteY236" fmla="*/ 2231607 h 2323145"/>
              <a:gd name="connsiteX237" fmla="*/ 938600 w 11269336"/>
              <a:gd name="connsiteY237" fmla="*/ 2238113 h 2323145"/>
              <a:gd name="connsiteX238" fmla="*/ 791788 w 11269336"/>
              <a:gd name="connsiteY238" fmla="*/ 2293224 h 2323145"/>
              <a:gd name="connsiteX239" fmla="*/ 706914 w 11269336"/>
              <a:gd name="connsiteY239" fmla="*/ 2305046 h 2323145"/>
              <a:gd name="connsiteX240" fmla="*/ 675971 w 11269336"/>
              <a:gd name="connsiteY240" fmla="*/ 2304030 h 2323145"/>
              <a:gd name="connsiteX241" fmla="*/ 624180 w 11269336"/>
              <a:gd name="connsiteY241" fmla="*/ 2302650 h 2323145"/>
              <a:gd name="connsiteX242" fmla="*/ 583453 w 11269336"/>
              <a:gd name="connsiteY242" fmla="*/ 2288788 h 2323145"/>
              <a:gd name="connsiteX243" fmla="*/ 540946 w 11269336"/>
              <a:gd name="connsiteY243" fmla="*/ 2292721 h 2323145"/>
              <a:gd name="connsiteX244" fmla="*/ 533680 w 11269336"/>
              <a:gd name="connsiteY244" fmla="*/ 2310233 h 2323145"/>
              <a:gd name="connsiteX245" fmla="*/ 487366 w 11269336"/>
              <a:gd name="connsiteY245" fmla="*/ 2309053 h 2323145"/>
              <a:gd name="connsiteX246" fmla="*/ 416820 w 11269336"/>
              <a:gd name="connsiteY246" fmla="*/ 2305443 h 2323145"/>
              <a:gd name="connsiteX247" fmla="*/ 376805 w 11269336"/>
              <a:gd name="connsiteY247" fmla="*/ 2307647 h 2323145"/>
              <a:gd name="connsiteX248" fmla="*/ 266777 w 11269336"/>
              <a:gd name="connsiteY248" fmla="*/ 2309012 h 2323145"/>
              <a:gd name="connsiteX249" fmla="*/ 156013 w 11269336"/>
              <a:gd name="connsiteY249" fmla="*/ 2306832 h 2323145"/>
              <a:gd name="connsiteX250" fmla="*/ 87258 w 11269336"/>
              <a:gd name="connsiteY250" fmla="*/ 2285511 h 2323145"/>
              <a:gd name="connsiteX251" fmla="*/ 23798 w 11269336"/>
              <a:gd name="connsiteY251" fmla="*/ 2281822 h 2323145"/>
              <a:gd name="connsiteX252" fmla="*/ 0 w 11269336"/>
              <a:gd name="connsiteY252" fmla="*/ 2285369 h 2323145"/>
              <a:gd name="connsiteX253" fmla="*/ 0 w 11269336"/>
              <a:gd name="connsiteY25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467257 w 11269336"/>
              <a:gd name="connsiteY141" fmla="*/ 2196121 h 2323145"/>
              <a:gd name="connsiteX142" fmla="*/ 4405765 w 11269336"/>
              <a:gd name="connsiteY142" fmla="*/ 2199902 h 2323145"/>
              <a:gd name="connsiteX143" fmla="*/ 4401354 w 11269336"/>
              <a:gd name="connsiteY143" fmla="*/ 2194745 h 2323145"/>
              <a:gd name="connsiteX144" fmla="*/ 4366646 w 11269336"/>
              <a:gd name="connsiteY144" fmla="*/ 2198564 h 2323145"/>
              <a:gd name="connsiteX145" fmla="*/ 4354009 w 11269336"/>
              <a:gd name="connsiteY145" fmla="*/ 2204984 h 2323145"/>
              <a:gd name="connsiteX146" fmla="*/ 4348284 w 11269336"/>
              <a:gd name="connsiteY146" fmla="*/ 2205270 h 2323145"/>
              <a:gd name="connsiteX147" fmla="*/ 4333906 w 11269336"/>
              <a:gd name="connsiteY147" fmla="*/ 2205251 h 2323145"/>
              <a:gd name="connsiteX148" fmla="*/ 4308819 w 11269336"/>
              <a:gd name="connsiteY148" fmla="*/ 2203822 h 2323145"/>
              <a:gd name="connsiteX149" fmla="*/ 4301210 w 11269336"/>
              <a:gd name="connsiteY149" fmla="*/ 2204456 h 2323145"/>
              <a:gd name="connsiteX150" fmla="*/ 4283095 w 11269336"/>
              <a:gd name="connsiteY150" fmla="*/ 2198177 h 2323145"/>
              <a:gd name="connsiteX151" fmla="*/ 4250119 w 11269336"/>
              <a:gd name="connsiteY151" fmla="*/ 2196342 h 2323145"/>
              <a:gd name="connsiteX152" fmla="*/ 4189203 w 11269336"/>
              <a:gd name="connsiteY152" fmla="*/ 2178994 h 2323145"/>
              <a:gd name="connsiteX153" fmla="*/ 4154035 w 11269336"/>
              <a:gd name="connsiteY153" fmla="*/ 2171950 h 2323145"/>
              <a:gd name="connsiteX154" fmla="*/ 4129569 w 11269336"/>
              <a:gd name="connsiteY154" fmla="*/ 2163850 h 2323145"/>
              <a:gd name="connsiteX155" fmla="*/ 4061250 w 11269336"/>
              <a:gd name="connsiteY155" fmla="*/ 2159236 h 2323145"/>
              <a:gd name="connsiteX156" fmla="*/ 3945480 w 11269336"/>
              <a:gd name="connsiteY156" fmla="*/ 2158279 h 2323145"/>
              <a:gd name="connsiteX157" fmla="*/ 3921468 w 11269336"/>
              <a:gd name="connsiteY157" fmla="*/ 2156588 h 2323145"/>
              <a:gd name="connsiteX158" fmla="*/ 3903348 w 11269336"/>
              <a:gd name="connsiteY158" fmla="*/ 2149220 h 2323145"/>
              <a:gd name="connsiteX159" fmla="*/ 3901342 w 11269336"/>
              <a:gd name="connsiteY159" fmla="*/ 2142355 h 2323145"/>
              <a:gd name="connsiteX160" fmla="*/ 3888539 w 11269336"/>
              <a:gd name="connsiteY160" fmla="*/ 2140476 h 2323145"/>
              <a:gd name="connsiteX161" fmla="*/ 3885662 w 11269336"/>
              <a:gd name="connsiteY161" fmla="*/ 2138740 h 2323145"/>
              <a:gd name="connsiteX162" fmla="*/ 3868627 w 11269336"/>
              <a:gd name="connsiteY162" fmla="*/ 2130023 h 2323145"/>
              <a:gd name="connsiteX163" fmla="*/ 3819177 w 11269336"/>
              <a:gd name="connsiteY163" fmla="*/ 2142111 h 2323145"/>
              <a:gd name="connsiteX164" fmla="*/ 3769100 w 11269336"/>
              <a:gd name="connsiteY164" fmla="*/ 2131731 h 2323145"/>
              <a:gd name="connsiteX165" fmla="*/ 3562752 w 11269336"/>
              <a:gd name="connsiteY165" fmla="*/ 2131785 h 2323145"/>
              <a:gd name="connsiteX166" fmla="*/ 3541402 w 11269336"/>
              <a:gd name="connsiteY166" fmla="*/ 2106821 h 2323145"/>
              <a:gd name="connsiteX167" fmla="*/ 3365341 w 11269336"/>
              <a:gd name="connsiteY167" fmla="*/ 2077638 h 2323145"/>
              <a:gd name="connsiteX168" fmla="*/ 3170922 w 11269336"/>
              <a:gd name="connsiteY168" fmla="*/ 2115957 h 2323145"/>
              <a:gd name="connsiteX169" fmla="*/ 3156256 w 11269336"/>
              <a:gd name="connsiteY169" fmla="*/ 2124773 h 2323145"/>
              <a:gd name="connsiteX170" fmla="*/ 3140298 w 11269336"/>
              <a:gd name="connsiteY170" fmla="*/ 2129182 h 2323145"/>
              <a:gd name="connsiteX171" fmla="*/ 3138514 w 11269336"/>
              <a:gd name="connsiteY171" fmla="*/ 2128069 h 2323145"/>
              <a:gd name="connsiteX172" fmla="*/ 3120467 w 11269336"/>
              <a:gd name="connsiteY172" fmla="*/ 2128281 h 2323145"/>
              <a:gd name="connsiteX173" fmla="*/ 3116175 w 11269336"/>
              <a:gd name="connsiteY173" fmla="*/ 2131633 h 2323145"/>
              <a:gd name="connsiteX174" fmla="*/ 3103685 w 11269336"/>
              <a:gd name="connsiteY174" fmla="*/ 2132814 h 2323145"/>
              <a:gd name="connsiteX175" fmla="*/ 3078794 w 11269336"/>
              <a:gd name="connsiteY175" fmla="*/ 2137935 h 2323145"/>
              <a:gd name="connsiteX176" fmla="*/ 3074407 w 11269336"/>
              <a:gd name="connsiteY176" fmla="*/ 2136274 h 2323145"/>
              <a:gd name="connsiteX177" fmla="*/ 3037285 w 11269336"/>
              <a:gd name="connsiteY177" fmla="*/ 2139919 h 2323145"/>
              <a:gd name="connsiteX178" fmla="*/ 3036901 w 11269336"/>
              <a:gd name="connsiteY178" fmla="*/ 2138726 h 2323145"/>
              <a:gd name="connsiteX179" fmla="*/ 3026996 w 11269336"/>
              <a:gd name="connsiteY179" fmla="*/ 2134322 h 2323145"/>
              <a:gd name="connsiteX180" fmla="*/ 3007772 w 11269336"/>
              <a:gd name="connsiteY180" fmla="*/ 2128742 h 2323145"/>
              <a:gd name="connsiteX181" fmla="*/ 2965030 w 11269336"/>
              <a:gd name="connsiteY181" fmla="*/ 2100494 h 2323145"/>
              <a:gd name="connsiteX182" fmla="*/ 2926342 w 11269336"/>
              <a:gd name="connsiteY182" fmla="*/ 2104155 h 2323145"/>
              <a:gd name="connsiteX183" fmla="*/ 2918608 w 11269336"/>
              <a:gd name="connsiteY183" fmla="*/ 2104215 h 2323145"/>
              <a:gd name="connsiteX184" fmla="*/ 2918475 w 11269336"/>
              <a:gd name="connsiteY184" fmla="*/ 2103937 h 2323145"/>
              <a:gd name="connsiteX185" fmla="*/ 2910360 w 11269336"/>
              <a:gd name="connsiteY185" fmla="*/ 2103444 h 2323145"/>
              <a:gd name="connsiteX186" fmla="*/ 2904507 w 11269336"/>
              <a:gd name="connsiteY186" fmla="*/ 2104326 h 2323145"/>
              <a:gd name="connsiteX187" fmla="*/ 2889503 w 11269336"/>
              <a:gd name="connsiteY187" fmla="*/ 2104443 h 2323145"/>
              <a:gd name="connsiteX188" fmla="*/ 2884480 w 11269336"/>
              <a:gd name="connsiteY188" fmla="*/ 2102626 h 2323145"/>
              <a:gd name="connsiteX189" fmla="*/ 2882689 w 11269336"/>
              <a:gd name="connsiteY189" fmla="*/ 2099228 h 2323145"/>
              <a:gd name="connsiteX190" fmla="*/ 2881291 w 11269336"/>
              <a:gd name="connsiteY190" fmla="*/ 2099618 h 2323145"/>
              <a:gd name="connsiteX191" fmla="*/ 2853979 w 11269336"/>
              <a:gd name="connsiteY191" fmla="*/ 2090388 h 2323145"/>
              <a:gd name="connsiteX192" fmla="*/ 2791790 w 11269336"/>
              <a:gd name="connsiteY192" fmla="*/ 2080332 h 2323145"/>
              <a:gd name="connsiteX193" fmla="*/ 2755844 w 11269336"/>
              <a:gd name="connsiteY193" fmla="*/ 2078874 h 2323145"/>
              <a:gd name="connsiteX194" fmla="*/ 2657742 w 11269336"/>
              <a:gd name="connsiteY194" fmla="*/ 2070179 h 2323145"/>
              <a:gd name="connsiteX195" fmla="*/ 2559549 w 11269336"/>
              <a:gd name="connsiteY195" fmla="*/ 2057873 h 2323145"/>
              <a:gd name="connsiteX196" fmla="*/ 2512054 w 11269336"/>
              <a:gd name="connsiteY196" fmla="*/ 2031671 h 2323145"/>
              <a:gd name="connsiteX197" fmla="*/ 2506437 w 11269336"/>
              <a:gd name="connsiteY197" fmla="*/ 2030918 h 2323145"/>
              <a:gd name="connsiteX198" fmla="*/ 2491752 w 11269336"/>
              <a:gd name="connsiteY198" fmla="*/ 2033906 h 2323145"/>
              <a:gd name="connsiteX199" fmla="*/ 2486338 w 11269336"/>
              <a:gd name="connsiteY199" fmla="*/ 2035862 h 2323145"/>
              <a:gd name="connsiteX200" fmla="*/ 2478186 w 11269336"/>
              <a:gd name="connsiteY200" fmla="*/ 2036953 h 2323145"/>
              <a:gd name="connsiteX201" fmla="*/ 2477950 w 11269336"/>
              <a:gd name="connsiteY201" fmla="*/ 2036715 h 2323145"/>
              <a:gd name="connsiteX202" fmla="*/ 2470381 w 11269336"/>
              <a:gd name="connsiteY202" fmla="*/ 2038256 h 2323145"/>
              <a:gd name="connsiteX203" fmla="*/ 2433781 w 11269336"/>
              <a:gd name="connsiteY203" fmla="*/ 2049140 h 2323145"/>
              <a:gd name="connsiteX204" fmla="*/ 2381172 w 11269336"/>
              <a:gd name="connsiteY204" fmla="*/ 2030645 h 2323145"/>
              <a:gd name="connsiteX205" fmla="*/ 2360198 w 11269336"/>
              <a:gd name="connsiteY205" fmla="*/ 2029059 h 2323145"/>
              <a:gd name="connsiteX206" fmla="*/ 2348815 w 11269336"/>
              <a:gd name="connsiteY206" fmla="*/ 2026798 h 2323145"/>
              <a:gd name="connsiteX207" fmla="*/ 2347988 w 11269336"/>
              <a:gd name="connsiteY207" fmla="*/ 2025745 h 2323145"/>
              <a:gd name="connsiteX208" fmla="*/ 2312920 w 11269336"/>
              <a:gd name="connsiteY208" fmla="*/ 2036311 h 2323145"/>
              <a:gd name="connsiteX209" fmla="*/ 2307986 w 11269336"/>
              <a:gd name="connsiteY209" fmla="*/ 2035583 h 2323145"/>
              <a:gd name="connsiteX210" fmla="*/ 2285481 w 11269336"/>
              <a:gd name="connsiteY210" fmla="*/ 2045197 h 2323145"/>
              <a:gd name="connsiteX211" fmla="*/ 2273666 w 11269336"/>
              <a:gd name="connsiteY211" fmla="*/ 2048710 h 2323145"/>
              <a:gd name="connsiteX212" fmla="*/ 2270719 w 11269336"/>
              <a:gd name="connsiteY212" fmla="*/ 2052702 h 2323145"/>
              <a:gd name="connsiteX213" fmla="*/ 2253080 w 11269336"/>
              <a:gd name="connsiteY213" fmla="*/ 2056363 h 2323145"/>
              <a:gd name="connsiteX214" fmla="*/ 2250906 w 11269336"/>
              <a:gd name="connsiteY214" fmla="*/ 2055654 h 2323145"/>
              <a:gd name="connsiteX215" fmla="*/ 2236905 w 11269336"/>
              <a:gd name="connsiteY215" fmla="*/ 2062882 h 2323145"/>
              <a:gd name="connsiteX216" fmla="*/ 2225830 w 11269336"/>
              <a:gd name="connsiteY216" fmla="*/ 2074027 h 2323145"/>
              <a:gd name="connsiteX217" fmla="*/ 2073776 w 11269336"/>
              <a:gd name="connsiteY217" fmla="*/ 2089244 h 2323145"/>
              <a:gd name="connsiteX218" fmla="*/ 1948256 w 11269336"/>
              <a:gd name="connsiteY218" fmla="*/ 2146616 h 2323145"/>
              <a:gd name="connsiteX219" fmla="*/ 1865582 w 11269336"/>
              <a:gd name="connsiteY219" fmla="*/ 2153738 h 2323145"/>
              <a:gd name="connsiteX220" fmla="*/ 1835210 w 11269336"/>
              <a:gd name="connsiteY220" fmla="*/ 2134244 h 2323145"/>
              <a:gd name="connsiteX221" fmla="*/ 1632661 w 11269336"/>
              <a:gd name="connsiteY221" fmla="*/ 2173882 h 2323145"/>
              <a:gd name="connsiteX222" fmla="*/ 1579590 w 11269336"/>
              <a:gd name="connsiteY222" fmla="*/ 2173680 h 2323145"/>
              <a:gd name="connsiteX223" fmla="*/ 1535601 w 11269336"/>
              <a:gd name="connsiteY223" fmla="*/ 2194590 h 2323145"/>
              <a:gd name="connsiteX224" fmla="*/ 1515594 w 11269336"/>
              <a:gd name="connsiteY224" fmla="*/ 2189622 h 2323145"/>
              <a:gd name="connsiteX225" fmla="*/ 1512113 w 11269336"/>
              <a:gd name="connsiteY225" fmla="*/ 2188534 h 2323145"/>
              <a:gd name="connsiteX226" fmla="*/ 1498838 w 11269336"/>
              <a:gd name="connsiteY226" fmla="*/ 2189213 h 2323145"/>
              <a:gd name="connsiteX227" fmla="*/ 1494279 w 11269336"/>
              <a:gd name="connsiteY227" fmla="*/ 2183112 h 2323145"/>
              <a:gd name="connsiteX228" fmla="*/ 1473714 w 11269336"/>
              <a:gd name="connsiteY228" fmla="*/ 2179625 h 2323145"/>
              <a:gd name="connsiteX229" fmla="*/ 1449503 w 11269336"/>
              <a:gd name="connsiteY229" fmla="*/ 2182633 h 2323145"/>
              <a:gd name="connsiteX230" fmla="*/ 1266687 w 11269336"/>
              <a:gd name="connsiteY230" fmla="*/ 2212688 h 2323145"/>
              <a:gd name="connsiteX231" fmla="*/ 1239614 w 11269336"/>
              <a:gd name="connsiteY231" fmla="*/ 2209727 h 2323145"/>
              <a:gd name="connsiteX232" fmla="*/ 1202436 w 11269336"/>
              <a:gd name="connsiteY232" fmla="*/ 2209817 h 2323145"/>
              <a:gd name="connsiteX233" fmla="*/ 1136097 w 11269336"/>
              <a:gd name="connsiteY233" fmla="*/ 2205112 h 2323145"/>
              <a:gd name="connsiteX234" fmla="*/ 988232 w 11269336"/>
              <a:gd name="connsiteY234" fmla="*/ 2235635 h 2323145"/>
              <a:gd name="connsiteX235" fmla="*/ 981959 w 11269336"/>
              <a:gd name="connsiteY235" fmla="*/ 2231607 h 2323145"/>
              <a:gd name="connsiteX236" fmla="*/ 938600 w 11269336"/>
              <a:gd name="connsiteY236" fmla="*/ 2238113 h 2323145"/>
              <a:gd name="connsiteX237" fmla="*/ 791788 w 11269336"/>
              <a:gd name="connsiteY237" fmla="*/ 2293224 h 2323145"/>
              <a:gd name="connsiteX238" fmla="*/ 706914 w 11269336"/>
              <a:gd name="connsiteY238" fmla="*/ 2305046 h 2323145"/>
              <a:gd name="connsiteX239" fmla="*/ 675971 w 11269336"/>
              <a:gd name="connsiteY239" fmla="*/ 2304030 h 2323145"/>
              <a:gd name="connsiteX240" fmla="*/ 624180 w 11269336"/>
              <a:gd name="connsiteY240" fmla="*/ 2302650 h 2323145"/>
              <a:gd name="connsiteX241" fmla="*/ 583453 w 11269336"/>
              <a:gd name="connsiteY241" fmla="*/ 2288788 h 2323145"/>
              <a:gd name="connsiteX242" fmla="*/ 540946 w 11269336"/>
              <a:gd name="connsiteY242" fmla="*/ 2292721 h 2323145"/>
              <a:gd name="connsiteX243" fmla="*/ 533680 w 11269336"/>
              <a:gd name="connsiteY243" fmla="*/ 2310233 h 2323145"/>
              <a:gd name="connsiteX244" fmla="*/ 487366 w 11269336"/>
              <a:gd name="connsiteY244" fmla="*/ 2309053 h 2323145"/>
              <a:gd name="connsiteX245" fmla="*/ 416820 w 11269336"/>
              <a:gd name="connsiteY245" fmla="*/ 2305443 h 2323145"/>
              <a:gd name="connsiteX246" fmla="*/ 376805 w 11269336"/>
              <a:gd name="connsiteY246" fmla="*/ 2307647 h 2323145"/>
              <a:gd name="connsiteX247" fmla="*/ 266777 w 11269336"/>
              <a:gd name="connsiteY247" fmla="*/ 2309012 h 2323145"/>
              <a:gd name="connsiteX248" fmla="*/ 156013 w 11269336"/>
              <a:gd name="connsiteY248" fmla="*/ 2306832 h 2323145"/>
              <a:gd name="connsiteX249" fmla="*/ 87258 w 11269336"/>
              <a:gd name="connsiteY249" fmla="*/ 2285511 h 2323145"/>
              <a:gd name="connsiteX250" fmla="*/ 23798 w 11269336"/>
              <a:gd name="connsiteY250" fmla="*/ 2281822 h 2323145"/>
              <a:gd name="connsiteX251" fmla="*/ 0 w 11269336"/>
              <a:gd name="connsiteY251" fmla="*/ 2285369 h 2323145"/>
              <a:gd name="connsiteX252" fmla="*/ 0 w 11269336"/>
              <a:gd name="connsiteY25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405765 w 11269336"/>
              <a:gd name="connsiteY141" fmla="*/ 2199902 h 2323145"/>
              <a:gd name="connsiteX142" fmla="*/ 4401354 w 11269336"/>
              <a:gd name="connsiteY142" fmla="*/ 2194745 h 2323145"/>
              <a:gd name="connsiteX143" fmla="*/ 4366646 w 11269336"/>
              <a:gd name="connsiteY143" fmla="*/ 2198564 h 2323145"/>
              <a:gd name="connsiteX144" fmla="*/ 4354009 w 11269336"/>
              <a:gd name="connsiteY144" fmla="*/ 2204984 h 2323145"/>
              <a:gd name="connsiteX145" fmla="*/ 4348284 w 11269336"/>
              <a:gd name="connsiteY145" fmla="*/ 2205270 h 2323145"/>
              <a:gd name="connsiteX146" fmla="*/ 4333906 w 11269336"/>
              <a:gd name="connsiteY146" fmla="*/ 2205251 h 2323145"/>
              <a:gd name="connsiteX147" fmla="*/ 4308819 w 11269336"/>
              <a:gd name="connsiteY147" fmla="*/ 2203822 h 2323145"/>
              <a:gd name="connsiteX148" fmla="*/ 4301210 w 11269336"/>
              <a:gd name="connsiteY148" fmla="*/ 2204456 h 2323145"/>
              <a:gd name="connsiteX149" fmla="*/ 4283095 w 11269336"/>
              <a:gd name="connsiteY149" fmla="*/ 2198177 h 2323145"/>
              <a:gd name="connsiteX150" fmla="*/ 4250119 w 11269336"/>
              <a:gd name="connsiteY150" fmla="*/ 2196342 h 2323145"/>
              <a:gd name="connsiteX151" fmla="*/ 4189203 w 11269336"/>
              <a:gd name="connsiteY151" fmla="*/ 2178994 h 2323145"/>
              <a:gd name="connsiteX152" fmla="*/ 4154035 w 11269336"/>
              <a:gd name="connsiteY152" fmla="*/ 2171950 h 2323145"/>
              <a:gd name="connsiteX153" fmla="*/ 4129569 w 11269336"/>
              <a:gd name="connsiteY153" fmla="*/ 2163850 h 2323145"/>
              <a:gd name="connsiteX154" fmla="*/ 4061250 w 11269336"/>
              <a:gd name="connsiteY154" fmla="*/ 2159236 h 2323145"/>
              <a:gd name="connsiteX155" fmla="*/ 3945480 w 11269336"/>
              <a:gd name="connsiteY155" fmla="*/ 2158279 h 2323145"/>
              <a:gd name="connsiteX156" fmla="*/ 3921468 w 11269336"/>
              <a:gd name="connsiteY156" fmla="*/ 2156588 h 2323145"/>
              <a:gd name="connsiteX157" fmla="*/ 3903348 w 11269336"/>
              <a:gd name="connsiteY157" fmla="*/ 2149220 h 2323145"/>
              <a:gd name="connsiteX158" fmla="*/ 3901342 w 11269336"/>
              <a:gd name="connsiteY158" fmla="*/ 2142355 h 2323145"/>
              <a:gd name="connsiteX159" fmla="*/ 3888539 w 11269336"/>
              <a:gd name="connsiteY159" fmla="*/ 2140476 h 2323145"/>
              <a:gd name="connsiteX160" fmla="*/ 3885662 w 11269336"/>
              <a:gd name="connsiteY160" fmla="*/ 2138740 h 2323145"/>
              <a:gd name="connsiteX161" fmla="*/ 3868627 w 11269336"/>
              <a:gd name="connsiteY161" fmla="*/ 2130023 h 2323145"/>
              <a:gd name="connsiteX162" fmla="*/ 3819177 w 11269336"/>
              <a:gd name="connsiteY162" fmla="*/ 2142111 h 2323145"/>
              <a:gd name="connsiteX163" fmla="*/ 3769100 w 11269336"/>
              <a:gd name="connsiteY163" fmla="*/ 2131731 h 2323145"/>
              <a:gd name="connsiteX164" fmla="*/ 3562752 w 11269336"/>
              <a:gd name="connsiteY164" fmla="*/ 2131785 h 2323145"/>
              <a:gd name="connsiteX165" fmla="*/ 3541402 w 11269336"/>
              <a:gd name="connsiteY165" fmla="*/ 2106821 h 2323145"/>
              <a:gd name="connsiteX166" fmla="*/ 3365341 w 11269336"/>
              <a:gd name="connsiteY166" fmla="*/ 2077638 h 2323145"/>
              <a:gd name="connsiteX167" fmla="*/ 3170922 w 11269336"/>
              <a:gd name="connsiteY167" fmla="*/ 2115957 h 2323145"/>
              <a:gd name="connsiteX168" fmla="*/ 3156256 w 11269336"/>
              <a:gd name="connsiteY168" fmla="*/ 2124773 h 2323145"/>
              <a:gd name="connsiteX169" fmla="*/ 3140298 w 11269336"/>
              <a:gd name="connsiteY169" fmla="*/ 2129182 h 2323145"/>
              <a:gd name="connsiteX170" fmla="*/ 3138514 w 11269336"/>
              <a:gd name="connsiteY170" fmla="*/ 2128069 h 2323145"/>
              <a:gd name="connsiteX171" fmla="*/ 3120467 w 11269336"/>
              <a:gd name="connsiteY171" fmla="*/ 2128281 h 2323145"/>
              <a:gd name="connsiteX172" fmla="*/ 3116175 w 11269336"/>
              <a:gd name="connsiteY172" fmla="*/ 2131633 h 2323145"/>
              <a:gd name="connsiteX173" fmla="*/ 3103685 w 11269336"/>
              <a:gd name="connsiteY173" fmla="*/ 2132814 h 2323145"/>
              <a:gd name="connsiteX174" fmla="*/ 3078794 w 11269336"/>
              <a:gd name="connsiteY174" fmla="*/ 2137935 h 2323145"/>
              <a:gd name="connsiteX175" fmla="*/ 3074407 w 11269336"/>
              <a:gd name="connsiteY175" fmla="*/ 2136274 h 2323145"/>
              <a:gd name="connsiteX176" fmla="*/ 3037285 w 11269336"/>
              <a:gd name="connsiteY176" fmla="*/ 2139919 h 2323145"/>
              <a:gd name="connsiteX177" fmla="*/ 3036901 w 11269336"/>
              <a:gd name="connsiteY177" fmla="*/ 2138726 h 2323145"/>
              <a:gd name="connsiteX178" fmla="*/ 3026996 w 11269336"/>
              <a:gd name="connsiteY178" fmla="*/ 2134322 h 2323145"/>
              <a:gd name="connsiteX179" fmla="*/ 3007772 w 11269336"/>
              <a:gd name="connsiteY179" fmla="*/ 2128742 h 2323145"/>
              <a:gd name="connsiteX180" fmla="*/ 2965030 w 11269336"/>
              <a:gd name="connsiteY180" fmla="*/ 2100494 h 2323145"/>
              <a:gd name="connsiteX181" fmla="*/ 2926342 w 11269336"/>
              <a:gd name="connsiteY181" fmla="*/ 2104155 h 2323145"/>
              <a:gd name="connsiteX182" fmla="*/ 2918608 w 11269336"/>
              <a:gd name="connsiteY182" fmla="*/ 2104215 h 2323145"/>
              <a:gd name="connsiteX183" fmla="*/ 2918475 w 11269336"/>
              <a:gd name="connsiteY183" fmla="*/ 2103937 h 2323145"/>
              <a:gd name="connsiteX184" fmla="*/ 2910360 w 11269336"/>
              <a:gd name="connsiteY184" fmla="*/ 2103444 h 2323145"/>
              <a:gd name="connsiteX185" fmla="*/ 2904507 w 11269336"/>
              <a:gd name="connsiteY185" fmla="*/ 2104326 h 2323145"/>
              <a:gd name="connsiteX186" fmla="*/ 2889503 w 11269336"/>
              <a:gd name="connsiteY186" fmla="*/ 2104443 h 2323145"/>
              <a:gd name="connsiteX187" fmla="*/ 2884480 w 11269336"/>
              <a:gd name="connsiteY187" fmla="*/ 2102626 h 2323145"/>
              <a:gd name="connsiteX188" fmla="*/ 2882689 w 11269336"/>
              <a:gd name="connsiteY188" fmla="*/ 2099228 h 2323145"/>
              <a:gd name="connsiteX189" fmla="*/ 2881291 w 11269336"/>
              <a:gd name="connsiteY189" fmla="*/ 2099618 h 2323145"/>
              <a:gd name="connsiteX190" fmla="*/ 2853979 w 11269336"/>
              <a:gd name="connsiteY190" fmla="*/ 2090388 h 2323145"/>
              <a:gd name="connsiteX191" fmla="*/ 2791790 w 11269336"/>
              <a:gd name="connsiteY191" fmla="*/ 2080332 h 2323145"/>
              <a:gd name="connsiteX192" fmla="*/ 2755844 w 11269336"/>
              <a:gd name="connsiteY192" fmla="*/ 2078874 h 2323145"/>
              <a:gd name="connsiteX193" fmla="*/ 2657742 w 11269336"/>
              <a:gd name="connsiteY193" fmla="*/ 2070179 h 2323145"/>
              <a:gd name="connsiteX194" fmla="*/ 2559549 w 11269336"/>
              <a:gd name="connsiteY194" fmla="*/ 2057873 h 2323145"/>
              <a:gd name="connsiteX195" fmla="*/ 2512054 w 11269336"/>
              <a:gd name="connsiteY195" fmla="*/ 2031671 h 2323145"/>
              <a:gd name="connsiteX196" fmla="*/ 2506437 w 11269336"/>
              <a:gd name="connsiteY196" fmla="*/ 2030918 h 2323145"/>
              <a:gd name="connsiteX197" fmla="*/ 2491752 w 11269336"/>
              <a:gd name="connsiteY197" fmla="*/ 2033906 h 2323145"/>
              <a:gd name="connsiteX198" fmla="*/ 2486338 w 11269336"/>
              <a:gd name="connsiteY198" fmla="*/ 2035862 h 2323145"/>
              <a:gd name="connsiteX199" fmla="*/ 2478186 w 11269336"/>
              <a:gd name="connsiteY199" fmla="*/ 2036953 h 2323145"/>
              <a:gd name="connsiteX200" fmla="*/ 2477950 w 11269336"/>
              <a:gd name="connsiteY200" fmla="*/ 2036715 h 2323145"/>
              <a:gd name="connsiteX201" fmla="*/ 2470381 w 11269336"/>
              <a:gd name="connsiteY201" fmla="*/ 2038256 h 2323145"/>
              <a:gd name="connsiteX202" fmla="*/ 2433781 w 11269336"/>
              <a:gd name="connsiteY202" fmla="*/ 2049140 h 2323145"/>
              <a:gd name="connsiteX203" fmla="*/ 2381172 w 11269336"/>
              <a:gd name="connsiteY203" fmla="*/ 2030645 h 2323145"/>
              <a:gd name="connsiteX204" fmla="*/ 2360198 w 11269336"/>
              <a:gd name="connsiteY204" fmla="*/ 2029059 h 2323145"/>
              <a:gd name="connsiteX205" fmla="*/ 2348815 w 11269336"/>
              <a:gd name="connsiteY205" fmla="*/ 2026798 h 2323145"/>
              <a:gd name="connsiteX206" fmla="*/ 2347988 w 11269336"/>
              <a:gd name="connsiteY206" fmla="*/ 2025745 h 2323145"/>
              <a:gd name="connsiteX207" fmla="*/ 2312920 w 11269336"/>
              <a:gd name="connsiteY207" fmla="*/ 2036311 h 2323145"/>
              <a:gd name="connsiteX208" fmla="*/ 2307986 w 11269336"/>
              <a:gd name="connsiteY208" fmla="*/ 2035583 h 2323145"/>
              <a:gd name="connsiteX209" fmla="*/ 2285481 w 11269336"/>
              <a:gd name="connsiteY209" fmla="*/ 2045197 h 2323145"/>
              <a:gd name="connsiteX210" fmla="*/ 2273666 w 11269336"/>
              <a:gd name="connsiteY210" fmla="*/ 2048710 h 2323145"/>
              <a:gd name="connsiteX211" fmla="*/ 2270719 w 11269336"/>
              <a:gd name="connsiteY211" fmla="*/ 2052702 h 2323145"/>
              <a:gd name="connsiteX212" fmla="*/ 2253080 w 11269336"/>
              <a:gd name="connsiteY212" fmla="*/ 2056363 h 2323145"/>
              <a:gd name="connsiteX213" fmla="*/ 2250906 w 11269336"/>
              <a:gd name="connsiteY213" fmla="*/ 2055654 h 2323145"/>
              <a:gd name="connsiteX214" fmla="*/ 2236905 w 11269336"/>
              <a:gd name="connsiteY214" fmla="*/ 2062882 h 2323145"/>
              <a:gd name="connsiteX215" fmla="*/ 2225830 w 11269336"/>
              <a:gd name="connsiteY215" fmla="*/ 2074027 h 2323145"/>
              <a:gd name="connsiteX216" fmla="*/ 2073776 w 11269336"/>
              <a:gd name="connsiteY216" fmla="*/ 2089244 h 2323145"/>
              <a:gd name="connsiteX217" fmla="*/ 1948256 w 11269336"/>
              <a:gd name="connsiteY217" fmla="*/ 2146616 h 2323145"/>
              <a:gd name="connsiteX218" fmla="*/ 1865582 w 11269336"/>
              <a:gd name="connsiteY218" fmla="*/ 2153738 h 2323145"/>
              <a:gd name="connsiteX219" fmla="*/ 1835210 w 11269336"/>
              <a:gd name="connsiteY219" fmla="*/ 2134244 h 2323145"/>
              <a:gd name="connsiteX220" fmla="*/ 1632661 w 11269336"/>
              <a:gd name="connsiteY220" fmla="*/ 2173882 h 2323145"/>
              <a:gd name="connsiteX221" fmla="*/ 1579590 w 11269336"/>
              <a:gd name="connsiteY221" fmla="*/ 2173680 h 2323145"/>
              <a:gd name="connsiteX222" fmla="*/ 1535601 w 11269336"/>
              <a:gd name="connsiteY222" fmla="*/ 2194590 h 2323145"/>
              <a:gd name="connsiteX223" fmla="*/ 1515594 w 11269336"/>
              <a:gd name="connsiteY223" fmla="*/ 2189622 h 2323145"/>
              <a:gd name="connsiteX224" fmla="*/ 1512113 w 11269336"/>
              <a:gd name="connsiteY224" fmla="*/ 2188534 h 2323145"/>
              <a:gd name="connsiteX225" fmla="*/ 1498838 w 11269336"/>
              <a:gd name="connsiteY225" fmla="*/ 2189213 h 2323145"/>
              <a:gd name="connsiteX226" fmla="*/ 1494279 w 11269336"/>
              <a:gd name="connsiteY226" fmla="*/ 2183112 h 2323145"/>
              <a:gd name="connsiteX227" fmla="*/ 1473714 w 11269336"/>
              <a:gd name="connsiteY227" fmla="*/ 2179625 h 2323145"/>
              <a:gd name="connsiteX228" fmla="*/ 1449503 w 11269336"/>
              <a:gd name="connsiteY228" fmla="*/ 2182633 h 2323145"/>
              <a:gd name="connsiteX229" fmla="*/ 1266687 w 11269336"/>
              <a:gd name="connsiteY229" fmla="*/ 2212688 h 2323145"/>
              <a:gd name="connsiteX230" fmla="*/ 1239614 w 11269336"/>
              <a:gd name="connsiteY230" fmla="*/ 2209727 h 2323145"/>
              <a:gd name="connsiteX231" fmla="*/ 1202436 w 11269336"/>
              <a:gd name="connsiteY231" fmla="*/ 2209817 h 2323145"/>
              <a:gd name="connsiteX232" fmla="*/ 1136097 w 11269336"/>
              <a:gd name="connsiteY232" fmla="*/ 2205112 h 2323145"/>
              <a:gd name="connsiteX233" fmla="*/ 988232 w 11269336"/>
              <a:gd name="connsiteY233" fmla="*/ 2235635 h 2323145"/>
              <a:gd name="connsiteX234" fmla="*/ 981959 w 11269336"/>
              <a:gd name="connsiteY234" fmla="*/ 2231607 h 2323145"/>
              <a:gd name="connsiteX235" fmla="*/ 938600 w 11269336"/>
              <a:gd name="connsiteY235" fmla="*/ 2238113 h 2323145"/>
              <a:gd name="connsiteX236" fmla="*/ 791788 w 11269336"/>
              <a:gd name="connsiteY236" fmla="*/ 2293224 h 2323145"/>
              <a:gd name="connsiteX237" fmla="*/ 706914 w 11269336"/>
              <a:gd name="connsiteY237" fmla="*/ 2305046 h 2323145"/>
              <a:gd name="connsiteX238" fmla="*/ 675971 w 11269336"/>
              <a:gd name="connsiteY238" fmla="*/ 2304030 h 2323145"/>
              <a:gd name="connsiteX239" fmla="*/ 624180 w 11269336"/>
              <a:gd name="connsiteY239" fmla="*/ 2302650 h 2323145"/>
              <a:gd name="connsiteX240" fmla="*/ 583453 w 11269336"/>
              <a:gd name="connsiteY240" fmla="*/ 2288788 h 2323145"/>
              <a:gd name="connsiteX241" fmla="*/ 540946 w 11269336"/>
              <a:gd name="connsiteY241" fmla="*/ 2292721 h 2323145"/>
              <a:gd name="connsiteX242" fmla="*/ 533680 w 11269336"/>
              <a:gd name="connsiteY242" fmla="*/ 2310233 h 2323145"/>
              <a:gd name="connsiteX243" fmla="*/ 487366 w 11269336"/>
              <a:gd name="connsiteY243" fmla="*/ 2309053 h 2323145"/>
              <a:gd name="connsiteX244" fmla="*/ 416820 w 11269336"/>
              <a:gd name="connsiteY244" fmla="*/ 2305443 h 2323145"/>
              <a:gd name="connsiteX245" fmla="*/ 376805 w 11269336"/>
              <a:gd name="connsiteY245" fmla="*/ 2307647 h 2323145"/>
              <a:gd name="connsiteX246" fmla="*/ 266777 w 11269336"/>
              <a:gd name="connsiteY246" fmla="*/ 2309012 h 2323145"/>
              <a:gd name="connsiteX247" fmla="*/ 156013 w 11269336"/>
              <a:gd name="connsiteY247" fmla="*/ 2306832 h 2323145"/>
              <a:gd name="connsiteX248" fmla="*/ 87258 w 11269336"/>
              <a:gd name="connsiteY248" fmla="*/ 2285511 h 2323145"/>
              <a:gd name="connsiteX249" fmla="*/ 23798 w 11269336"/>
              <a:gd name="connsiteY249" fmla="*/ 2281822 h 2323145"/>
              <a:gd name="connsiteX250" fmla="*/ 0 w 11269336"/>
              <a:gd name="connsiteY250" fmla="*/ 2285369 h 2323145"/>
              <a:gd name="connsiteX251" fmla="*/ 0 w 11269336"/>
              <a:gd name="connsiteY251" fmla="*/ 0 h 2323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</a:cxnLst>
            <a:rect l="l" t="t" r="r" b="b"/>
            <a:pathLst>
              <a:path w="11269336" h="2323145">
                <a:moveTo>
                  <a:pt x="0" y="0"/>
                </a:moveTo>
                <a:lnTo>
                  <a:pt x="11269336" y="0"/>
                </a:lnTo>
                <a:lnTo>
                  <a:pt x="11268645" y="511"/>
                </a:lnTo>
                <a:cubicBezTo>
                  <a:pt x="11257520" y="14091"/>
                  <a:pt x="11248967" y="32073"/>
                  <a:pt x="11230739" y="37096"/>
                </a:cubicBezTo>
                <a:cubicBezTo>
                  <a:pt x="11194283" y="47141"/>
                  <a:pt x="11124351" y="55013"/>
                  <a:pt x="11082485" y="78590"/>
                </a:cubicBezTo>
                <a:cubicBezTo>
                  <a:pt x="11064655" y="69818"/>
                  <a:pt x="11049588" y="97621"/>
                  <a:pt x="11031776" y="79197"/>
                </a:cubicBezTo>
                <a:cubicBezTo>
                  <a:pt x="11016683" y="85023"/>
                  <a:pt x="11009945" y="92832"/>
                  <a:pt x="10995894" y="83459"/>
                </a:cubicBezTo>
                <a:cubicBezTo>
                  <a:pt x="10971843" y="134740"/>
                  <a:pt x="10888992" y="106042"/>
                  <a:pt x="10861177" y="147419"/>
                </a:cubicBezTo>
                <a:cubicBezTo>
                  <a:pt x="10850370" y="129415"/>
                  <a:pt x="10807086" y="138624"/>
                  <a:pt x="10782732" y="135645"/>
                </a:cubicBezTo>
                <a:cubicBezTo>
                  <a:pt x="10869014" y="196205"/>
                  <a:pt x="10693356" y="147304"/>
                  <a:pt x="10660773" y="179312"/>
                </a:cubicBezTo>
                <a:cubicBezTo>
                  <a:pt x="10667385" y="121467"/>
                  <a:pt x="10595265" y="182241"/>
                  <a:pt x="10564442" y="160738"/>
                </a:cubicBezTo>
                <a:cubicBezTo>
                  <a:pt x="10544419" y="190949"/>
                  <a:pt x="10518436" y="167191"/>
                  <a:pt x="10490200" y="183533"/>
                </a:cubicBezTo>
                <a:cubicBezTo>
                  <a:pt x="10423905" y="202688"/>
                  <a:pt x="10362764" y="244779"/>
                  <a:pt x="10271351" y="243104"/>
                </a:cubicBezTo>
                <a:cubicBezTo>
                  <a:pt x="10247818" y="329775"/>
                  <a:pt x="10135674" y="303068"/>
                  <a:pt x="10061033" y="364937"/>
                </a:cubicBezTo>
                <a:cubicBezTo>
                  <a:pt x="10014289" y="383940"/>
                  <a:pt x="9930032" y="360289"/>
                  <a:pt x="9921770" y="406154"/>
                </a:cubicBezTo>
                <a:cubicBezTo>
                  <a:pt x="9894276" y="384665"/>
                  <a:pt x="9881945" y="430851"/>
                  <a:pt x="9858388" y="439489"/>
                </a:cubicBezTo>
                <a:cubicBezTo>
                  <a:pt x="9835642" y="426888"/>
                  <a:pt x="9828901" y="443125"/>
                  <a:pt x="9811914" y="449865"/>
                </a:cubicBezTo>
                <a:cubicBezTo>
                  <a:pt x="9801869" y="441287"/>
                  <a:pt x="9787055" y="444835"/>
                  <a:pt x="9784394" y="457816"/>
                </a:cubicBezTo>
                <a:cubicBezTo>
                  <a:pt x="9797169" y="483924"/>
                  <a:pt x="9656844" y="450179"/>
                  <a:pt x="9656836" y="469967"/>
                </a:cubicBezTo>
                <a:cubicBezTo>
                  <a:pt x="9589537" y="485301"/>
                  <a:pt x="9662097" y="527310"/>
                  <a:pt x="9561575" y="559978"/>
                </a:cubicBezTo>
                <a:cubicBezTo>
                  <a:pt x="9479149" y="599104"/>
                  <a:pt x="9215234" y="670585"/>
                  <a:pt x="9162278" y="704724"/>
                </a:cubicBezTo>
                <a:cubicBezTo>
                  <a:pt x="9173017" y="730567"/>
                  <a:pt x="9063215" y="727685"/>
                  <a:pt x="9062863" y="754656"/>
                </a:cubicBezTo>
                <a:cubicBezTo>
                  <a:pt x="9021608" y="774940"/>
                  <a:pt x="8924639" y="816390"/>
                  <a:pt x="8914746" y="826428"/>
                </a:cubicBezTo>
                <a:lnTo>
                  <a:pt x="8917778" y="835198"/>
                </a:lnTo>
                <a:lnTo>
                  <a:pt x="8905560" y="838358"/>
                </a:lnTo>
                <a:lnTo>
                  <a:pt x="8897564" y="834287"/>
                </a:lnTo>
                <a:lnTo>
                  <a:pt x="8878040" y="844150"/>
                </a:lnTo>
                <a:cubicBezTo>
                  <a:pt x="8861112" y="848992"/>
                  <a:pt x="8812843" y="856499"/>
                  <a:pt x="8795998" y="863337"/>
                </a:cubicBezTo>
                <a:cubicBezTo>
                  <a:pt x="8792888" y="873975"/>
                  <a:pt x="8786153" y="880792"/>
                  <a:pt x="8776970" y="885177"/>
                </a:cubicBezTo>
                <a:lnTo>
                  <a:pt x="8755719" y="889754"/>
                </a:lnTo>
                <a:lnTo>
                  <a:pt x="8743257" y="904723"/>
                </a:lnTo>
                <a:cubicBezTo>
                  <a:pt x="8737642" y="908108"/>
                  <a:pt x="8730651" y="908759"/>
                  <a:pt x="8721366" y="904711"/>
                </a:cubicBezTo>
                <a:cubicBezTo>
                  <a:pt x="8711895" y="915873"/>
                  <a:pt x="8676250" y="900745"/>
                  <a:pt x="8678353" y="926318"/>
                </a:cubicBezTo>
                <a:cubicBezTo>
                  <a:pt x="8658506" y="928813"/>
                  <a:pt x="8647569" y="933735"/>
                  <a:pt x="8636849" y="937900"/>
                </a:cubicBezTo>
                <a:lnTo>
                  <a:pt x="8620213" y="943068"/>
                </a:lnTo>
                <a:lnTo>
                  <a:pt x="8612581" y="952695"/>
                </a:lnTo>
                <a:cubicBezTo>
                  <a:pt x="8605836" y="959769"/>
                  <a:pt x="8598255" y="964412"/>
                  <a:pt x="8589038" y="963892"/>
                </a:cubicBezTo>
                <a:lnTo>
                  <a:pt x="8579950" y="960899"/>
                </a:lnTo>
                <a:cubicBezTo>
                  <a:pt x="8579740" y="962476"/>
                  <a:pt x="8579529" y="964053"/>
                  <a:pt x="8579319" y="965630"/>
                </a:cubicBezTo>
                <a:cubicBezTo>
                  <a:pt x="8579138" y="972972"/>
                  <a:pt x="8576531" y="980010"/>
                  <a:pt x="8547429" y="984506"/>
                </a:cubicBezTo>
                <a:cubicBezTo>
                  <a:pt x="8529238" y="1001725"/>
                  <a:pt x="8505565" y="1015840"/>
                  <a:pt x="8478704" y="1025490"/>
                </a:cubicBezTo>
                <a:cubicBezTo>
                  <a:pt x="8473109" y="1019545"/>
                  <a:pt x="8465819" y="1032194"/>
                  <a:pt x="8461421" y="1035512"/>
                </a:cubicBezTo>
                <a:cubicBezTo>
                  <a:pt x="8459739" y="1031087"/>
                  <a:pt x="8447663" y="1032074"/>
                  <a:pt x="8445003" y="1036851"/>
                </a:cubicBezTo>
                <a:cubicBezTo>
                  <a:pt x="8366593" y="1075951"/>
                  <a:pt x="8398773" y="1021402"/>
                  <a:pt x="8357350" y="1060213"/>
                </a:cubicBezTo>
                <a:cubicBezTo>
                  <a:pt x="8349366" y="1063843"/>
                  <a:pt x="8342208" y="1063367"/>
                  <a:pt x="8335565" y="1061151"/>
                </a:cubicBezTo>
                <a:lnTo>
                  <a:pt x="8325267" y="1055919"/>
                </a:lnTo>
                <a:lnTo>
                  <a:pt x="8293586" y="1076144"/>
                </a:lnTo>
                <a:cubicBezTo>
                  <a:pt x="8277595" y="1084193"/>
                  <a:pt x="8260401" y="1090863"/>
                  <a:pt x="8242405" y="1095960"/>
                </a:cubicBezTo>
                <a:cubicBezTo>
                  <a:pt x="8226373" y="1101227"/>
                  <a:pt x="8224213" y="1102052"/>
                  <a:pt x="8197391" y="1107746"/>
                </a:cubicBezTo>
                <a:cubicBezTo>
                  <a:pt x="8090266" y="1152133"/>
                  <a:pt x="8141491" y="1082372"/>
                  <a:pt x="8081474" y="1130125"/>
                </a:cubicBezTo>
                <a:cubicBezTo>
                  <a:pt x="8070634" y="1134173"/>
                  <a:pt x="8061619" y="1132810"/>
                  <a:pt x="8053585" y="1129169"/>
                </a:cubicBezTo>
                <a:lnTo>
                  <a:pt x="8038422" y="1119092"/>
                </a:lnTo>
                <a:lnTo>
                  <a:pt x="8029450" y="1125592"/>
                </a:lnTo>
                <a:cubicBezTo>
                  <a:pt x="7992226" y="1133484"/>
                  <a:pt x="7978616" y="1122765"/>
                  <a:pt x="7959552" y="1140188"/>
                </a:cubicBezTo>
                <a:cubicBezTo>
                  <a:pt x="7922008" y="1119572"/>
                  <a:pt x="7937737" y="1141786"/>
                  <a:pt x="7914188" y="1150862"/>
                </a:cubicBezTo>
                <a:cubicBezTo>
                  <a:pt x="7896037" y="1160155"/>
                  <a:pt x="7933463" y="1163411"/>
                  <a:pt x="7914918" y="1168758"/>
                </a:cubicBezTo>
                <a:cubicBezTo>
                  <a:pt x="7893102" y="1165887"/>
                  <a:pt x="7898453" y="1187420"/>
                  <a:pt x="7875510" y="1183153"/>
                </a:cubicBezTo>
                <a:cubicBezTo>
                  <a:pt x="7877354" y="1165743"/>
                  <a:pt x="7834286" y="1194789"/>
                  <a:pt x="7829932" y="1180782"/>
                </a:cubicBezTo>
                <a:cubicBezTo>
                  <a:pt x="7816047" y="1204874"/>
                  <a:pt x="7801901" y="1181513"/>
                  <a:pt x="7779182" y="1192665"/>
                </a:cubicBezTo>
                <a:cubicBezTo>
                  <a:pt x="7769446" y="1202686"/>
                  <a:pt x="7761564" y="1205661"/>
                  <a:pt x="7748774" y="1199586"/>
                </a:cubicBezTo>
                <a:cubicBezTo>
                  <a:pt x="7704339" y="1247771"/>
                  <a:pt x="7717626" y="1207638"/>
                  <a:pt x="7671846" y="1231966"/>
                </a:cubicBezTo>
                <a:cubicBezTo>
                  <a:pt x="7632956" y="1255682"/>
                  <a:pt x="7587383" y="1275180"/>
                  <a:pt x="7554146" y="1319748"/>
                </a:cubicBezTo>
                <a:cubicBezTo>
                  <a:pt x="7548775" y="1331557"/>
                  <a:pt x="7531272" y="1339155"/>
                  <a:pt x="7515052" y="1336718"/>
                </a:cubicBezTo>
                <a:cubicBezTo>
                  <a:pt x="7512260" y="1336298"/>
                  <a:pt x="7509613" y="1335590"/>
                  <a:pt x="7507193" y="1334617"/>
                </a:cubicBezTo>
                <a:cubicBezTo>
                  <a:pt x="7488273" y="1365207"/>
                  <a:pt x="7468925" y="1356298"/>
                  <a:pt x="7461694" y="1375866"/>
                </a:cubicBezTo>
                <a:cubicBezTo>
                  <a:pt x="7422434" y="1391917"/>
                  <a:pt x="7384603" y="1382819"/>
                  <a:pt x="7377571" y="1400128"/>
                </a:cubicBezTo>
                <a:cubicBezTo>
                  <a:pt x="7356236" y="1403926"/>
                  <a:pt x="7322509" y="1393138"/>
                  <a:pt x="7311261" y="1412652"/>
                </a:cubicBezTo>
                <a:cubicBezTo>
                  <a:pt x="7305349" y="1400071"/>
                  <a:pt x="7289966" y="1428039"/>
                  <a:pt x="7275307" y="1422171"/>
                </a:cubicBezTo>
                <a:cubicBezTo>
                  <a:pt x="7264529" y="1416601"/>
                  <a:pt x="7257348" y="1423786"/>
                  <a:pt x="7247783" y="1426330"/>
                </a:cubicBezTo>
                <a:cubicBezTo>
                  <a:pt x="7233839" y="1423056"/>
                  <a:pt x="7194363" y="1442037"/>
                  <a:pt x="7185047" y="1451812"/>
                </a:cubicBezTo>
                <a:cubicBezTo>
                  <a:pt x="7164447" y="1483396"/>
                  <a:pt x="7101577" y="1475742"/>
                  <a:pt x="7084117" y="1500281"/>
                </a:cubicBezTo>
                <a:cubicBezTo>
                  <a:pt x="7076899" y="1504821"/>
                  <a:pt x="7069494" y="1507565"/>
                  <a:pt x="7062011" y="1509183"/>
                </a:cubicBezTo>
                <a:lnTo>
                  <a:pt x="7040555" y="1511207"/>
                </a:lnTo>
                <a:lnTo>
                  <a:pt x="7033438" y="1506772"/>
                </a:lnTo>
                <a:lnTo>
                  <a:pt x="7020886" y="1510764"/>
                </a:lnTo>
                <a:lnTo>
                  <a:pt x="7017033" y="1510650"/>
                </a:lnTo>
                <a:lnTo>
                  <a:pt x="6995460" y="1511173"/>
                </a:lnTo>
                <a:cubicBezTo>
                  <a:pt x="7010208" y="1537643"/>
                  <a:pt x="6938512" y="1522467"/>
                  <a:pt x="6962144" y="1541508"/>
                </a:cubicBezTo>
                <a:cubicBezTo>
                  <a:pt x="6926351" y="1550586"/>
                  <a:pt x="6958236" y="1566326"/>
                  <a:pt x="6910674" y="1554793"/>
                </a:cubicBezTo>
                <a:cubicBezTo>
                  <a:pt x="6859225" y="1589274"/>
                  <a:pt x="6769015" y="1598548"/>
                  <a:pt x="6732152" y="1642538"/>
                </a:cubicBezTo>
                <a:cubicBezTo>
                  <a:pt x="6734901" y="1628031"/>
                  <a:pt x="6709146" y="1622413"/>
                  <a:pt x="6694106" y="1632377"/>
                </a:cubicBezTo>
                <a:cubicBezTo>
                  <a:pt x="6702628" y="1575914"/>
                  <a:pt x="6638899" y="1692862"/>
                  <a:pt x="6617223" y="1659889"/>
                </a:cubicBezTo>
                <a:cubicBezTo>
                  <a:pt x="6623246" y="1693349"/>
                  <a:pt x="6561228" y="1764690"/>
                  <a:pt x="6521138" y="1744340"/>
                </a:cubicBezTo>
                <a:cubicBezTo>
                  <a:pt x="6469831" y="1761656"/>
                  <a:pt x="6438109" y="1796731"/>
                  <a:pt x="6380677" y="1796883"/>
                </a:cubicBezTo>
                <a:cubicBezTo>
                  <a:pt x="6379865" y="1801686"/>
                  <a:pt x="6377810" y="1805986"/>
                  <a:pt x="6374897" y="1809910"/>
                </a:cubicBezTo>
                <a:lnTo>
                  <a:pt x="6364545" y="1820090"/>
                </a:lnTo>
                <a:lnTo>
                  <a:pt x="6362126" y="1819991"/>
                </a:lnTo>
                <a:cubicBezTo>
                  <a:pt x="6353055" y="1821720"/>
                  <a:pt x="6348796" y="1824537"/>
                  <a:pt x="6346673" y="1827824"/>
                </a:cubicBezTo>
                <a:lnTo>
                  <a:pt x="6345588" y="1832232"/>
                </a:lnTo>
                <a:lnTo>
                  <a:pt x="6335708" y="1838451"/>
                </a:lnTo>
                <a:lnTo>
                  <a:pt x="6318182" y="1852975"/>
                </a:lnTo>
                <a:lnTo>
                  <a:pt x="6313084" y="1853561"/>
                </a:lnTo>
                <a:lnTo>
                  <a:pt x="6283816" y="1872148"/>
                </a:lnTo>
                <a:lnTo>
                  <a:pt x="6282550" y="1871392"/>
                </a:lnTo>
                <a:cubicBezTo>
                  <a:pt x="6279041" y="1870121"/>
                  <a:pt x="6275192" y="1869982"/>
                  <a:pt x="6270527" y="1872208"/>
                </a:cubicBezTo>
                <a:cubicBezTo>
                  <a:pt x="6265029" y="1853962"/>
                  <a:pt x="6262790" y="1867903"/>
                  <a:pt x="6249518" y="1876079"/>
                </a:cubicBezTo>
                <a:cubicBezTo>
                  <a:pt x="6238019" y="1849564"/>
                  <a:pt x="6207959" y="1881750"/>
                  <a:pt x="6190386" y="1872478"/>
                </a:cubicBezTo>
                <a:cubicBezTo>
                  <a:pt x="6180893" y="1879083"/>
                  <a:pt x="6170646" y="1885584"/>
                  <a:pt x="6159777" y="1891745"/>
                </a:cubicBezTo>
                <a:lnTo>
                  <a:pt x="6153131" y="1895079"/>
                </a:lnTo>
                <a:lnTo>
                  <a:pt x="6152798" y="1894920"/>
                </a:lnTo>
                <a:cubicBezTo>
                  <a:pt x="6150925" y="1895166"/>
                  <a:pt x="6148578" y="1896082"/>
                  <a:pt x="6145388" y="1897990"/>
                </a:cubicBezTo>
                <a:lnTo>
                  <a:pt x="6141014" y="1901155"/>
                </a:lnTo>
                <a:lnTo>
                  <a:pt x="6128122" y="1907623"/>
                </a:lnTo>
                <a:lnTo>
                  <a:pt x="6122351" y="1908359"/>
                </a:lnTo>
                <a:cubicBezTo>
                  <a:pt x="6099508" y="1905910"/>
                  <a:pt x="6088334" y="1869006"/>
                  <a:pt x="6064750" y="1896394"/>
                </a:cubicBezTo>
                <a:cubicBezTo>
                  <a:pt x="6025977" y="1903785"/>
                  <a:pt x="5997095" y="1889190"/>
                  <a:pt x="5964230" y="1910038"/>
                </a:cubicBezTo>
                <a:cubicBezTo>
                  <a:pt x="5927910" y="1916874"/>
                  <a:pt x="5894873" y="1914928"/>
                  <a:pt x="5865399" y="1926966"/>
                </a:cubicBezTo>
                <a:cubicBezTo>
                  <a:pt x="5851644" y="1923038"/>
                  <a:pt x="5839380" y="1922808"/>
                  <a:pt x="5829951" y="1934755"/>
                </a:cubicBezTo>
                <a:cubicBezTo>
                  <a:pt x="5795498" y="1938369"/>
                  <a:pt x="5784532" y="1926246"/>
                  <a:pt x="5765285" y="1941322"/>
                </a:cubicBezTo>
                <a:cubicBezTo>
                  <a:pt x="5741789" y="1922874"/>
                  <a:pt x="5742385" y="1931607"/>
                  <a:pt x="5734750" y="1939793"/>
                </a:cubicBezTo>
                <a:lnTo>
                  <a:pt x="5733569" y="1940505"/>
                </a:lnTo>
                <a:lnTo>
                  <a:pt x="5730329" y="1937845"/>
                </a:lnTo>
                <a:lnTo>
                  <a:pt x="5724661" y="1937455"/>
                </a:lnTo>
                <a:lnTo>
                  <a:pt x="5710186" y="1941370"/>
                </a:lnTo>
                <a:lnTo>
                  <a:pt x="5704910" y="1943663"/>
                </a:lnTo>
                <a:cubicBezTo>
                  <a:pt x="5701213" y="1944937"/>
                  <a:pt x="5698678" y="1945391"/>
                  <a:pt x="5696836" y="1945271"/>
                </a:cubicBezTo>
                <a:lnTo>
                  <a:pt x="5696583" y="1945050"/>
                </a:lnTo>
                <a:lnTo>
                  <a:pt x="5689123" y="1947067"/>
                </a:lnTo>
                <a:cubicBezTo>
                  <a:pt x="5676655" y="1951072"/>
                  <a:pt x="5664639" y="1955533"/>
                  <a:pt x="5653291" y="1960245"/>
                </a:cubicBezTo>
                <a:cubicBezTo>
                  <a:pt x="5640346" y="1947636"/>
                  <a:pt x="5600180" y="1973739"/>
                  <a:pt x="5599385" y="1945198"/>
                </a:cubicBezTo>
                <a:cubicBezTo>
                  <a:pt x="5583913" y="1950736"/>
                  <a:pt x="5576590" y="1964134"/>
                  <a:pt x="5578300" y="1944963"/>
                </a:cubicBezTo>
                <a:cubicBezTo>
                  <a:pt x="5573104" y="1946266"/>
                  <a:pt x="5569560" y="1945382"/>
                  <a:pt x="5566758" y="1943441"/>
                </a:cubicBezTo>
                <a:lnTo>
                  <a:pt x="5565857" y="1942445"/>
                </a:lnTo>
                <a:lnTo>
                  <a:pt x="5531534" y="1955208"/>
                </a:lnTo>
                <a:lnTo>
                  <a:pt x="5526552" y="1954799"/>
                </a:lnTo>
                <a:lnTo>
                  <a:pt x="5504723" y="1965811"/>
                </a:lnTo>
                <a:lnTo>
                  <a:pt x="5493156" y="1970063"/>
                </a:lnTo>
                <a:lnTo>
                  <a:pt x="5490486" y="1974227"/>
                </a:lnTo>
                <a:cubicBezTo>
                  <a:pt x="5487271" y="1977077"/>
                  <a:pt x="5482233" y="1979045"/>
                  <a:pt x="5473107" y="1979001"/>
                </a:cubicBezTo>
                <a:lnTo>
                  <a:pt x="5470885" y="1978432"/>
                </a:lnTo>
                <a:lnTo>
                  <a:pt x="5457393" y="1986525"/>
                </a:lnTo>
                <a:cubicBezTo>
                  <a:pt x="5453194" y="1989853"/>
                  <a:pt x="5449663" y="1993721"/>
                  <a:pt x="5447102" y="1998329"/>
                </a:cubicBezTo>
                <a:cubicBezTo>
                  <a:pt x="5386283" y="2017364"/>
                  <a:pt x="5223545" y="2015483"/>
                  <a:pt x="5159151" y="2029640"/>
                </a:cubicBezTo>
                <a:cubicBezTo>
                  <a:pt x="5141359" y="2036610"/>
                  <a:pt x="5090827" y="2076822"/>
                  <a:pt x="5098838" y="2062961"/>
                </a:cubicBezTo>
                <a:cubicBezTo>
                  <a:pt x="5047883" y="2099457"/>
                  <a:pt x="4922007" y="2111466"/>
                  <a:pt x="4860988" y="2135698"/>
                </a:cubicBezTo>
                <a:cubicBezTo>
                  <a:pt x="4805413" y="2152292"/>
                  <a:pt x="4784714" y="2158665"/>
                  <a:pt x="4765388" y="2162525"/>
                </a:cubicBezTo>
                <a:cubicBezTo>
                  <a:pt x="4758560" y="2161978"/>
                  <a:pt x="4751823" y="2160531"/>
                  <a:pt x="4745033" y="2158859"/>
                </a:cubicBezTo>
                <a:lnTo>
                  <a:pt x="4741475" y="2157998"/>
                </a:lnTo>
                <a:lnTo>
                  <a:pt x="4728247" y="2159526"/>
                </a:lnTo>
                <a:lnTo>
                  <a:pt x="4723263" y="2153742"/>
                </a:lnTo>
                <a:lnTo>
                  <a:pt x="4593061" y="2171597"/>
                </a:lnTo>
                <a:lnTo>
                  <a:pt x="4405765" y="2199902"/>
                </a:lnTo>
                <a:cubicBezTo>
                  <a:pt x="4403942" y="2198353"/>
                  <a:pt x="4402457" y="2196614"/>
                  <a:pt x="4401354" y="2194745"/>
                </a:cubicBezTo>
                <a:lnTo>
                  <a:pt x="4366646" y="2198564"/>
                </a:lnTo>
                <a:lnTo>
                  <a:pt x="4354009" y="2204984"/>
                </a:lnTo>
                <a:lnTo>
                  <a:pt x="4348284" y="2205270"/>
                </a:lnTo>
                <a:lnTo>
                  <a:pt x="4333906" y="2205251"/>
                </a:lnTo>
                <a:cubicBezTo>
                  <a:pt x="4326429" y="2204713"/>
                  <a:pt x="4318024" y="2203940"/>
                  <a:pt x="4308819" y="2203822"/>
                </a:cubicBezTo>
                <a:lnTo>
                  <a:pt x="4301210" y="2204456"/>
                </a:lnTo>
                <a:lnTo>
                  <a:pt x="4283095" y="2198177"/>
                </a:lnTo>
                <a:cubicBezTo>
                  <a:pt x="4269863" y="2193337"/>
                  <a:pt x="4259612" y="2190345"/>
                  <a:pt x="4250119" y="2196342"/>
                </a:cubicBezTo>
                <a:cubicBezTo>
                  <a:pt x="4230702" y="2190559"/>
                  <a:pt x="4213171" y="2166890"/>
                  <a:pt x="4189203" y="2178994"/>
                </a:cubicBezTo>
                <a:cubicBezTo>
                  <a:pt x="4194512" y="2165594"/>
                  <a:pt x="4160734" y="2183257"/>
                  <a:pt x="4154035" y="2171950"/>
                </a:cubicBezTo>
                <a:cubicBezTo>
                  <a:pt x="4150098" y="2162547"/>
                  <a:pt x="4138934" y="2165714"/>
                  <a:pt x="4129569" y="2163850"/>
                </a:cubicBezTo>
                <a:cubicBezTo>
                  <a:pt x="4121391" y="2155090"/>
                  <a:pt x="4076089" y="2154737"/>
                  <a:pt x="4061250" y="2159236"/>
                </a:cubicBezTo>
                <a:cubicBezTo>
                  <a:pt x="4020618" y="2177811"/>
                  <a:pt x="3978175" y="2144465"/>
                  <a:pt x="3945480" y="2158279"/>
                </a:cubicBezTo>
                <a:cubicBezTo>
                  <a:pt x="3936362" y="2159139"/>
                  <a:pt x="3928502" y="2158369"/>
                  <a:pt x="3921468" y="2156588"/>
                </a:cubicBezTo>
                <a:lnTo>
                  <a:pt x="3903348" y="2149220"/>
                </a:lnTo>
                <a:lnTo>
                  <a:pt x="3901342" y="2142355"/>
                </a:lnTo>
                <a:lnTo>
                  <a:pt x="3888539" y="2140476"/>
                </a:lnTo>
                <a:lnTo>
                  <a:pt x="3885662" y="2138740"/>
                </a:lnTo>
                <a:cubicBezTo>
                  <a:pt x="3880178" y="2135398"/>
                  <a:pt x="3874645" y="2132286"/>
                  <a:pt x="3868627" y="2130023"/>
                </a:cubicBezTo>
                <a:cubicBezTo>
                  <a:pt x="3859240" y="2159198"/>
                  <a:pt x="3815892" y="2115590"/>
                  <a:pt x="3819177" y="2142111"/>
                </a:cubicBezTo>
                <a:cubicBezTo>
                  <a:pt x="3784478" y="2134756"/>
                  <a:pt x="3796708" y="2161930"/>
                  <a:pt x="3769100" y="2131731"/>
                </a:cubicBezTo>
                <a:cubicBezTo>
                  <a:pt x="3702423" y="2139704"/>
                  <a:pt x="3625642" y="2109386"/>
                  <a:pt x="3562752" y="2131785"/>
                </a:cubicBezTo>
                <a:cubicBezTo>
                  <a:pt x="3576244" y="2120400"/>
                  <a:pt x="3560801" y="2104591"/>
                  <a:pt x="3541402" y="2106821"/>
                </a:cubicBezTo>
                <a:cubicBezTo>
                  <a:pt x="3592232" y="2061584"/>
                  <a:pt x="3356194" y="2115384"/>
                  <a:pt x="3365341" y="2077638"/>
                </a:cubicBezTo>
                <a:cubicBezTo>
                  <a:pt x="3303594" y="2079161"/>
                  <a:pt x="3221644" y="2111487"/>
                  <a:pt x="3170922" y="2115957"/>
                </a:cubicBezTo>
                <a:cubicBezTo>
                  <a:pt x="3166532" y="2119769"/>
                  <a:pt x="3161579" y="2122617"/>
                  <a:pt x="3156256" y="2124773"/>
                </a:cubicBezTo>
                <a:lnTo>
                  <a:pt x="3140298" y="2129182"/>
                </a:lnTo>
                <a:lnTo>
                  <a:pt x="3138514" y="2128069"/>
                </a:lnTo>
                <a:cubicBezTo>
                  <a:pt x="3130169" y="2125710"/>
                  <a:pt x="3124679" y="2126336"/>
                  <a:pt x="3120467" y="2128281"/>
                </a:cubicBezTo>
                <a:lnTo>
                  <a:pt x="3116175" y="2131633"/>
                </a:lnTo>
                <a:lnTo>
                  <a:pt x="3103685" y="2132814"/>
                </a:lnTo>
                <a:lnTo>
                  <a:pt x="3078794" y="2137935"/>
                </a:lnTo>
                <a:lnTo>
                  <a:pt x="3074407" y="2136274"/>
                </a:lnTo>
                <a:lnTo>
                  <a:pt x="3037285" y="2139919"/>
                </a:lnTo>
                <a:lnTo>
                  <a:pt x="3036901" y="2138726"/>
                </a:lnTo>
                <a:cubicBezTo>
                  <a:pt x="3035193" y="2136135"/>
                  <a:pt x="3032337" y="2134379"/>
                  <a:pt x="3026996" y="2134322"/>
                </a:cubicBezTo>
                <a:cubicBezTo>
                  <a:pt x="3037063" y="2116196"/>
                  <a:pt x="3024412" y="2127308"/>
                  <a:pt x="3007772" y="2128742"/>
                </a:cubicBezTo>
                <a:cubicBezTo>
                  <a:pt x="3019697" y="2100910"/>
                  <a:pt x="2971305" y="2115987"/>
                  <a:pt x="2965030" y="2100494"/>
                </a:cubicBezTo>
                <a:cubicBezTo>
                  <a:pt x="2952539" y="2102174"/>
                  <a:pt x="2939545" y="2103445"/>
                  <a:pt x="2926342" y="2104155"/>
                </a:cubicBezTo>
                <a:lnTo>
                  <a:pt x="2918608" y="2104215"/>
                </a:lnTo>
                <a:cubicBezTo>
                  <a:pt x="2918564" y="2104122"/>
                  <a:pt x="2918519" y="2104030"/>
                  <a:pt x="2918475" y="2103937"/>
                </a:cubicBezTo>
                <a:cubicBezTo>
                  <a:pt x="2916840" y="2103354"/>
                  <a:pt x="2914314" y="2103149"/>
                  <a:pt x="2910360" y="2103444"/>
                </a:cubicBezTo>
                <a:lnTo>
                  <a:pt x="2904507" y="2104326"/>
                </a:lnTo>
                <a:lnTo>
                  <a:pt x="2889503" y="2104443"/>
                </a:lnTo>
                <a:lnTo>
                  <a:pt x="2884480" y="2102626"/>
                </a:lnTo>
                <a:lnTo>
                  <a:pt x="2882689" y="2099228"/>
                </a:lnTo>
                <a:lnTo>
                  <a:pt x="2881291" y="2099618"/>
                </a:lnTo>
                <a:cubicBezTo>
                  <a:pt x="2870663" y="2105606"/>
                  <a:pt x="2867338" y="2114210"/>
                  <a:pt x="2853979" y="2090388"/>
                </a:cubicBezTo>
                <a:cubicBezTo>
                  <a:pt x="2829652" y="2100099"/>
                  <a:pt x="2824975" y="2085577"/>
                  <a:pt x="2791790" y="2080332"/>
                </a:cubicBezTo>
                <a:cubicBezTo>
                  <a:pt x="2777850" y="2089504"/>
                  <a:pt x="2766709" y="2086170"/>
                  <a:pt x="2755844" y="2078874"/>
                </a:cubicBezTo>
                <a:cubicBezTo>
                  <a:pt x="2723488" y="2083049"/>
                  <a:pt x="2694065" y="2072780"/>
                  <a:pt x="2657742" y="2070179"/>
                </a:cubicBezTo>
                <a:cubicBezTo>
                  <a:pt x="2618372" y="2082020"/>
                  <a:pt x="2598368" y="2060559"/>
                  <a:pt x="2559549" y="2057873"/>
                </a:cubicBezTo>
                <a:cubicBezTo>
                  <a:pt x="2525789" y="2078403"/>
                  <a:pt x="2531908" y="2039838"/>
                  <a:pt x="2512054" y="2031671"/>
                </a:cubicBezTo>
                <a:lnTo>
                  <a:pt x="2506437" y="2030918"/>
                </a:lnTo>
                <a:lnTo>
                  <a:pt x="2491752" y="2033906"/>
                </a:lnTo>
                <a:lnTo>
                  <a:pt x="2486338" y="2035862"/>
                </a:lnTo>
                <a:cubicBezTo>
                  <a:pt x="2482568" y="2036899"/>
                  <a:pt x="2480011" y="2037191"/>
                  <a:pt x="2478186" y="2036953"/>
                </a:cubicBezTo>
                <a:lnTo>
                  <a:pt x="2477950" y="2036715"/>
                </a:lnTo>
                <a:lnTo>
                  <a:pt x="2470381" y="2038256"/>
                </a:lnTo>
                <a:cubicBezTo>
                  <a:pt x="2457686" y="2041461"/>
                  <a:pt x="2445410" y="2045155"/>
                  <a:pt x="2433781" y="2049140"/>
                </a:cubicBezTo>
                <a:cubicBezTo>
                  <a:pt x="2421781" y="2035703"/>
                  <a:pt x="2379959" y="2059234"/>
                  <a:pt x="2381172" y="2030645"/>
                </a:cubicBezTo>
                <a:cubicBezTo>
                  <a:pt x="2365380" y="2035192"/>
                  <a:pt x="2357148" y="2048120"/>
                  <a:pt x="2360198" y="2029059"/>
                </a:cubicBezTo>
                <a:cubicBezTo>
                  <a:pt x="2354933" y="2030031"/>
                  <a:pt x="2351467" y="2028919"/>
                  <a:pt x="2348815" y="2026798"/>
                </a:cubicBezTo>
                <a:lnTo>
                  <a:pt x="2347988" y="2025745"/>
                </a:lnTo>
                <a:lnTo>
                  <a:pt x="2312920" y="2036311"/>
                </a:lnTo>
                <a:lnTo>
                  <a:pt x="2307986" y="2035583"/>
                </a:lnTo>
                <a:lnTo>
                  <a:pt x="2285481" y="2045197"/>
                </a:lnTo>
                <a:lnTo>
                  <a:pt x="2273666" y="2048710"/>
                </a:lnTo>
                <a:lnTo>
                  <a:pt x="2270719" y="2052702"/>
                </a:lnTo>
                <a:cubicBezTo>
                  <a:pt x="2267315" y="2055347"/>
                  <a:pt x="2262161" y="2056992"/>
                  <a:pt x="2253080" y="2056363"/>
                </a:cubicBezTo>
                <a:lnTo>
                  <a:pt x="2250906" y="2055654"/>
                </a:lnTo>
                <a:lnTo>
                  <a:pt x="2236905" y="2062882"/>
                </a:lnTo>
                <a:cubicBezTo>
                  <a:pt x="2232493" y="2065942"/>
                  <a:pt x="2228705" y="2069583"/>
                  <a:pt x="2225830" y="2074027"/>
                </a:cubicBezTo>
                <a:cubicBezTo>
                  <a:pt x="2173117" y="2059597"/>
                  <a:pt x="2128486" y="2085502"/>
                  <a:pt x="2073776" y="2089244"/>
                </a:cubicBezTo>
                <a:cubicBezTo>
                  <a:pt x="2046050" y="2059365"/>
                  <a:pt x="1957570" y="2112693"/>
                  <a:pt x="1948256" y="2146616"/>
                </a:cubicBezTo>
                <a:cubicBezTo>
                  <a:pt x="1943005" y="2109192"/>
                  <a:pt x="1832736" y="2206239"/>
                  <a:pt x="1865582" y="2153738"/>
                </a:cubicBezTo>
                <a:cubicBezTo>
                  <a:pt x="1847376" y="2159567"/>
                  <a:pt x="1826258" y="2147592"/>
                  <a:pt x="1835210" y="2134244"/>
                </a:cubicBezTo>
                <a:cubicBezTo>
                  <a:pt x="1781916" y="2167476"/>
                  <a:pt x="1695112" y="2153556"/>
                  <a:pt x="1632661" y="2173882"/>
                </a:cubicBezTo>
                <a:cubicBezTo>
                  <a:pt x="1594177" y="2150642"/>
                  <a:pt x="1616426" y="2173975"/>
                  <a:pt x="1579590" y="2173680"/>
                </a:cubicBezTo>
                <a:cubicBezTo>
                  <a:pt x="1592812" y="2198112"/>
                  <a:pt x="1533818" y="2165220"/>
                  <a:pt x="1535601" y="2194590"/>
                </a:cubicBezTo>
                <a:cubicBezTo>
                  <a:pt x="1528840" y="2193608"/>
                  <a:pt x="1522236" y="2191728"/>
                  <a:pt x="1515594" y="2189622"/>
                </a:cubicBezTo>
                <a:lnTo>
                  <a:pt x="1512113" y="2188534"/>
                </a:lnTo>
                <a:lnTo>
                  <a:pt x="1498838" y="2189213"/>
                </a:lnTo>
                <a:lnTo>
                  <a:pt x="1494279" y="2183112"/>
                </a:lnTo>
                <a:lnTo>
                  <a:pt x="1473714" y="2179625"/>
                </a:lnTo>
                <a:cubicBezTo>
                  <a:pt x="1466138" y="2179292"/>
                  <a:pt x="1458132" y="2180071"/>
                  <a:pt x="1449503" y="2182633"/>
                </a:cubicBezTo>
                <a:lnTo>
                  <a:pt x="1266687" y="2212688"/>
                </a:lnTo>
                <a:cubicBezTo>
                  <a:pt x="1256792" y="2212722"/>
                  <a:pt x="1247024" y="2217857"/>
                  <a:pt x="1239614" y="2209727"/>
                </a:cubicBezTo>
                <a:cubicBezTo>
                  <a:pt x="1228778" y="2200326"/>
                  <a:pt x="1202276" y="2223497"/>
                  <a:pt x="1202436" y="2209817"/>
                </a:cubicBezTo>
                <a:cubicBezTo>
                  <a:pt x="1183471" y="2225854"/>
                  <a:pt x="1157340" y="2206849"/>
                  <a:pt x="1136097" y="2205112"/>
                </a:cubicBezTo>
                <a:cubicBezTo>
                  <a:pt x="1100396" y="2209415"/>
                  <a:pt x="1013922" y="2231219"/>
                  <a:pt x="988232" y="2235635"/>
                </a:cubicBezTo>
                <a:cubicBezTo>
                  <a:pt x="986445" y="2234079"/>
                  <a:pt x="984332" y="2232722"/>
                  <a:pt x="981959" y="2231607"/>
                </a:cubicBezTo>
                <a:cubicBezTo>
                  <a:pt x="968170" y="2225130"/>
                  <a:pt x="948759" y="2228043"/>
                  <a:pt x="938600" y="2238113"/>
                </a:cubicBezTo>
                <a:cubicBezTo>
                  <a:pt x="888371" y="2272824"/>
                  <a:pt x="837950" y="2280135"/>
                  <a:pt x="791788" y="2293224"/>
                </a:cubicBezTo>
                <a:cubicBezTo>
                  <a:pt x="739035" y="2305159"/>
                  <a:pt x="769009" y="2269676"/>
                  <a:pt x="706914" y="2305046"/>
                </a:cubicBezTo>
                <a:cubicBezTo>
                  <a:pt x="697882" y="2295919"/>
                  <a:pt x="689339" y="2296797"/>
                  <a:pt x="675971" y="2304030"/>
                </a:cubicBezTo>
                <a:cubicBezTo>
                  <a:pt x="650201" y="2309060"/>
                  <a:pt x="647591" y="2282853"/>
                  <a:pt x="624180" y="2302650"/>
                </a:cubicBezTo>
                <a:cubicBezTo>
                  <a:pt x="626400" y="2287987"/>
                  <a:pt x="574045" y="2305175"/>
                  <a:pt x="583453" y="2288788"/>
                </a:cubicBezTo>
                <a:cubicBezTo>
                  <a:pt x="564313" y="2278832"/>
                  <a:pt x="559671" y="2301039"/>
                  <a:pt x="540946" y="2292721"/>
                </a:cubicBezTo>
                <a:cubicBezTo>
                  <a:pt x="521576" y="2293191"/>
                  <a:pt x="554439" y="2305843"/>
                  <a:pt x="533680" y="2310233"/>
                </a:cubicBezTo>
                <a:cubicBezTo>
                  <a:pt x="508069" y="2313043"/>
                  <a:pt x="512638" y="2338541"/>
                  <a:pt x="487366" y="2309053"/>
                </a:cubicBezTo>
                <a:cubicBezTo>
                  <a:pt x="462164" y="2321083"/>
                  <a:pt x="454441" y="2307251"/>
                  <a:pt x="416820" y="2305443"/>
                </a:cubicBezTo>
                <a:cubicBezTo>
                  <a:pt x="403012" y="2315890"/>
                  <a:pt x="390105" y="2313733"/>
                  <a:pt x="376805" y="2307647"/>
                </a:cubicBezTo>
                <a:cubicBezTo>
                  <a:pt x="341751" y="2315035"/>
                  <a:pt x="307408" y="2307897"/>
                  <a:pt x="266777" y="2309012"/>
                </a:cubicBezTo>
                <a:cubicBezTo>
                  <a:pt x="225310" y="2324664"/>
                  <a:pt x="199419" y="2305548"/>
                  <a:pt x="156013" y="2306832"/>
                </a:cubicBezTo>
                <a:cubicBezTo>
                  <a:pt x="117457" y="2333851"/>
                  <a:pt x="122965" y="2279562"/>
                  <a:pt x="87258" y="2285511"/>
                </a:cubicBezTo>
                <a:cubicBezTo>
                  <a:pt x="38977" y="2309189"/>
                  <a:pt x="74043" y="2277969"/>
                  <a:pt x="23798" y="2281822"/>
                </a:cubicBezTo>
                <a:lnTo>
                  <a:pt x="0" y="2285369"/>
                </a:lnTo>
                <a:lnTo>
                  <a:pt x="0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91C1F1C2-F9F9-BB48-D7AA-14773DB715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7973" y="393380"/>
            <a:ext cx="9778141" cy="739881"/>
          </a:xfrm>
        </p:spPr>
        <p:txBody>
          <a:bodyPr>
            <a:normAutofit/>
          </a:bodyPr>
          <a:lstStyle/>
          <a:p>
            <a:pPr algn="l"/>
            <a:r>
              <a:rPr lang="pl-PL" sz="3600" b="1" dirty="0"/>
              <a:t>Analiza otoczenia polskiego związku sportowego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2CEE97A-3034-9AC8-E796-65BA33822C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307088" y="6277971"/>
            <a:ext cx="6884912" cy="580030"/>
          </a:xfrm>
          <a:custGeom>
            <a:avLst/>
            <a:gdLst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59043 h 1161397"/>
              <a:gd name="connsiteX5" fmla="*/ 119094 w 6884912"/>
              <a:gd name="connsiteY5" fmla="*/ 1148463 h 1161397"/>
              <a:gd name="connsiteX6" fmla="*/ 171824 w 6884912"/>
              <a:gd name="connsiteY6" fmla="*/ 1133224 h 1161397"/>
              <a:gd name="connsiteX7" fmla="*/ 376455 w 6884912"/>
              <a:gd name="connsiteY7" fmla="*/ 1137381 h 1161397"/>
              <a:gd name="connsiteX8" fmla="*/ 478946 w 6884912"/>
              <a:gd name="connsiteY8" fmla="*/ 1106011 h 1161397"/>
              <a:gd name="connsiteX9" fmla="*/ 512111 w 6884912"/>
              <a:gd name="connsiteY9" fmla="*/ 1085599 h 1161397"/>
              <a:gd name="connsiteX10" fmla="*/ 567875 w 6884912"/>
              <a:gd name="connsiteY10" fmla="*/ 1051976 h 1161397"/>
              <a:gd name="connsiteX11" fmla="*/ 601644 w 6884912"/>
              <a:gd name="connsiteY11" fmla="*/ 1003997 h 1161397"/>
              <a:gd name="connsiteX12" fmla="*/ 651408 w 6884912"/>
              <a:gd name="connsiteY12" fmla="*/ 984938 h 1161397"/>
              <a:gd name="connsiteX13" fmla="*/ 673197 w 6884912"/>
              <a:gd name="connsiteY13" fmla="*/ 1010060 h 1161397"/>
              <a:gd name="connsiteX14" fmla="*/ 723108 w 6884912"/>
              <a:gd name="connsiteY14" fmla="*/ 980081 h 1161397"/>
              <a:gd name="connsiteX15" fmla="*/ 797699 w 6884912"/>
              <a:gd name="connsiteY15" fmla="*/ 931362 h 1161397"/>
              <a:gd name="connsiteX16" fmla="*/ 843359 w 6884912"/>
              <a:gd name="connsiteY16" fmla="*/ 910894 h 1161397"/>
              <a:gd name="connsiteX17" fmla="*/ 965215 w 6884912"/>
              <a:gd name="connsiteY17" fmla="*/ 846701 h 1161397"/>
              <a:gd name="connsiteX18" fmla="*/ 1085080 w 6884912"/>
              <a:gd name="connsiteY18" fmla="*/ 776086 h 1161397"/>
              <a:gd name="connsiteX19" fmla="*/ 1131224 w 6884912"/>
              <a:gd name="connsiteY19" fmla="*/ 706160 h 1161397"/>
              <a:gd name="connsiteX20" fmla="*/ 1138051 w 6884912"/>
              <a:gd name="connsiteY20" fmla="*/ 702034 h 1161397"/>
              <a:gd name="connsiteX21" fmla="*/ 1158800 w 6884912"/>
              <a:gd name="connsiteY21" fmla="*/ 700004 h 1161397"/>
              <a:gd name="connsiteX22" fmla="*/ 1166947 w 6884912"/>
              <a:gd name="connsiteY22" fmla="*/ 700762 h 1161397"/>
              <a:gd name="connsiteX23" fmla="*/ 1178135 w 6884912"/>
              <a:gd name="connsiteY23" fmla="*/ 698631 h 1161397"/>
              <a:gd name="connsiteX24" fmla="*/ 1178301 w 6884912"/>
              <a:gd name="connsiteY24" fmla="*/ 698094 h 1161397"/>
              <a:gd name="connsiteX25" fmla="*/ 1188995 w 6884912"/>
              <a:gd name="connsiteY25" fmla="*/ 697048 h 1161397"/>
              <a:gd name="connsiteX26" fmla="*/ 1242716 w 6884912"/>
              <a:gd name="connsiteY26" fmla="*/ 698052 h 1161397"/>
              <a:gd name="connsiteX27" fmla="*/ 1299977 w 6884912"/>
              <a:gd name="connsiteY27" fmla="*/ 639196 h 1161397"/>
              <a:gd name="connsiteX28" fmla="*/ 1326190 w 6884912"/>
              <a:gd name="connsiteY28" fmla="*/ 625955 h 1161397"/>
              <a:gd name="connsiteX29" fmla="*/ 1339600 w 6884912"/>
              <a:gd name="connsiteY29" fmla="*/ 616295 h 1161397"/>
              <a:gd name="connsiteX30" fmla="*/ 1340054 w 6884912"/>
              <a:gd name="connsiteY30" fmla="*/ 614022 h 1161397"/>
              <a:gd name="connsiteX31" fmla="*/ 1391606 w 6884912"/>
              <a:gd name="connsiteY31" fmla="*/ 615229 h 1161397"/>
              <a:gd name="connsiteX32" fmla="*/ 1397565 w 6884912"/>
              <a:gd name="connsiteY32" fmla="*/ 611490 h 1161397"/>
              <a:gd name="connsiteX33" fmla="*/ 1432302 w 6884912"/>
              <a:gd name="connsiteY33" fmla="*/ 617267 h 1161397"/>
              <a:gd name="connsiteX34" fmla="*/ 1449644 w 6884912"/>
              <a:gd name="connsiteY34" fmla="*/ 617591 h 1161397"/>
              <a:gd name="connsiteX35" fmla="*/ 1455793 w 6884912"/>
              <a:gd name="connsiteY35" fmla="*/ 623174 h 1161397"/>
              <a:gd name="connsiteX36" fmla="*/ 1480758 w 6884912"/>
              <a:gd name="connsiteY36" fmla="*/ 620863 h 1161397"/>
              <a:gd name="connsiteX37" fmla="*/ 1483154 w 6884912"/>
              <a:gd name="connsiteY37" fmla="*/ 618527 h 1161397"/>
              <a:gd name="connsiteX38" fmla="*/ 1505495 w 6884912"/>
              <a:gd name="connsiteY38" fmla="*/ 624325 h 1161397"/>
              <a:gd name="connsiteX39" fmla="*/ 1526340 w 6884912"/>
              <a:gd name="connsiteY39" fmla="*/ 638496 h 1161397"/>
              <a:gd name="connsiteX40" fmla="*/ 1731986 w 6884912"/>
              <a:gd name="connsiteY40" fmla="*/ 589682 h 1161397"/>
              <a:gd name="connsiteX41" fmla="*/ 1927935 w 6884912"/>
              <a:gd name="connsiteY41" fmla="*/ 628540 h 1161397"/>
              <a:gd name="connsiteX42" fmla="*/ 2039075 w 6884912"/>
              <a:gd name="connsiteY42" fmla="*/ 599964 h 1161397"/>
              <a:gd name="connsiteX43" fmla="*/ 2066980 w 6884912"/>
              <a:gd name="connsiteY43" fmla="*/ 550413 h 1161397"/>
              <a:gd name="connsiteX44" fmla="*/ 2352236 w 6884912"/>
              <a:gd name="connsiteY44" fmla="*/ 519602 h 1161397"/>
              <a:gd name="connsiteX45" fmla="*/ 2420791 w 6884912"/>
              <a:gd name="connsiteY45" fmla="*/ 492826 h 1161397"/>
              <a:gd name="connsiteX46" fmla="*/ 2489932 w 6884912"/>
              <a:gd name="connsiteY46" fmla="*/ 507864 h 1161397"/>
              <a:gd name="connsiteX47" fmla="*/ 2512917 w 6884912"/>
              <a:gd name="connsiteY47" fmla="*/ 489127 h 1161397"/>
              <a:gd name="connsiteX48" fmla="*/ 2516783 w 6884912"/>
              <a:gd name="connsiteY48" fmla="*/ 485473 h 1161397"/>
              <a:gd name="connsiteX49" fmla="*/ 2534360 w 6884912"/>
              <a:gd name="connsiteY49" fmla="*/ 480064 h 1161397"/>
              <a:gd name="connsiteX50" fmla="*/ 2536691 w 6884912"/>
              <a:gd name="connsiteY50" fmla="*/ 467018 h 1161397"/>
              <a:gd name="connsiteX51" fmla="*/ 2561265 w 6884912"/>
              <a:gd name="connsiteY51" fmla="*/ 450623 h 1161397"/>
              <a:gd name="connsiteX52" fmla="*/ 2594349 w 6884912"/>
              <a:gd name="connsiteY52" fmla="*/ 443884 h 1161397"/>
              <a:gd name="connsiteX53" fmla="*/ 2754324 w 6884912"/>
              <a:gd name="connsiteY53" fmla="*/ 424766 h 1161397"/>
              <a:gd name="connsiteX54" fmla="*/ 2848470 w 6884912"/>
              <a:gd name="connsiteY54" fmla="*/ 405966 h 1161397"/>
              <a:gd name="connsiteX55" fmla="*/ 2881772 w 6884912"/>
              <a:gd name="connsiteY55" fmla="*/ 387260 h 1161397"/>
              <a:gd name="connsiteX56" fmla="*/ 2929932 w 6884912"/>
              <a:gd name="connsiteY56" fmla="*/ 368912 h 1161397"/>
              <a:gd name="connsiteX57" fmla="*/ 3013020 w 6884912"/>
              <a:gd name="connsiteY57" fmla="*/ 327578 h 1161397"/>
              <a:gd name="connsiteX58" fmla="*/ 3127968 w 6884912"/>
              <a:gd name="connsiteY58" fmla="*/ 287613 h 1161397"/>
              <a:gd name="connsiteX59" fmla="*/ 3222191 w 6884912"/>
              <a:gd name="connsiteY59" fmla="*/ 307887 h 1161397"/>
              <a:gd name="connsiteX60" fmla="*/ 3227953 w 6884912"/>
              <a:gd name="connsiteY60" fmla="*/ 297650 h 1161397"/>
              <a:gd name="connsiteX61" fmla="*/ 3287859 w 6884912"/>
              <a:gd name="connsiteY61" fmla="*/ 287558 h 1161397"/>
              <a:gd name="connsiteX62" fmla="*/ 3510042 w 6884912"/>
              <a:gd name="connsiteY62" fmla="*/ 311820 h 1161397"/>
              <a:gd name="connsiteX63" fmla="*/ 3626773 w 6884912"/>
              <a:gd name="connsiteY63" fmla="*/ 290452 h 1161397"/>
              <a:gd name="connsiteX64" fmla="*/ 3666217 w 6884912"/>
              <a:gd name="connsiteY64" fmla="*/ 273255 h 1161397"/>
              <a:gd name="connsiteX65" fmla="*/ 3732427 w 6884912"/>
              <a:gd name="connsiteY65" fmla="*/ 245039 h 1161397"/>
              <a:gd name="connsiteX66" fmla="*/ 3777022 w 6884912"/>
              <a:gd name="connsiteY66" fmla="*/ 200276 h 1161397"/>
              <a:gd name="connsiteX67" fmla="*/ 3791246 w 6884912"/>
              <a:gd name="connsiteY67" fmla="*/ 189996 h 1161397"/>
              <a:gd name="connsiteX68" fmla="*/ 3819864 w 6884912"/>
              <a:gd name="connsiteY68" fmla="*/ 194605 h 1161397"/>
              <a:gd name="connsiteX69" fmla="*/ 3830398 w 6884912"/>
              <a:gd name="connsiteY69" fmla="*/ 188383 h 1161397"/>
              <a:gd name="connsiteX70" fmla="*/ 3834360 w 6884912"/>
              <a:gd name="connsiteY70" fmla="*/ 188992 h 1161397"/>
              <a:gd name="connsiteX71" fmla="*/ 3843715 w 6884912"/>
              <a:gd name="connsiteY71" fmla="*/ 188752 h 1161397"/>
              <a:gd name="connsiteX72" fmla="*/ 3842609 w 6884912"/>
              <a:gd name="connsiteY72" fmla="*/ 197386 h 1161397"/>
              <a:gd name="connsiteX73" fmla="*/ 3853961 w 6884912"/>
              <a:gd name="connsiteY73" fmla="*/ 213380 h 1161397"/>
              <a:gd name="connsiteX74" fmla="*/ 3907640 w 6884912"/>
              <a:gd name="connsiteY74" fmla="*/ 207568 h 1161397"/>
              <a:gd name="connsiteX75" fmla="*/ 3910449 w 6884912"/>
              <a:gd name="connsiteY75" fmla="*/ 197808 h 1161397"/>
              <a:gd name="connsiteX76" fmla="*/ 3917197 w 6884912"/>
              <a:gd name="connsiteY76" fmla="*/ 196121 h 1161397"/>
              <a:gd name="connsiteX77" fmla="*/ 3922400 w 6884912"/>
              <a:gd name="connsiteY77" fmla="*/ 205056 h 1161397"/>
              <a:gd name="connsiteX78" fmla="*/ 4013061 w 6884912"/>
              <a:gd name="connsiteY78" fmla="*/ 224874 h 1161397"/>
              <a:gd name="connsiteX79" fmla="*/ 4134285 w 6884912"/>
              <a:gd name="connsiteY79" fmla="*/ 235592 h 1161397"/>
              <a:gd name="connsiteX80" fmla="*/ 4220717 w 6884912"/>
              <a:gd name="connsiteY80" fmla="*/ 192946 h 1161397"/>
              <a:gd name="connsiteX81" fmla="*/ 4228802 w 6884912"/>
              <a:gd name="connsiteY81" fmla="*/ 201468 h 1161397"/>
              <a:gd name="connsiteX82" fmla="*/ 4289361 w 6884912"/>
              <a:gd name="connsiteY82" fmla="*/ 196642 h 1161397"/>
              <a:gd name="connsiteX83" fmla="*/ 4498913 w 6884912"/>
              <a:gd name="connsiteY83" fmla="*/ 118915 h 1161397"/>
              <a:gd name="connsiteX84" fmla="*/ 4617330 w 6884912"/>
              <a:gd name="connsiteY84" fmla="*/ 111163 h 1161397"/>
              <a:gd name="connsiteX85" fmla="*/ 4659778 w 6884912"/>
              <a:gd name="connsiteY85" fmla="*/ 118219 h 1161397"/>
              <a:gd name="connsiteX86" fmla="*/ 4730870 w 6884912"/>
              <a:gd name="connsiteY86" fmla="*/ 129432 h 1161397"/>
              <a:gd name="connsiteX87" fmla="*/ 4785037 w 6884912"/>
              <a:gd name="connsiteY87" fmla="*/ 161964 h 1161397"/>
              <a:gd name="connsiteX88" fmla="*/ 4844073 w 6884912"/>
              <a:gd name="connsiteY88" fmla="*/ 161768 h 1161397"/>
              <a:gd name="connsiteX89" fmla="*/ 4856454 w 6884912"/>
              <a:gd name="connsiteY89" fmla="*/ 130488 h 1161397"/>
              <a:gd name="connsiteX90" fmla="*/ 4920038 w 6884912"/>
              <a:gd name="connsiteY90" fmla="*/ 140418 h 1161397"/>
              <a:gd name="connsiteX91" fmla="*/ 5016639 w 6884912"/>
              <a:gd name="connsiteY91" fmla="*/ 158905 h 1161397"/>
              <a:gd name="connsiteX92" fmla="*/ 5072009 w 6884912"/>
              <a:gd name="connsiteY92" fmla="*/ 161502 h 1161397"/>
              <a:gd name="connsiteX93" fmla="*/ 5223626 w 6884912"/>
              <a:gd name="connsiteY93" fmla="*/ 177356 h 1161397"/>
              <a:gd name="connsiteX94" fmla="*/ 5375773 w 6884912"/>
              <a:gd name="connsiteY94" fmla="*/ 199913 h 1161397"/>
              <a:gd name="connsiteX95" fmla="*/ 5467502 w 6884912"/>
              <a:gd name="connsiteY95" fmla="*/ 250963 h 1161397"/>
              <a:gd name="connsiteX96" fmla="*/ 5592395 w 6884912"/>
              <a:gd name="connsiteY96" fmla="*/ 265434 h 1161397"/>
              <a:gd name="connsiteX97" fmla="*/ 5613532 w 6884912"/>
              <a:gd name="connsiteY97" fmla="*/ 273379 h 1161397"/>
              <a:gd name="connsiteX98" fmla="*/ 5642173 w 6884912"/>
              <a:gd name="connsiteY98" fmla="*/ 266904 h 1161397"/>
              <a:gd name="connsiteX99" fmla="*/ 5756910 w 6884912"/>
              <a:gd name="connsiteY99" fmla="*/ 239211 h 1161397"/>
              <a:gd name="connsiteX100" fmla="*/ 5846667 w 6884912"/>
              <a:gd name="connsiteY100" fmla="*/ 201786 h 1161397"/>
              <a:gd name="connsiteX101" fmla="*/ 5960732 w 6884912"/>
              <a:gd name="connsiteY101" fmla="*/ 220708 h 1161397"/>
              <a:gd name="connsiteX102" fmla="*/ 6029542 w 6884912"/>
              <a:gd name="connsiteY102" fmla="*/ 210339 h 1161397"/>
              <a:gd name="connsiteX103" fmla="*/ 6141123 w 6884912"/>
              <a:gd name="connsiteY103" fmla="*/ 159923 h 1161397"/>
              <a:gd name="connsiteX104" fmla="*/ 6290640 w 6884912"/>
              <a:gd name="connsiteY104" fmla="*/ 167441 h 1161397"/>
              <a:gd name="connsiteX105" fmla="*/ 6322806 w 6884912"/>
              <a:gd name="connsiteY105" fmla="*/ 213293 h 1161397"/>
              <a:gd name="connsiteX106" fmla="*/ 6364914 w 6884912"/>
              <a:gd name="connsiteY106" fmla="*/ 240140 h 1161397"/>
              <a:gd name="connsiteX107" fmla="*/ 6380420 w 6884912"/>
              <a:gd name="connsiteY107" fmla="*/ 173195 h 1161397"/>
              <a:gd name="connsiteX108" fmla="*/ 6507891 w 6884912"/>
              <a:gd name="connsiteY108" fmla="*/ 118474 h 1161397"/>
              <a:gd name="connsiteX109" fmla="*/ 6571807 w 6884912"/>
              <a:gd name="connsiteY109" fmla="*/ 98636 h 1161397"/>
              <a:gd name="connsiteX110" fmla="*/ 6671880 w 6884912"/>
              <a:gd name="connsiteY110" fmla="*/ 82931 h 1161397"/>
              <a:gd name="connsiteX111" fmla="*/ 6702266 w 6884912"/>
              <a:gd name="connsiteY111" fmla="*/ 75470 h 1161397"/>
              <a:gd name="connsiteX112" fmla="*/ 6845802 w 6884912"/>
              <a:gd name="connsiteY112" fmla="*/ 24496 h 1161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6884912" h="1161397">
                <a:moveTo>
                  <a:pt x="6884912" y="0"/>
                </a:moveTo>
                <a:lnTo>
                  <a:pt x="6884912" y="1161397"/>
                </a:lnTo>
                <a:lnTo>
                  <a:pt x="0" y="1161397"/>
                </a:lnTo>
                <a:lnTo>
                  <a:pt x="27135" y="1147460"/>
                </a:lnTo>
                <a:cubicBezTo>
                  <a:pt x="57431" y="1167048"/>
                  <a:pt x="61886" y="1135904"/>
                  <a:pt x="115388" y="1159043"/>
                </a:cubicBezTo>
                <a:cubicBezTo>
                  <a:pt x="116121" y="1155340"/>
                  <a:pt x="117370" y="1151777"/>
                  <a:pt x="119094" y="1148463"/>
                </a:cubicBezTo>
                <a:cubicBezTo>
                  <a:pt x="129121" y="1129214"/>
                  <a:pt x="152727" y="1122391"/>
                  <a:pt x="171824" y="1133224"/>
                </a:cubicBezTo>
                <a:cubicBezTo>
                  <a:pt x="254344" y="1161369"/>
                  <a:pt x="315458" y="1143220"/>
                  <a:pt x="376455" y="1137381"/>
                </a:cubicBezTo>
                <a:cubicBezTo>
                  <a:pt x="443775" y="1125614"/>
                  <a:pt x="382885" y="1083927"/>
                  <a:pt x="478946" y="1106011"/>
                </a:cubicBezTo>
                <a:cubicBezTo>
                  <a:pt x="481662" y="1085172"/>
                  <a:pt x="491731" y="1081489"/>
                  <a:pt x="512111" y="1085599"/>
                </a:cubicBezTo>
                <a:cubicBezTo>
                  <a:pt x="544368" y="1078502"/>
                  <a:pt x="526559" y="1032754"/>
                  <a:pt x="567875" y="1051976"/>
                </a:cubicBezTo>
                <a:cubicBezTo>
                  <a:pt x="553871" y="1028602"/>
                  <a:pt x="624901" y="1025930"/>
                  <a:pt x="601644" y="1003997"/>
                </a:cubicBezTo>
                <a:cubicBezTo>
                  <a:pt x="614803" y="975652"/>
                  <a:pt x="637415" y="1010272"/>
                  <a:pt x="651408" y="984938"/>
                </a:cubicBezTo>
                <a:cubicBezTo>
                  <a:pt x="673042" y="974024"/>
                  <a:pt x="646948" y="1015207"/>
                  <a:pt x="673197" y="1010060"/>
                </a:cubicBezTo>
                <a:cubicBezTo>
                  <a:pt x="703527" y="999318"/>
                  <a:pt x="718626" y="1045053"/>
                  <a:pt x="723108" y="980081"/>
                </a:cubicBezTo>
                <a:cubicBezTo>
                  <a:pt x="760262" y="985126"/>
                  <a:pt x="757827" y="957145"/>
                  <a:pt x="797699" y="931362"/>
                </a:cubicBezTo>
                <a:cubicBezTo>
                  <a:pt x="821097" y="940623"/>
                  <a:pt x="833565" y="929189"/>
                  <a:pt x="843359" y="910894"/>
                </a:cubicBezTo>
                <a:cubicBezTo>
                  <a:pt x="887668" y="902160"/>
                  <a:pt x="919738" y="869376"/>
                  <a:pt x="965215" y="846701"/>
                </a:cubicBezTo>
                <a:cubicBezTo>
                  <a:pt x="1023081" y="848019"/>
                  <a:pt x="1036422" y="800154"/>
                  <a:pt x="1085080" y="776086"/>
                </a:cubicBezTo>
                <a:cubicBezTo>
                  <a:pt x="1140763" y="795544"/>
                  <a:pt x="1110309" y="730471"/>
                  <a:pt x="1131224" y="706160"/>
                </a:cubicBezTo>
                <a:lnTo>
                  <a:pt x="1138051" y="702034"/>
                </a:lnTo>
                <a:lnTo>
                  <a:pt x="1158800" y="700004"/>
                </a:lnTo>
                <a:lnTo>
                  <a:pt x="1166947" y="700762"/>
                </a:lnTo>
                <a:cubicBezTo>
                  <a:pt x="1172432" y="700717"/>
                  <a:pt x="1175913" y="699961"/>
                  <a:pt x="1178135" y="698631"/>
                </a:cubicBezTo>
                <a:lnTo>
                  <a:pt x="1178301" y="698094"/>
                </a:lnTo>
                <a:lnTo>
                  <a:pt x="1188995" y="697048"/>
                </a:lnTo>
                <a:cubicBezTo>
                  <a:pt x="1207294" y="696390"/>
                  <a:pt x="1225337" y="696802"/>
                  <a:pt x="1242716" y="698052"/>
                </a:cubicBezTo>
                <a:cubicBezTo>
                  <a:pt x="1250387" y="668345"/>
                  <a:pt x="1318259" y="689091"/>
                  <a:pt x="1299977" y="639196"/>
                </a:cubicBezTo>
                <a:cubicBezTo>
                  <a:pt x="1323072" y="639367"/>
                  <a:pt x="1341279" y="658105"/>
                  <a:pt x="1326190" y="625955"/>
                </a:cubicBezTo>
                <a:cubicBezTo>
                  <a:pt x="1333572" y="625050"/>
                  <a:pt x="1337406" y="621362"/>
                  <a:pt x="1339600" y="616295"/>
                </a:cubicBezTo>
                <a:lnTo>
                  <a:pt x="1340054" y="614022"/>
                </a:lnTo>
                <a:lnTo>
                  <a:pt x="1391606" y="615229"/>
                </a:lnTo>
                <a:lnTo>
                  <a:pt x="1397565" y="611490"/>
                </a:lnTo>
                <a:lnTo>
                  <a:pt x="1432302" y="617267"/>
                </a:lnTo>
                <a:lnTo>
                  <a:pt x="1449644" y="617591"/>
                </a:lnTo>
                <a:lnTo>
                  <a:pt x="1455793" y="623174"/>
                </a:lnTo>
                <a:cubicBezTo>
                  <a:pt x="1461744" y="626151"/>
                  <a:pt x="1469373" y="626493"/>
                  <a:pt x="1480758" y="620863"/>
                </a:cubicBezTo>
                <a:lnTo>
                  <a:pt x="1483154" y="618527"/>
                </a:lnTo>
                <a:lnTo>
                  <a:pt x="1505495" y="624325"/>
                </a:lnTo>
                <a:cubicBezTo>
                  <a:pt x="1512992" y="627532"/>
                  <a:pt x="1520025" y="632078"/>
                  <a:pt x="1526340" y="638496"/>
                </a:cubicBezTo>
                <a:cubicBezTo>
                  <a:pt x="1586113" y="586768"/>
                  <a:pt x="1659006" y="610309"/>
                  <a:pt x="1731986" y="589682"/>
                </a:cubicBezTo>
                <a:cubicBezTo>
                  <a:pt x="1750397" y="523106"/>
                  <a:pt x="1896056" y="573257"/>
                  <a:pt x="1927935" y="628540"/>
                </a:cubicBezTo>
                <a:cubicBezTo>
                  <a:pt x="1912854" y="559823"/>
                  <a:pt x="2112261" y="676347"/>
                  <a:pt x="2039075" y="599964"/>
                </a:cubicBezTo>
                <a:cubicBezTo>
                  <a:pt x="2066036" y="601198"/>
                  <a:pt x="2086366" y="569532"/>
                  <a:pt x="2066980" y="550413"/>
                </a:cubicBezTo>
                <a:cubicBezTo>
                  <a:pt x="2155364" y="582582"/>
                  <a:pt x="2259548" y="514786"/>
                  <a:pt x="2352236" y="519602"/>
                </a:cubicBezTo>
                <a:cubicBezTo>
                  <a:pt x="2388450" y="459394"/>
                  <a:pt x="2373298" y="511682"/>
                  <a:pt x="2420791" y="492826"/>
                </a:cubicBezTo>
                <a:cubicBezTo>
                  <a:pt x="2417962" y="542563"/>
                  <a:pt x="2475071" y="455098"/>
                  <a:pt x="2489932" y="507864"/>
                </a:cubicBezTo>
                <a:cubicBezTo>
                  <a:pt x="2498105" y="502761"/>
                  <a:pt x="2505553" y="496153"/>
                  <a:pt x="2512917" y="489127"/>
                </a:cubicBezTo>
                <a:lnTo>
                  <a:pt x="2516783" y="485473"/>
                </a:lnTo>
                <a:lnTo>
                  <a:pt x="2534360" y="480064"/>
                </a:lnTo>
                <a:lnTo>
                  <a:pt x="2536691" y="467018"/>
                </a:lnTo>
                <a:lnTo>
                  <a:pt x="2561265" y="450623"/>
                </a:lnTo>
                <a:cubicBezTo>
                  <a:pt x="2570872" y="446262"/>
                  <a:pt x="2581686" y="443655"/>
                  <a:pt x="2594349" y="443884"/>
                </a:cubicBezTo>
                <a:cubicBezTo>
                  <a:pt x="2640435" y="464638"/>
                  <a:pt x="2696955" y="396361"/>
                  <a:pt x="2754324" y="424766"/>
                </a:cubicBezTo>
                <a:cubicBezTo>
                  <a:pt x="2775130" y="430896"/>
                  <a:pt x="2837731" y="423458"/>
                  <a:pt x="2848470" y="405966"/>
                </a:cubicBezTo>
                <a:cubicBezTo>
                  <a:pt x="2861295" y="401100"/>
                  <a:pt x="2876936" y="405309"/>
                  <a:pt x="2881772" y="387260"/>
                </a:cubicBezTo>
                <a:cubicBezTo>
                  <a:pt x="2890299" y="365261"/>
                  <a:pt x="2938134" y="392997"/>
                  <a:pt x="2929932" y="368912"/>
                </a:cubicBezTo>
                <a:cubicBezTo>
                  <a:pt x="2963844" y="387799"/>
                  <a:pt x="2986550" y="341223"/>
                  <a:pt x="3013020" y="327578"/>
                </a:cubicBezTo>
                <a:cubicBezTo>
                  <a:pt x="3040041" y="346996"/>
                  <a:pt x="3068934" y="299222"/>
                  <a:pt x="3127968" y="287613"/>
                </a:cubicBezTo>
                <a:cubicBezTo>
                  <a:pt x="3157770" y="310215"/>
                  <a:pt x="3167695" y="279445"/>
                  <a:pt x="3222191" y="307887"/>
                </a:cubicBezTo>
                <a:cubicBezTo>
                  <a:pt x="3223593" y="304249"/>
                  <a:pt x="3225533" y="300801"/>
                  <a:pt x="3227953" y="297650"/>
                </a:cubicBezTo>
                <a:cubicBezTo>
                  <a:pt x="3242008" y="279345"/>
                  <a:pt x="3268831" y="274825"/>
                  <a:pt x="3287859" y="287558"/>
                </a:cubicBezTo>
                <a:cubicBezTo>
                  <a:pt x="3373144" y="323866"/>
                  <a:pt x="3442657" y="311681"/>
                  <a:pt x="3510042" y="311820"/>
                </a:cubicBezTo>
                <a:cubicBezTo>
                  <a:pt x="3585274" y="306641"/>
                  <a:pt x="3525753" y="258887"/>
                  <a:pt x="3626773" y="290452"/>
                </a:cubicBezTo>
                <a:cubicBezTo>
                  <a:pt x="3633124" y="269835"/>
                  <a:pt x="3644693" y="267134"/>
                  <a:pt x="3666217" y="273255"/>
                </a:cubicBezTo>
                <a:cubicBezTo>
                  <a:pt x="3702502" y="269310"/>
                  <a:pt x="3690563" y="221720"/>
                  <a:pt x="3732427" y="245039"/>
                </a:cubicBezTo>
                <a:cubicBezTo>
                  <a:pt x="3720985" y="220241"/>
                  <a:pt x="3798776" y="224539"/>
                  <a:pt x="3777022" y="200276"/>
                </a:cubicBezTo>
                <a:cubicBezTo>
                  <a:pt x="3781759" y="193499"/>
                  <a:pt x="3786499" y="190723"/>
                  <a:pt x="3791246" y="189996"/>
                </a:cubicBezTo>
                <a:cubicBezTo>
                  <a:pt x="3800740" y="188542"/>
                  <a:pt x="3810265" y="195284"/>
                  <a:pt x="3819864" y="194605"/>
                </a:cubicBezTo>
                <a:lnTo>
                  <a:pt x="3830398" y="188383"/>
                </a:lnTo>
                <a:lnTo>
                  <a:pt x="3834360" y="188992"/>
                </a:lnTo>
                <a:lnTo>
                  <a:pt x="3843715" y="188752"/>
                </a:lnTo>
                <a:lnTo>
                  <a:pt x="3842609" y="197386"/>
                </a:lnTo>
                <a:cubicBezTo>
                  <a:pt x="3840673" y="205638"/>
                  <a:pt x="3839248" y="214671"/>
                  <a:pt x="3853961" y="213380"/>
                </a:cubicBezTo>
                <a:cubicBezTo>
                  <a:pt x="3884396" y="206569"/>
                  <a:pt x="3895082" y="241941"/>
                  <a:pt x="3907640" y="207568"/>
                </a:cubicBezTo>
                <a:lnTo>
                  <a:pt x="3910449" y="197808"/>
                </a:lnTo>
                <a:lnTo>
                  <a:pt x="3917197" y="196121"/>
                </a:lnTo>
                <a:cubicBezTo>
                  <a:pt x="3920833" y="196372"/>
                  <a:pt x="3922919" y="198717"/>
                  <a:pt x="3922400" y="205056"/>
                </a:cubicBezTo>
                <a:cubicBezTo>
                  <a:pt x="3950680" y="178467"/>
                  <a:pt x="3984062" y="218098"/>
                  <a:pt x="4013061" y="224874"/>
                </a:cubicBezTo>
                <a:cubicBezTo>
                  <a:pt x="4034530" y="199451"/>
                  <a:pt x="4074202" y="238734"/>
                  <a:pt x="4134285" y="235592"/>
                </a:cubicBezTo>
                <a:cubicBezTo>
                  <a:pt x="4157674" y="206403"/>
                  <a:pt x="4174806" y="233822"/>
                  <a:pt x="4220717" y="192946"/>
                </a:cubicBezTo>
                <a:cubicBezTo>
                  <a:pt x="4222964" y="196132"/>
                  <a:pt x="4225687" y="199002"/>
                  <a:pt x="4228802" y="201468"/>
                </a:cubicBezTo>
                <a:cubicBezTo>
                  <a:pt x="4246898" y="215792"/>
                  <a:pt x="4274013" y="213632"/>
                  <a:pt x="4289361" y="196642"/>
                </a:cubicBezTo>
                <a:cubicBezTo>
                  <a:pt x="4363212" y="140627"/>
                  <a:pt x="4433598" y="135488"/>
                  <a:pt x="4498913" y="118915"/>
                </a:cubicBezTo>
                <a:cubicBezTo>
                  <a:pt x="4573135" y="105586"/>
                  <a:pt x="4527062" y="166416"/>
                  <a:pt x="4617330" y="111163"/>
                </a:cubicBezTo>
                <a:cubicBezTo>
                  <a:pt x="4628518" y="129608"/>
                  <a:pt x="4640397" y="129405"/>
                  <a:pt x="4659778" y="118219"/>
                </a:cubicBezTo>
                <a:cubicBezTo>
                  <a:pt x="4695929" y="113193"/>
                  <a:pt x="4695958" y="162259"/>
                  <a:pt x="4730870" y="129432"/>
                </a:cubicBezTo>
                <a:cubicBezTo>
                  <a:pt x="4725822" y="156271"/>
                  <a:pt x="4800214" y="133127"/>
                  <a:pt x="4785037" y="161964"/>
                </a:cubicBezTo>
                <a:cubicBezTo>
                  <a:pt x="4810025" y="183633"/>
                  <a:pt x="4819434" y="143205"/>
                  <a:pt x="4844073" y="161768"/>
                </a:cubicBezTo>
                <a:cubicBezTo>
                  <a:pt x="4870797" y="164132"/>
                  <a:pt x="4827288" y="135164"/>
                  <a:pt x="4856454" y="130488"/>
                </a:cubicBezTo>
                <a:cubicBezTo>
                  <a:pt x="4892086" y="129553"/>
                  <a:pt x="4889263" y="81477"/>
                  <a:pt x="4920038" y="140418"/>
                </a:cubicBezTo>
                <a:cubicBezTo>
                  <a:pt x="4956358" y="122308"/>
                  <a:pt x="4965108" y="149263"/>
                  <a:pt x="5016639" y="158905"/>
                </a:cubicBezTo>
                <a:cubicBezTo>
                  <a:pt x="5037063" y="141828"/>
                  <a:pt x="5054534" y="147986"/>
                  <a:pt x="5072009" y="161502"/>
                </a:cubicBezTo>
                <a:cubicBezTo>
                  <a:pt x="5121260" y="153653"/>
                  <a:pt x="5167555" y="172635"/>
                  <a:pt x="5223626" y="177356"/>
                </a:cubicBezTo>
                <a:cubicBezTo>
                  <a:pt x="5282824" y="155243"/>
                  <a:pt x="5315859" y="195041"/>
                  <a:pt x="5375773" y="199913"/>
                </a:cubicBezTo>
                <a:cubicBezTo>
                  <a:pt x="5432511" y="156218"/>
                  <a:pt x="5417550" y="256036"/>
                  <a:pt x="5467502" y="250963"/>
                </a:cubicBezTo>
                <a:cubicBezTo>
                  <a:pt x="5547124" y="209975"/>
                  <a:pt x="5467171" y="283839"/>
                  <a:pt x="5592395" y="265434"/>
                </a:cubicBezTo>
                <a:cubicBezTo>
                  <a:pt x="5599201" y="258867"/>
                  <a:pt x="5614752" y="264706"/>
                  <a:pt x="5613532" y="273379"/>
                </a:cubicBezTo>
                <a:cubicBezTo>
                  <a:pt x="5621390" y="270408"/>
                  <a:pt x="5639720" y="253173"/>
                  <a:pt x="5642173" y="266904"/>
                </a:cubicBezTo>
                <a:cubicBezTo>
                  <a:pt x="5682296" y="267049"/>
                  <a:pt x="5721812" y="257513"/>
                  <a:pt x="5756910" y="239211"/>
                </a:cubicBezTo>
                <a:cubicBezTo>
                  <a:pt x="5834998" y="260050"/>
                  <a:pt x="5790596" y="197229"/>
                  <a:pt x="5846667" y="201786"/>
                </a:cubicBezTo>
                <a:cubicBezTo>
                  <a:pt x="5892444" y="227312"/>
                  <a:pt x="5908324" y="204527"/>
                  <a:pt x="5960732" y="220708"/>
                </a:cubicBezTo>
                <a:cubicBezTo>
                  <a:pt x="5977124" y="175349"/>
                  <a:pt x="6009640" y="223654"/>
                  <a:pt x="6029542" y="210339"/>
                </a:cubicBezTo>
                <a:cubicBezTo>
                  <a:pt x="6063108" y="261420"/>
                  <a:pt x="6107411" y="160034"/>
                  <a:pt x="6141123" y="159923"/>
                </a:cubicBezTo>
                <a:cubicBezTo>
                  <a:pt x="6198068" y="167749"/>
                  <a:pt x="6260628" y="219715"/>
                  <a:pt x="6290640" y="167441"/>
                </a:cubicBezTo>
                <a:cubicBezTo>
                  <a:pt x="6295193" y="188689"/>
                  <a:pt x="6290494" y="217816"/>
                  <a:pt x="6322806" y="213293"/>
                </a:cubicBezTo>
                <a:cubicBezTo>
                  <a:pt x="6335911" y="223881"/>
                  <a:pt x="6338726" y="256581"/>
                  <a:pt x="6364914" y="240140"/>
                </a:cubicBezTo>
                <a:cubicBezTo>
                  <a:pt x="6331888" y="211628"/>
                  <a:pt x="6385856" y="207033"/>
                  <a:pt x="6380420" y="173195"/>
                </a:cubicBezTo>
                <a:cubicBezTo>
                  <a:pt x="6420580" y="151473"/>
                  <a:pt x="6513519" y="179296"/>
                  <a:pt x="6507891" y="118474"/>
                </a:cubicBezTo>
                <a:cubicBezTo>
                  <a:pt x="6519398" y="82452"/>
                  <a:pt x="6571830" y="137398"/>
                  <a:pt x="6571807" y="98636"/>
                </a:cubicBezTo>
                <a:cubicBezTo>
                  <a:pt x="6594702" y="123421"/>
                  <a:pt x="6634676" y="82071"/>
                  <a:pt x="6671880" y="82931"/>
                </a:cubicBezTo>
                <a:cubicBezTo>
                  <a:pt x="6678855" y="65407"/>
                  <a:pt x="6687415" y="66196"/>
                  <a:pt x="6702266" y="75470"/>
                </a:cubicBezTo>
                <a:cubicBezTo>
                  <a:pt x="6747004" y="78450"/>
                  <a:pt x="6798307" y="53072"/>
                  <a:pt x="6845802" y="24496"/>
                </a:cubicBez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Podtytuł 7">
            <a:extLst>
              <a:ext uri="{FF2B5EF4-FFF2-40B4-BE49-F238E27FC236}">
                <a16:creationId xmlns:a16="http://schemas.microsoft.com/office/drawing/2014/main" id="{2BF2D580-B96C-582F-B6D2-2AED80544B9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627ED4D5-29B6-B98C-AE91-4425731533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0618" y="1261613"/>
            <a:ext cx="7279255" cy="4505334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4FD2D809-BCF1-4738-09B5-EC7E35E3F0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6702" y="1560485"/>
            <a:ext cx="6127011" cy="4035902"/>
          </a:xfrm>
          <a:prstGeom prst="rect">
            <a:avLst/>
          </a:prstGeom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66FF24BE-BAEB-84E9-D54B-C023317774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07902" y="3343295"/>
            <a:ext cx="4035902" cy="1987468"/>
          </a:xfrm>
          <a:prstGeom prst="rect">
            <a:avLst/>
          </a:prstGeom>
        </p:spPr>
      </p:pic>
      <p:sp>
        <p:nvSpPr>
          <p:cNvPr id="13" name="pole tekstowe 12">
            <a:extLst>
              <a:ext uri="{FF2B5EF4-FFF2-40B4-BE49-F238E27FC236}">
                <a16:creationId xmlns:a16="http://schemas.microsoft.com/office/drawing/2014/main" id="{D4D9DBEF-B047-15E7-D16A-20B3EF38F832}"/>
              </a:ext>
            </a:extLst>
          </p:cNvPr>
          <p:cNvSpPr txBox="1"/>
          <p:nvPr/>
        </p:nvSpPr>
        <p:spPr>
          <a:xfrm>
            <a:off x="3498242" y="3889817"/>
            <a:ext cx="20552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rganizacj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</a:t>
            </a:r>
            <a:r>
              <a:rPr kumimoji="0" lang="pl-PL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zs</a:t>
            </a: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)</a:t>
            </a:r>
          </a:p>
        </p:txBody>
      </p:sp>
      <p:sp>
        <p:nvSpPr>
          <p:cNvPr id="14" name="Strzałka: w dół 13">
            <a:extLst>
              <a:ext uri="{FF2B5EF4-FFF2-40B4-BE49-F238E27FC236}">
                <a16:creationId xmlns:a16="http://schemas.microsoft.com/office/drawing/2014/main" id="{CA0F611B-85EF-6059-2802-BF62D84F9625}"/>
              </a:ext>
            </a:extLst>
          </p:cNvPr>
          <p:cNvSpPr/>
          <p:nvPr/>
        </p:nvSpPr>
        <p:spPr>
          <a:xfrm>
            <a:off x="1707868" y="2209708"/>
            <a:ext cx="1807881" cy="1191877"/>
          </a:xfrm>
          <a:prstGeom prst="downArrow">
            <a:avLst>
              <a:gd name="adj1" fmla="val 50000"/>
              <a:gd name="adj2" fmla="val 53289"/>
            </a:avLst>
          </a:prstGeom>
          <a:solidFill>
            <a:srgbClr val="FFAB40"/>
          </a:solidFill>
          <a:ln w="25400" cap="flat" cmpd="sng" algn="ctr">
            <a:solidFill>
              <a:srgbClr val="FFAB40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pl-PL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rocesy</a:t>
            </a:r>
            <a:endParaRPr kumimoji="0" lang="pl-PL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5" name="Strzałka: w dół 14">
            <a:extLst>
              <a:ext uri="{FF2B5EF4-FFF2-40B4-BE49-F238E27FC236}">
                <a16:creationId xmlns:a16="http://schemas.microsoft.com/office/drawing/2014/main" id="{57303BF1-7E1C-3C1E-DD5D-2F1ED440E81E}"/>
              </a:ext>
            </a:extLst>
          </p:cNvPr>
          <p:cNvSpPr/>
          <p:nvPr/>
        </p:nvSpPr>
        <p:spPr>
          <a:xfrm>
            <a:off x="5536286" y="2261560"/>
            <a:ext cx="1807881" cy="1191877"/>
          </a:xfrm>
          <a:prstGeom prst="downArrow">
            <a:avLst>
              <a:gd name="adj1" fmla="val 50000"/>
              <a:gd name="adj2" fmla="val 53289"/>
            </a:avLst>
          </a:prstGeom>
          <a:solidFill>
            <a:srgbClr val="FFAB40"/>
          </a:solidFill>
          <a:ln w="25400" cap="flat" cmpd="sng" algn="ctr">
            <a:solidFill>
              <a:srgbClr val="FFAB40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pl-PL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truktury</a:t>
            </a:r>
            <a:endParaRPr kumimoji="0" lang="pl-PL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id="{3C056C27-AA62-D932-B9AA-93DBBE158750}"/>
              </a:ext>
            </a:extLst>
          </p:cNvPr>
          <p:cNvSpPr txBox="1"/>
          <p:nvPr/>
        </p:nvSpPr>
        <p:spPr>
          <a:xfrm>
            <a:off x="9344297" y="6395105"/>
            <a:ext cx="4833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/>
              <a:t>Źródło: opracowanie własne</a:t>
            </a:r>
          </a:p>
        </p:txBody>
      </p:sp>
    </p:spTree>
    <p:extLst>
      <p:ext uri="{BB962C8B-B14F-4D97-AF65-F5344CB8AC3E}">
        <p14:creationId xmlns:p14="http://schemas.microsoft.com/office/powerpoint/2010/main" val="3993888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78BA5F19-D5E1-4ECC-BEC2-DF7AEDFD7C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50CC88A9-A661-4C48-866E-8734E511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1269336" cy="2008639"/>
          </a:xfrm>
          <a:custGeom>
            <a:avLst/>
            <a:gdLst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296127 w 11269336"/>
              <a:gd name="connsiteY139" fmla="*/ 2023208 h 2323145"/>
              <a:gd name="connsiteX140" fmla="*/ 5174645 w 11269336"/>
              <a:gd name="connsiteY140" fmla="*/ 2088358 h 2323145"/>
              <a:gd name="connsiteX141" fmla="*/ 5092476 w 11269336"/>
              <a:gd name="connsiteY141" fmla="*/ 2100737 h 2323145"/>
              <a:gd name="connsiteX142" fmla="*/ 5060738 w 11269336"/>
              <a:gd name="connsiteY142" fmla="*/ 2083274 h 2323145"/>
              <a:gd name="connsiteX143" fmla="*/ 4860988 w 11269336"/>
              <a:gd name="connsiteY143" fmla="*/ 2135698 h 2323145"/>
              <a:gd name="connsiteX144" fmla="*/ 4807902 w 11269336"/>
              <a:gd name="connsiteY144" fmla="*/ 2138894 h 2323145"/>
              <a:gd name="connsiteX145" fmla="*/ 4765388 w 11269336"/>
              <a:gd name="connsiteY145" fmla="*/ 2162525 h 2323145"/>
              <a:gd name="connsiteX146" fmla="*/ 4745033 w 11269336"/>
              <a:gd name="connsiteY146" fmla="*/ 2158859 h 2323145"/>
              <a:gd name="connsiteX147" fmla="*/ 4741475 w 11269336"/>
              <a:gd name="connsiteY147" fmla="*/ 2157998 h 2323145"/>
              <a:gd name="connsiteX148" fmla="*/ 4728247 w 11269336"/>
              <a:gd name="connsiteY148" fmla="*/ 2159526 h 2323145"/>
              <a:gd name="connsiteX149" fmla="*/ 4723263 w 11269336"/>
              <a:gd name="connsiteY149" fmla="*/ 2153742 h 2323145"/>
              <a:gd name="connsiteX150" fmla="*/ 4702453 w 11269336"/>
              <a:gd name="connsiteY150" fmla="*/ 2151586 h 2323145"/>
              <a:gd name="connsiteX151" fmla="*/ 4678455 w 11269336"/>
              <a:gd name="connsiteY151" fmla="*/ 2156131 h 2323145"/>
              <a:gd name="connsiteX152" fmla="*/ 4593061 w 11269336"/>
              <a:gd name="connsiteY152" fmla="*/ 2171597 h 2323145"/>
              <a:gd name="connsiteX153" fmla="*/ 4579902 w 11269336"/>
              <a:gd name="connsiteY153" fmla="*/ 2177927 h 2323145"/>
              <a:gd name="connsiteX154" fmla="*/ 4533444 w 11269336"/>
              <a:gd name="connsiteY154" fmla="*/ 2181200 h 2323145"/>
              <a:gd name="connsiteX155" fmla="*/ 4492832 w 11269336"/>
              <a:gd name="connsiteY155" fmla="*/ 2188033 h 2323145"/>
              <a:gd name="connsiteX156" fmla="*/ 4467257 w 11269336"/>
              <a:gd name="connsiteY156" fmla="*/ 2196121 h 2323145"/>
              <a:gd name="connsiteX157" fmla="*/ 4459937 w 11269336"/>
              <a:gd name="connsiteY157" fmla="*/ 2195182 h 2323145"/>
              <a:gd name="connsiteX158" fmla="*/ 4433312 w 11269336"/>
              <a:gd name="connsiteY158" fmla="*/ 2199004 h 2323145"/>
              <a:gd name="connsiteX159" fmla="*/ 4420601 w 11269336"/>
              <a:gd name="connsiteY159" fmla="*/ 2205158 h 2323145"/>
              <a:gd name="connsiteX160" fmla="*/ 4405765 w 11269336"/>
              <a:gd name="connsiteY160" fmla="*/ 2199902 h 2323145"/>
              <a:gd name="connsiteX161" fmla="*/ 4401354 w 11269336"/>
              <a:gd name="connsiteY161" fmla="*/ 2194745 h 2323145"/>
              <a:gd name="connsiteX162" fmla="*/ 4383151 w 11269336"/>
              <a:gd name="connsiteY162" fmla="*/ 2201140 h 2323145"/>
              <a:gd name="connsiteX163" fmla="*/ 4366646 w 11269336"/>
              <a:gd name="connsiteY163" fmla="*/ 2198564 h 2323145"/>
              <a:gd name="connsiteX164" fmla="*/ 4354009 w 11269336"/>
              <a:gd name="connsiteY164" fmla="*/ 2204984 h 2323145"/>
              <a:gd name="connsiteX165" fmla="*/ 4348284 w 11269336"/>
              <a:gd name="connsiteY165" fmla="*/ 2205270 h 2323145"/>
              <a:gd name="connsiteX166" fmla="*/ 4333906 w 11269336"/>
              <a:gd name="connsiteY166" fmla="*/ 2205251 h 2323145"/>
              <a:gd name="connsiteX167" fmla="*/ 4308819 w 11269336"/>
              <a:gd name="connsiteY167" fmla="*/ 2203822 h 2323145"/>
              <a:gd name="connsiteX168" fmla="*/ 4301210 w 11269336"/>
              <a:gd name="connsiteY168" fmla="*/ 2204456 h 2323145"/>
              <a:gd name="connsiteX169" fmla="*/ 4283095 w 11269336"/>
              <a:gd name="connsiteY169" fmla="*/ 2198177 h 2323145"/>
              <a:gd name="connsiteX170" fmla="*/ 4250119 w 11269336"/>
              <a:gd name="connsiteY170" fmla="*/ 2196342 h 2323145"/>
              <a:gd name="connsiteX171" fmla="*/ 4189203 w 11269336"/>
              <a:gd name="connsiteY171" fmla="*/ 2178994 h 2323145"/>
              <a:gd name="connsiteX172" fmla="*/ 4154035 w 11269336"/>
              <a:gd name="connsiteY172" fmla="*/ 2171950 h 2323145"/>
              <a:gd name="connsiteX173" fmla="*/ 4129569 w 11269336"/>
              <a:gd name="connsiteY173" fmla="*/ 2163850 h 2323145"/>
              <a:gd name="connsiteX174" fmla="*/ 4061250 w 11269336"/>
              <a:gd name="connsiteY174" fmla="*/ 2159236 h 2323145"/>
              <a:gd name="connsiteX175" fmla="*/ 3945480 w 11269336"/>
              <a:gd name="connsiteY175" fmla="*/ 2158279 h 2323145"/>
              <a:gd name="connsiteX176" fmla="*/ 3921468 w 11269336"/>
              <a:gd name="connsiteY176" fmla="*/ 2156588 h 2323145"/>
              <a:gd name="connsiteX177" fmla="*/ 3903348 w 11269336"/>
              <a:gd name="connsiteY177" fmla="*/ 2149220 h 2323145"/>
              <a:gd name="connsiteX178" fmla="*/ 3901342 w 11269336"/>
              <a:gd name="connsiteY178" fmla="*/ 2142355 h 2323145"/>
              <a:gd name="connsiteX179" fmla="*/ 3888539 w 11269336"/>
              <a:gd name="connsiteY179" fmla="*/ 2140476 h 2323145"/>
              <a:gd name="connsiteX180" fmla="*/ 3885662 w 11269336"/>
              <a:gd name="connsiteY180" fmla="*/ 2138740 h 2323145"/>
              <a:gd name="connsiteX181" fmla="*/ 3868627 w 11269336"/>
              <a:gd name="connsiteY181" fmla="*/ 2130023 h 2323145"/>
              <a:gd name="connsiteX182" fmla="*/ 3819177 w 11269336"/>
              <a:gd name="connsiteY182" fmla="*/ 2142111 h 2323145"/>
              <a:gd name="connsiteX183" fmla="*/ 3769100 w 11269336"/>
              <a:gd name="connsiteY183" fmla="*/ 2131731 h 2323145"/>
              <a:gd name="connsiteX184" fmla="*/ 3562752 w 11269336"/>
              <a:gd name="connsiteY184" fmla="*/ 2131785 h 2323145"/>
              <a:gd name="connsiteX185" fmla="*/ 3541402 w 11269336"/>
              <a:gd name="connsiteY185" fmla="*/ 2106821 h 2323145"/>
              <a:gd name="connsiteX186" fmla="*/ 3460591 w 11269336"/>
              <a:gd name="connsiteY186" fmla="*/ 2097951 h 2323145"/>
              <a:gd name="connsiteX187" fmla="*/ 3320348 w 11269336"/>
              <a:gd name="connsiteY187" fmla="*/ 2130191 h 2323145"/>
              <a:gd name="connsiteX188" fmla="*/ 3170922 w 11269336"/>
              <a:gd name="connsiteY188" fmla="*/ 2115957 h 2323145"/>
              <a:gd name="connsiteX189" fmla="*/ 3156256 w 11269336"/>
              <a:gd name="connsiteY189" fmla="*/ 2124773 h 2323145"/>
              <a:gd name="connsiteX190" fmla="*/ 3140298 w 11269336"/>
              <a:gd name="connsiteY190" fmla="*/ 2129182 h 2323145"/>
              <a:gd name="connsiteX191" fmla="*/ 3138514 w 11269336"/>
              <a:gd name="connsiteY191" fmla="*/ 2128069 h 2323145"/>
              <a:gd name="connsiteX192" fmla="*/ 3120467 w 11269336"/>
              <a:gd name="connsiteY192" fmla="*/ 2128281 h 2323145"/>
              <a:gd name="connsiteX193" fmla="*/ 3116175 w 11269336"/>
              <a:gd name="connsiteY193" fmla="*/ 2131633 h 2323145"/>
              <a:gd name="connsiteX194" fmla="*/ 3103685 w 11269336"/>
              <a:gd name="connsiteY194" fmla="*/ 2132814 h 2323145"/>
              <a:gd name="connsiteX195" fmla="*/ 3078794 w 11269336"/>
              <a:gd name="connsiteY195" fmla="*/ 2137935 h 2323145"/>
              <a:gd name="connsiteX196" fmla="*/ 3074407 w 11269336"/>
              <a:gd name="connsiteY196" fmla="*/ 2136274 h 2323145"/>
              <a:gd name="connsiteX197" fmla="*/ 3037285 w 11269336"/>
              <a:gd name="connsiteY197" fmla="*/ 2139919 h 2323145"/>
              <a:gd name="connsiteX198" fmla="*/ 3036901 w 11269336"/>
              <a:gd name="connsiteY198" fmla="*/ 2138726 h 2323145"/>
              <a:gd name="connsiteX199" fmla="*/ 3026996 w 11269336"/>
              <a:gd name="connsiteY199" fmla="*/ 2134322 h 2323145"/>
              <a:gd name="connsiteX200" fmla="*/ 3007772 w 11269336"/>
              <a:gd name="connsiteY200" fmla="*/ 2128742 h 2323145"/>
              <a:gd name="connsiteX201" fmla="*/ 2965030 w 11269336"/>
              <a:gd name="connsiteY201" fmla="*/ 2100494 h 2323145"/>
              <a:gd name="connsiteX202" fmla="*/ 2926342 w 11269336"/>
              <a:gd name="connsiteY202" fmla="*/ 2104155 h 2323145"/>
              <a:gd name="connsiteX203" fmla="*/ 2918608 w 11269336"/>
              <a:gd name="connsiteY203" fmla="*/ 2104215 h 2323145"/>
              <a:gd name="connsiteX204" fmla="*/ 2918475 w 11269336"/>
              <a:gd name="connsiteY204" fmla="*/ 2103937 h 2323145"/>
              <a:gd name="connsiteX205" fmla="*/ 2910360 w 11269336"/>
              <a:gd name="connsiteY205" fmla="*/ 2103444 h 2323145"/>
              <a:gd name="connsiteX206" fmla="*/ 2904507 w 11269336"/>
              <a:gd name="connsiteY206" fmla="*/ 2104326 h 2323145"/>
              <a:gd name="connsiteX207" fmla="*/ 2889503 w 11269336"/>
              <a:gd name="connsiteY207" fmla="*/ 2104443 h 2323145"/>
              <a:gd name="connsiteX208" fmla="*/ 2884480 w 11269336"/>
              <a:gd name="connsiteY208" fmla="*/ 2102626 h 2323145"/>
              <a:gd name="connsiteX209" fmla="*/ 2882689 w 11269336"/>
              <a:gd name="connsiteY209" fmla="*/ 2099228 h 2323145"/>
              <a:gd name="connsiteX210" fmla="*/ 2881291 w 11269336"/>
              <a:gd name="connsiteY210" fmla="*/ 2099618 h 2323145"/>
              <a:gd name="connsiteX211" fmla="*/ 2853979 w 11269336"/>
              <a:gd name="connsiteY211" fmla="*/ 2090388 h 2323145"/>
              <a:gd name="connsiteX212" fmla="*/ 2791790 w 11269336"/>
              <a:gd name="connsiteY212" fmla="*/ 2080332 h 2323145"/>
              <a:gd name="connsiteX213" fmla="*/ 2755844 w 11269336"/>
              <a:gd name="connsiteY213" fmla="*/ 2078874 h 2323145"/>
              <a:gd name="connsiteX214" fmla="*/ 2657742 w 11269336"/>
              <a:gd name="connsiteY214" fmla="*/ 2070179 h 2323145"/>
              <a:gd name="connsiteX215" fmla="*/ 2559549 w 11269336"/>
              <a:gd name="connsiteY215" fmla="*/ 2057873 h 2323145"/>
              <a:gd name="connsiteX216" fmla="*/ 2512054 w 11269336"/>
              <a:gd name="connsiteY216" fmla="*/ 2031671 h 2323145"/>
              <a:gd name="connsiteX217" fmla="*/ 2506437 w 11269336"/>
              <a:gd name="connsiteY217" fmla="*/ 2030918 h 2323145"/>
              <a:gd name="connsiteX218" fmla="*/ 2491752 w 11269336"/>
              <a:gd name="connsiteY218" fmla="*/ 2033906 h 2323145"/>
              <a:gd name="connsiteX219" fmla="*/ 2486338 w 11269336"/>
              <a:gd name="connsiteY219" fmla="*/ 2035862 h 2323145"/>
              <a:gd name="connsiteX220" fmla="*/ 2478186 w 11269336"/>
              <a:gd name="connsiteY220" fmla="*/ 2036953 h 2323145"/>
              <a:gd name="connsiteX221" fmla="*/ 2477950 w 11269336"/>
              <a:gd name="connsiteY221" fmla="*/ 2036715 h 2323145"/>
              <a:gd name="connsiteX222" fmla="*/ 2470381 w 11269336"/>
              <a:gd name="connsiteY222" fmla="*/ 2038256 h 2323145"/>
              <a:gd name="connsiteX223" fmla="*/ 2433781 w 11269336"/>
              <a:gd name="connsiteY223" fmla="*/ 2049140 h 2323145"/>
              <a:gd name="connsiteX224" fmla="*/ 2381172 w 11269336"/>
              <a:gd name="connsiteY224" fmla="*/ 2030645 h 2323145"/>
              <a:gd name="connsiteX225" fmla="*/ 2360198 w 11269336"/>
              <a:gd name="connsiteY225" fmla="*/ 2029059 h 2323145"/>
              <a:gd name="connsiteX226" fmla="*/ 2348815 w 11269336"/>
              <a:gd name="connsiteY226" fmla="*/ 2026798 h 2323145"/>
              <a:gd name="connsiteX227" fmla="*/ 2347988 w 11269336"/>
              <a:gd name="connsiteY227" fmla="*/ 2025745 h 2323145"/>
              <a:gd name="connsiteX228" fmla="*/ 2312920 w 11269336"/>
              <a:gd name="connsiteY228" fmla="*/ 2036311 h 2323145"/>
              <a:gd name="connsiteX229" fmla="*/ 2307986 w 11269336"/>
              <a:gd name="connsiteY229" fmla="*/ 2035583 h 2323145"/>
              <a:gd name="connsiteX230" fmla="*/ 2285481 w 11269336"/>
              <a:gd name="connsiteY230" fmla="*/ 2045197 h 2323145"/>
              <a:gd name="connsiteX231" fmla="*/ 2273666 w 11269336"/>
              <a:gd name="connsiteY231" fmla="*/ 2048710 h 2323145"/>
              <a:gd name="connsiteX232" fmla="*/ 2270719 w 11269336"/>
              <a:gd name="connsiteY232" fmla="*/ 2052702 h 2323145"/>
              <a:gd name="connsiteX233" fmla="*/ 2253080 w 11269336"/>
              <a:gd name="connsiteY233" fmla="*/ 2056363 h 2323145"/>
              <a:gd name="connsiteX234" fmla="*/ 2250906 w 11269336"/>
              <a:gd name="connsiteY234" fmla="*/ 2055654 h 2323145"/>
              <a:gd name="connsiteX235" fmla="*/ 2236905 w 11269336"/>
              <a:gd name="connsiteY235" fmla="*/ 2062882 h 2323145"/>
              <a:gd name="connsiteX236" fmla="*/ 2225830 w 11269336"/>
              <a:gd name="connsiteY236" fmla="*/ 2074027 h 2323145"/>
              <a:gd name="connsiteX237" fmla="*/ 2073776 w 11269336"/>
              <a:gd name="connsiteY237" fmla="*/ 2089244 h 2323145"/>
              <a:gd name="connsiteX238" fmla="*/ 1948256 w 11269336"/>
              <a:gd name="connsiteY238" fmla="*/ 2146616 h 2323145"/>
              <a:gd name="connsiteX239" fmla="*/ 1865582 w 11269336"/>
              <a:gd name="connsiteY239" fmla="*/ 2153738 h 2323145"/>
              <a:gd name="connsiteX240" fmla="*/ 1835210 w 11269336"/>
              <a:gd name="connsiteY240" fmla="*/ 2134244 h 2323145"/>
              <a:gd name="connsiteX241" fmla="*/ 1632661 w 11269336"/>
              <a:gd name="connsiteY241" fmla="*/ 2173882 h 2323145"/>
              <a:gd name="connsiteX242" fmla="*/ 1579590 w 11269336"/>
              <a:gd name="connsiteY242" fmla="*/ 2173680 h 2323145"/>
              <a:gd name="connsiteX243" fmla="*/ 1535601 w 11269336"/>
              <a:gd name="connsiteY243" fmla="*/ 2194590 h 2323145"/>
              <a:gd name="connsiteX244" fmla="*/ 1515594 w 11269336"/>
              <a:gd name="connsiteY244" fmla="*/ 2189622 h 2323145"/>
              <a:gd name="connsiteX245" fmla="*/ 1512113 w 11269336"/>
              <a:gd name="connsiteY245" fmla="*/ 2188534 h 2323145"/>
              <a:gd name="connsiteX246" fmla="*/ 1498838 w 11269336"/>
              <a:gd name="connsiteY246" fmla="*/ 2189213 h 2323145"/>
              <a:gd name="connsiteX247" fmla="*/ 1494279 w 11269336"/>
              <a:gd name="connsiteY247" fmla="*/ 2183112 h 2323145"/>
              <a:gd name="connsiteX248" fmla="*/ 1473714 w 11269336"/>
              <a:gd name="connsiteY248" fmla="*/ 2179625 h 2323145"/>
              <a:gd name="connsiteX249" fmla="*/ 1449503 w 11269336"/>
              <a:gd name="connsiteY249" fmla="*/ 2182633 h 2323145"/>
              <a:gd name="connsiteX250" fmla="*/ 1335495 w 11269336"/>
              <a:gd name="connsiteY250" fmla="*/ 2203940 h 2323145"/>
              <a:gd name="connsiteX251" fmla="*/ 1266687 w 11269336"/>
              <a:gd name="connsiteY251" fmla="*/ 2212688 h 2323145"/>
              <a:gd name="connsiteX252" fmla="*/ 1239614 w 11269336"/>
              <a:gd name="connsiteY252" fmla="*/ 2209727 h 2323145"/>
              <a:gd name="connsiteX253" fmla="*/ 1202436 w 11269336"/>
              <a:gd name="connsiteY253" fmla="*/ 2209817 h 2323145"/>
              <a:gd name="connsiteX254" fmla="*/ 1136097 w 11269336"/>
              <a:gd name="connsiteY254" fmla="*/ 2205112 h 2323145"/>
              <a:gd name="connsiteX255" fmla="*/ 1048229 w 11269336"/>
              <a:gd name="connsiteY255" fmla="*/ 2207249 h 2323145"/>
              <a:gd name="connsiteX256" fmla="*/ 988232 w 11269336"/>
              <a:gd name="connsiteY256" fmla="*/ 2235635 h 2323145"/>
              <a:gd name="connsiteX257" fmla="*/ 981959 w 11269336"/>
              <a:gd name="connsiteY257" fmla="*/ 2231607 h 2323145"/>
              <a:gd name="connsiteX258" fmla="*/ 938600 w 11269336"/>
              <a:gd name="connsiteY258" fmla="*/ 2238113 h 2323145"/>
              <a:gd name="connsiteX259" fmla="*/ 791788 w 11269336"/>
              <a:gd name="connsiteY259" fmla="*/ 2293224 h 2323145"/>
              <a:gd name="connsiteX260" fmla="*/ 706914 w 11269336"/>
              <a:gd name="connsiteY260" fmla="*/ 2305046 h 2323145"/>
              <a:gd name="connsiteX261" fmla="*/ 675971 w 11269336"/>
              <a:gd name="connsiteY261" fmla="*/ 2304030 h 2323145"/>
              <a:gd name="connsiteX262" fmla="*/ 624180 w 11269336"/>
              <a:gd name="connsiteY262" fmla="*/ 2302650 h 2323145"/>
              <a:gd name="connsiteX263" fmla="*/ 583453 w 11269336"/>
              <a:gd name="connsiteY263" fmla="*/ 2288788 h 2323145"/>
              <a:gd name="connsiteX264" fmla="*/ 540946 w 11269336"/>
              <a:gd name="connsiteY264" fmla="*/ 2292721 h 2323145"/>
              <a:gd name="connsiteX265" fmla="*/ 533680 w 11269336"/>
              <a:gd name="connsiteY265" fmla="*/ 2310233 h 2323145"/>
              <a:gd name="connsiteX266" fmla="*/ 487366 w 11269336"/>
              <a:gd name="connsiteY266" fmla="*/ 2309053 h 2323145"/>
              <a:gd name="connsiteX267" fmla="*/ 416820 w 11269336"/>
              <a:gd name="connsiteY267" fmla="*/ 2305443 h 2323145"/>
              <a:gd name="connsiteX268" fmla="*/ 376805 w 11269336"/>
              <a:gd name="connsiteY268" fmla="*/ 2307647 h 2323145"/>
              <a:gd name="connsiteX269" fmla="*/ 266777 w 11269336"/>
              <a:gd name="connsiteY269" fmla="*/ 2309012 h 2323145"/>
              <a:gd name="connsiteX270" fmla="*/ 156013 w 11269336"/>
              <a:gd name="connsiteY270" fmla="*/ 2306832 h 2323145"/>
              <a:gd name="connsiteX271" fmla="*/ 87258 w 11269336"/>
              <a:gd name="connsiteY271" fmla="*/ 2285511 h 2323145"/>
              <a:gd name="connsiteX272" fmla="*/ 23798 w 11269336"/>
              <a:gd name="connsiteY272" fmla="*/ 2281822 h 2323145"/>
              <a:gd name="connsiteX273" fmla="*/ 0 w 11269336"/>
              <a:gd name="connsiteY273" fmla="*/ 2285369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296127 w 11269336"/>
              <a:gd name="connsiteY139" fmla="*/ 2023208 h 2323145"/>
              <a:gd name="connsiteX140" fmla="*/ 5092476 w 11269336"/>
              <a:gd name="connsiteY140" fmla="*/ 2100737 h 2323145"/>
              <a:gd name="connsiteX141" fmla="*/ 5060738 w 11269336"/>
              <a:gd name="connsiteY141" fmla="*/ 2083274 h 2323145"/>
              <a:gd name="connsiteX142" fmla="*/ 4860988 w 11269336"/>
              <a:gd name="connsiteY142" fmla="*/ 2135698 h 2323145"/>
              <a:gd name="connsiteX143" fmla="*/ 4807902 w 11269336"/>
              <a:gd name="connsiteY143" fmla="*/ 2138894 h 2323145"/>
              <a:gd name="connsiteX144" fmla="*/ 4765388 w 11269336"/>
              <a:gd name="connsiteY144" fmla="*/ 2162525 h 2323145"/>
              <a:gd name="connsiteX145" fmla="*/ 4745033 w 11269336"/>
              <a:gd name="connsiteY145" fmla="*/ 2158859 h 2323145"/>
              <a:gd name="connsiteX146" fmla="*/ 4741475 w 11269336"/>
              <a:gd name="connsiteY146" fmla="*/ 2157998 h 2323145"/>
              <a:gd name="connsiteX147" fmla="*/ 4728247 w 11269336"/>
              <a:gd name="connsiteY147" fmla="*/ 2159526 h 2323145"/>
              <a:gd name="connsiteX148" fmla="*/ 4723263 w 11269336"/>
              <a:gd name="connsiteY148" fmla="*/ 2153742 h 2323145"/>
              <a:gd name="connsiteX149" fmla="*/ 4702453 w 11269336"/>
              <a:gd name="connsiteY149" fmla="*/ 2151586 h 2323145"/>
              <a:gd name="connsiteX150" fmla="*/ 4678455 w 11269336"/>
              <a:gd name="connsiteY150" fmla="*/ 2156131 h 2323145"/>
              <a:gd name="connsiteX151" fmla="*/ 4593061 w 11269336"/>
              <a:gd name="connsiteY151" fmla="*/ 2171597 h 2323145"/>
              <a:gd name="connsiteX152" fmla="*/ 4579902 w 11269336"/>
              <a:gd name="connsiteY152" fmla="*/ 2177927 h 2323145"/>
              <a:gd name="connsiteX153" fmla="*/ 4533444 w 11269336"/>
              <a:gd name="connsiteY153" fmla="*/ 2181200 h 2323145"/>
              <a:gd name="connsiteX154" fmla="*/ 4492832 w 11269336"/>
              <a:gd name="connsiteY154" fmla="*/ 2188033 h 2323145"/>
              <a:gd name="connsiteX155" fmla="*/ 4467257 w 11269336"/>
              <a:gd name="connsiteY155" fmla="*/ 2196121 h 2323145"/>
              <a:gd name="connsiteX156" fmla="*/ 4459937 w 11269336"/>
              <a:gd name="connsiteY156" fmla="*/ 2195182 h 2323145"/>
              <a:gd name="connsiteX157" fmla="*/ 4433312 w 11269336"/>
              <a:gd name="connsiteY157" fmla="*/ 2199004 h 2323145"/>
              <a:gd name="connsiteX158" fmla="*/ 4420601 w 11269336"/>
              <a:gd name="connsiteY158" fmla="*/ 2205158 h 2323145"/>
              <a:gd name="connsiteX159" fmla="*/ 4405765 w 11269336"/>
              <a:gd name="connsiteY159" fmla="*/ 2199902 h 2323145"/>
              <a:gd name="connsiteX160" fmla="*/ 4401354 w 11269336"/>
              <a:gd name="connsiteY160" fmla="*/ 2194745 h 2323145"/>
              <a:gd name="connsiteX161" fmla="*/ 4383151 w 11269336"/>
              <a:gd name="connsiteY161" fmla="*/ 2201140 h 2323145"/>
              <a:gd name="connsiteX162" fmla="*/ 4366646 w 11269336"/>
              <a:gd name="connsiteY162" fmla="*/ 2198564 h 2323145"/>
              <a:gd name="connsiteX163" fmla="*/ 4354009 w 11269336"/>
              <a:gd name="connsiteY163" fmla="*/ 2204984 h 2323145"/>
              <a:gd name="connsiteX164" fmla="*/ 4348284 w 11269336"/>
              <a:gd name="connsiteY164" fmla="*/ 2205270 h 2323145"/>
              <a:gd name="connsiteX165" fmla="*/ 4333906 w 11269336"/>
              <a:gd name="connsiteY165" fmla="*/ 2205251 h 2323145"/>
              <a:gd name="connsiteX166" fmla="*/ 4308819 w 11269336"/>
              <a:gd name="connsiteY166" fmla="*/ 2203822 h 2323145"/>
              <a:gd name="connsiteX167" fmla="*/ 4301210 w 11269336"/>
              <a:gd name="connsiteY167" fmla="*/ 2204456 h 2323145"/>
              <a:gd name="connsiteX168" fmla="*/ 4283095 w 11269336"/>
              <a:gd name="connsiteY168" fmla="*/ 2198177 h 2323145"/>
              <a:gd name="connsiteX169" fmla="*/ 4250119 w 11269336"/>
              <a:gd name="connsiteY169" fmla="*/ 2196342 h 2323145"/>
              <a:gd name="connsiteX170" fmla="*/ 4189203 w 11269336"/>
              <a:gd name="connsiteY170" fmla="*/ 2178994 h 2323145"/>
              <a:gd name="connsiteX171" fmla="*/ 4154035 w 11269336"/>
              <a:gd name="connsiteY171" fmla="*/ 2171950 h 2323145"/>
              <a:gd name="connsiteX172" fmla="*/ 4129569 w 11269336"/>
              <a:gd name="connsiteY172" fmla="*/ 2163850 h 2323145"/>
              <a:gd name="connsiteX173" fmla="*/ 4061250 w 11269336"/>
              <a:gd name="connsiteY173" fmla="*/ 2159236 h 2323145"/>
              <a:gd name="connsiteX174" fmla="*/ 3945480 w 11269336"/>
              <a:gd name="connsiteY174" fmla="*/ 2158279 h 2323145"/>
              <a:gd name="connsiteX175" fmla="*/ 3921468 w 11269336"/>
              <a:gd name="connsiteY175" fmla="*/ 2156588 h 2323145"/>
              <a:gd name="connsiteX176" fmla="*/ 3903348 w 11269336"/>
              <a:gd name="connsiteY176" fmla="*/ 2149220 h 2323145"/>
              <a:gd name="connsiteX177" fmla="*/ 3901342 w 11269336"/>
              <a:gd name="connsiteY177" fmla="*/ 2142355 h 2323145"/>
              <a:gd name="connsiteX178" fmla="*/ 3888539 w 11269336"/>
              <a:gd name="connsiteY178" fmla="*/ 2140476 h 2323145"/>
              <a:gd name="connsiteX179" fmla="*/ 3885662 w 11269336"/>
              <a:gd name="connsiteY179" fmla="*/ 2138740 h 2323145"/>
              <a:gd name="connsiteX180" fmla="*/ 3868627 w 11269336"/>
              <a:gd name="connsiteY180" fmla="*/ 2130023 h 2323145"/>
              <a:gd name="connsiteX181" fmla="*/ 3819177 w 11269336"/>
              <a:gd name="connsiteY181" fmla="*/ 2142111 h 2323145"/>
              <a:gd name="connsiteX182" fmla="*/ 3769100 w 11269336"/>
              <a:gd name="connsiteY182" fmla="*/ 2131731 h 2323145"/>
              <a:gd name="connsiteX183" fmla="*/ 3562752 w 11269336"/>
              <a:gd name="connsiteY183" fmla="*/ 2131785 h 2323145"/>
              <a:gd name="connsiteX184" fmla="*/ 3541402 w 11269336"/>
              <a:gd name="connsiteY184" fmla="*/ 2106821 h 2323145"/>
              <a:gd name="connsiteX185" fmla="*/ 3460591 w 11269336"/>
              <a:gd name="connsiteY185" fmla="*/ 2097951 h 2323145"/>
              <a:gd name="connsiteX186" fmla="*/ 3320348 w 11269336"/>
              <a:gd name="connsiteY186" fmla="*/ 2130191 h 2323145"/>
              <a:gd name="connsiteX187" fmla="*/ 3170922 w 11269336"/>
              <a:gd name="connsiteY187" fmla="*/ 2115957 h 2323145"/>
              <a:gd name="connsiteX188" fmla="*/ 3156256 w 11269336"/>
              <a:gd name="connsiteY188" fmla="*/ 2124773 h 2323145"/>
              <a:gd name="connsiteX189" fmla="*/ 3140298 w 11269336"/>
              <a:gd name="connsiteY189" fmla="*/ 2129182 h 2323145"/>
              <a:gd name="connsiteX190" fmla="*/ 3138514 w 11269336"/>
              <a:gd name="connsiteY190" fmla="*/ 2128069 h 2323145"/>
              <a:gd name="connsiteX191" fmla="*/ 3120467 w 11269336"/>
              <a:gd name="connsiteY191" fmla="*/ 2128281 h 2323145"/>
              <a:gd name="connsiteX192" fmla="*/ 3116175 w 11269336"/>
              <a:gd name="connsiteY192" fmla="*/ 2131633 h 2323145"/>
              <a:gd name="connsiteX193" fmla="*/ 3103685 w 11269336"/>
              <a:gd name="connsiteY193" fmla="*/ 2132814 h 2323145"/>
              <a:gd name="connsiteX194" fmla="*/ 3078794 w 11269336"/>
              <a:gd name="connsiteY194" fmla="*/ 2137935 h 2323145"/>
              <a:gd name="connsiteX195" fmla="*/ 3074407 w 11269336"/>
              <a:gd name="connsiteY195" fmla="*/ 2136274 h 2323145"/>
              <a:gd name="connsiteX196" fmla="*/ 3037285 w 11269336"/>
              <a:gd name="connsiteY196" fmla="*/ 2139919 h 2323145"/>
              <a:gd name="connsiteX197" fmla="*/ 3036901 w 11269336"/>
              <a:gd name="connsiteY197" fmla="*/ 2138726 h 2323145"/>
              <a:gd name="connsiteX198" fmla="*/ 3026996 w 11269336"/>
              <a:gd name="connsiteY198" fmla="*/ 2134322 h 2323145"/>
              <a:gd name="connsiteX199" fmla="*/ 3007772 w 11269336"/>
              <a:gd name="connsiteY199" fmla="*/ 2128742 h 2323145"/>
              <a:gd name="connsiteX200" fmla="*/ 2965030 w 11269336"/>
              <a:gd name="connsiteY200" fmla="*/ 2100494 h 2323145"/>
              <a:gd name="connsiteX201" fmla="*/ 2926342 w 11269336"/>
              <a:gd name="connsiteY201" fmla="*/ 2104155 h 2323145"/>
              <a:gd name="connsiteX202" fmla="*/ 2918608 w 11269336"/>
              <a:gd name="connsiteY202" fmla="*/ 2104215 h 2323145"/>
              <a:gd name="connsiteX203" fmla="*/ 2918475 w 11269336"/>
              <a:gd name="connsiteY203" fmla="*/ 2103937 h 2323145"/>
              <a:gd name="connsiteX204" fmla="*/ 2910360 w 11269336"/>
              <a:gd name="connsiteY204" fmla="*/ 2103444 h 2323145"/>
              <a:gd name="connsiteX205" fmla="*/ 2904507 w 11269336"/>
              <a:gd name="connsiteY205" fmla="*/ 2104326 h 2323145"/>
              <a:gd name="connsiteX206" fmla="*/ 2889503 w 11269336"/>
              <a:gd name="connsiteY206" fmla="*/ 2104443 h 2323145"/>
              <a:gd name="connsiteX207" fmla="*/ 2884480 w 11269336"/>
              <a:gd name="connsiteY207" fmla="*/ 2102626 h 2323145"/>
              <a:gd name="connsiteX208" fmla="*/ 2882689 w 11269336"/>
              <a:gd name="connsiteY208" fmla="*/ 2099228 h 2323145"/>
              <a:gd name="connsiteX209" fmla="*/ 2881291 w 11269336"/>
              <a:gd name="connsiteY209" fmla="*/ 2099618 h 2323145"/>
              <a:gd name="connsiteX210" fmla="*/ 2853979 w 11269336"/>
              <a:gd name="connsiteY210" fmla="*/ 2090388 h 2323145"/>
              <a:gd name="connsiteX211" fmla="*/ 2791790 w 11269336"/>
              <a:gd name="connsiteY211" fmla="*/ 2080332 h 2323145"/>
              <a:gd name="connsiteX212" fmla="*/ 2755844 w 11269336"/>
              <a:gd name="connsiteY212" fmla="*/ 2078874 h 2323145"/>
              <a:gd name="connsiteX213" fmla="*/ 2657742 w 11269336"/>
              <a:gd name="connsiteY213" fmla="*/ 2070179 h 2323145"/>
              <a:gd name="connsiteX214" fmla="*/ 2559549 w 11269336"/>
              <a:gd name="connsiteY214" fmla="*/ 2057873 h 2323145"/>
              <a:gd name="connsiteX215" fmla="*/ 2512054 w 11269336"/>
              <a:gd name="connsiteY215" fmla="*/ 2031671 h 2323145"/>
              <a:gd name="connsiteX216" fmla="*/ 2506437 w 11269336"/>
              <a:gd name="connsiteY216" fmla="*/ 2030918 h 2323145"/>
              <a:gd name="connsiteX217" fmla="*/ 2491752 w 11269336"/>
              <a:gd name="connsiteY217" fmla="*/ 2033906 h 2323145"/>
              <a:gd name="connsiteX218" fmla="*/ 2486338 w 11269336"/>
              <a:gd name="connsiteY218" fmla="*/ 2035862 h 2323145"/>
              <a:gd name="connsiteX219" fmla="*/ 2478186 w 11269336"/>
              <a:gd name="connsiteY219" fmla="*/ 2036953 h 2323145"/>
              <a:gd name="connsiteX220" fmla="*/ 2477950 w 11269336"/>
              <a:gd name="connsiteY220" fmla="*/ 2036715 h 2323145"/>
              <a:gd name="connsiteX221" fmla="*/ 2470381 w 11269336"/>
              <a:gd name="connsiteY221" fmla="*/ 2038256 h 2323145"/>
              <a:gd name="connsiteX222" fmla="*/ 2433781 w 11269336"/>
              <a:gd name="connsiteY222" fmla="*/ 2049140 h 2323145"/>
              <a:gd name="connsiteX223" fmla="*/ 2381172 w 11269336"/>
              <a:gd name="connsiteY223" fmla="*/ 2030645 h 2323145"/>
              <a:gd name="connsiteX224" fmla="*/ 2360198 w 11269336"/>
              <a:gd name="connsiteY224" fmla="*/ 2029059 h 2323145"/>
              <a:gd name="connsiteX225" fmla="*/ 2348815 w 11269336"/>
              <a:gd name="connsiteY225" fmla="*/ 2026798 h 2323145"/>
              <a:gd name="connsiteX226" fmla="*/ 2347988 w 11269336"/>
              <a:gd name="connsiteY226" fmla="*/ 2025745 h 2323145"/>
              <a:gd name="connsiteX227" fmla="*/ 2312920 w 11269336"/>
              <a:gd name="connsiteY227" fmla="*/ 2036311 h 2323145"/>
              <a:gd name="connsiteX228" fmla="*/ 2307986 w 11269336"/>
              <a:gd name="connsiteY228" fmla="*/ 2035583 h 2323145"/>
              <a:gd name="connsiteX229" fmla="*/ 2285481 w 11269336"/>
              <a:gd name="connsiteY229" fmla="*/ 2045197 h 2323145"/>
              <a:gd name="connsiteX230" fmla="*/ 2273666 w 11269336"/>
              <a:gd name="connsiteY230" fmla="*/ 2048710 h 2323145"/>
              <a:gd name="connsiteX231" fmla="*/ 2270719 w 11269336"/>
              <a:gd name="connsiteY231" fmla="*/ 2052702 h 2323145"/>
              <a:gd name="connsiteX232" fmla="*/ 2253080 w 11269336"/>
              <a:gd name="connsiteY232" fmla="*/ 2056363 h 2323145"/>
              <a:gd name="connsiteX233" fmla="*/ 2250906 w 11269336"/>
              <a:gd name="connsiteY233" fmla="*/ 2055654 h 2323145"/>
              <a:gd name="connsiteX234" fmla="*/ 2236905 w 11269336"/>
              <a:gd name="connsiteY234" fmla="*/ 2062882 h 2323145"/>
              <a:gd name="connsiteX235" fmla="*/ 2225830 w 11269336"/>
              <a:gd name="connsiteY235" fmla="*/ 2074027 h 2323145"/>
              <a:gd name="connsiteX236" fmla="*/ 2073776 w 11269336"/>
              <a:gd name="connsiteY236" fmla="*/ 2089244 h 2323145"/>
              <a:gd name="connsiteX237" fmla="*/ 1948256 w 11269336"/>
              <a:gd name="connsiteY237" fmla="*/ 2146616 h 2323145"/>
              <a:gd name="connsiteX238" fmla="*/ 1865582 w 11269336"/>
              <a:gd name="connsiteY238" fmla="*/ 2153738 h 2323145"/>
              <a:gd name="connsiteX239" fmla="*/ 1835210 w 11269336"/>
              <a:gd name="connsiteY239" fmla="*/ 2134244 h 2323145"/>
              <a:gd name="connsiteX240" fmla="*/ 1632661 w 11269336"/>
              <a:gd name="connsiteY240" fmla="*/ 2173882 h 2323145"/>
              <a:gd name="connsiteX241" fmla="*/ 1579590 w 11269336"/>
              <a:gd name="connsiteY241" fmla="*/ 2173680 h 2323145"/>
              <a:gd name="connsiteX242" fmla="*/ 1535601 w 11269336"/>
              <a:gd name="connsiteY242" fmla="*/ 2194590 h 2323145"/>
              <a:gd name="connsiteX243" fmla="*/ 1515594 w 11269336"/>
              <a:gd name="connsiteY243" fmla="*/ 2189622 h 2323145"/>
              <a:gd name="connsiteX244" fmla="*/ 1512113 w 11269336"/>
              <a:gd name="connsiteY244" fmla="*/ 2188534 h 2323145"/>
              <a:gd name="connsiteX245" fmla="*/ 1498838 w 11269336"/>
              <a:gd name="connsiteY245" fmla="*/ 2189213 h 2323145"/>
              <a:gd name="connsiteX246" fmla="*/ 1494279 w 11269336"/>
              <a:gd name="connsiteY246" fmla="*/ 2183112 h 2323145"/>
              <a:gd name="connsiteX247" fmla="*/ 1473714 w 11269336"/>
              <a:gd name="connsiteY247" fmla="*/ 2179625 h 2323145"/>
              <a:gd name="connsiteX248" fmla="*/ 1449503 w 11269336"/>
              <a:gd name="connsiteY248" fmla="*/ 2182633 h 2323145"/>
              <a:gd name="connsiteX249" fmla="*/ 1335495 w 11269336"/>
              <a:gd name="connsiteY249" fmla="*/ 2203940 h 2323145"/>
              <a:gd name="connsiteX250" fmla="*/ 1266687 w 11269336"/>
              <a:gd name="connsiteY250" fmla="*/ 2212688 h 2323145"/>
              <a:gd name="connsiteX251" fmla="*/ 1239614 w 11269336"/>
              <a:gd name="connsiteY251" fmla="*/ 2209727 h 2323145"/>
              <a:gd name="connsiteX252" fmla="*/ 1202436 w 11269336"/>
              <a:gd name="connsiteY252" fmla="*/ 2209817 h 2323145"/>
              <a:gd name="connsiteX253" fmla="*/ 1136097 w 11269336"/>
              <a:gd name="connsiteY253" fmla="*/ 2205112 h 2323145"/>
              <a:gd name="connsiteX254" fmla="*/ 1048229 w 11269336"/>
              <a:gd name="connsiteY254" fmla="*/ 2207249 h 2323145"/>
              <a:gd name="connsiteX255" fmla="*/ 988232 w 11269336"/>
              <a:gd name="connsiteY255" fmla="*/ 2235635 h 2323145"/>
              <a:gd name="connsiteX256" fmla="*/ 981959 w 11269336"/>
              <a:gd name="connsiteY256" fmla="*/ 2231607 h 2323145"/>
              <a:gd name="connsiteX257" fmla="*/ 938600 w 11269336"/>
              <a:gd name="connsiteY257" fmla="*/ 2238113 h 2323145"/>
              <a:gd name="connsiteX258" fmla="*/ 791788 w 11269336"/>
              <a:gd name="connsiteY258" fmla="*/ 2293224 h 2323145"/>
              <a:gd name="connsiteX259" fmla="*/ 706914 w 11269336"/>
              <a:gd name="connsiteY259" fmla="*/ 2305046 h 2323145"/>
              <a:gd name="connsiteX260" fmla="*/ 675971 w 11269336"/>
              <a:gd name="connsiteY260" fmla="*/ 2304030 h 2323145"/>
              <a:gd name="connsiteX261" fmla="*/ 624180 w 11269336"/>
              <a:gd name="connsiteY261" fmla="*/ 2302650 h 2323145"/>
              <a:gd name="connsiteX262" fmla="*/ 583453 w 11269336"/>
              <a:gd name="connsiteY262" fmla="*/ 2288788 h 2323145"/>
              <a:gd name="connsiteX263" fmla="*/ 540946 w 11269336"/>
              <a:gd name="connsiteY263" fmla="*/ 2292721 h 2323145"/>
              <a:gd name="connsiteX264" fmla="*/ 533680 w 11269336"/>
              <a:gd name="connsiteY264" fmla="*/ 2310233 h 2323145"/>
              <a:gd name="connsiteX265" fmla="*/ 487366 w 11269336"/>
              <a:gd name="connsiteY265" fmla="*/ 2309053 h 2323145"/>
              <a:gd name="connsiteX266" fmla="*/ 416820 w 11269336"/>
              <a:gd name="connsiteY266" fmla="*/ 2305443 h 2323145"/>
              <a:gd name="connsiteX267" fmla="*/ 376805 w 11269336"/>
              <a:gd name="connsiteY267" fmla="*/ 2307647 h 2323145"/>
              <a:gd name="connsiteX268" fmla="*/ 266777 w 11269336"/>
              <a:gd name="connsiteY268" fmla="*/ 2309012 h 2323145"/>
              <a:gd name="connsiteX269" fmla="*/ 156013 w 11269336"/>
              <a:gd name="connsiteY269" fmla="*/ 2306832 h 2323145"/>
              <a:gd name="connsiteX270" fmla="*/ 87258 w 11269336"/>
              <a:gd name="connsiteY270" fmla="*/ 2285511 h 2323145"/>
              <a:gd name="connsiteX271" fmla="*/ 23798 w 11269336"/>
              <a:gd name="connsiteY271" fmla="*/ 2281822 h 2323145"/>
              <a:gd name="connsiteX272" fmla="*/ 0 w 11269336"/>
              <a:gd name="connsiteY272" fmla="*/ 2285369 h 2323145"/>
              <a:gd name="connsiteX273" fmla="*/ 0 w 11269336"/>
              <a:gd name="connsiteY27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092476 w 11269336"/>
              <a:gd name="connsiteY139" fmla="*/ 2100737 h 2323145"/>
              <a:gd name="connsiteX140" fmla="*/ 5060738 w 11269336"/>
              <a:gd name="connsiteY140" fmla="*/ 208327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60738 w 11269336"/>
              <a:gd name="connsiteY140" fmla="*/ 208327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1048229 w 11269336"/>
              <a:gd name="connsiteY252" fmla="*/ 2207249 h 2323145"/>
              <a:gd name="connsiteX253" fmla="*/ 988232 w 11269336"/>
              <a:gd name="connsiteY253" fmla="*/ 2235635 h 2323145"/>
              <a:gd name="connsiteX254" fmla="*/ 981959 w 11269336"/>
              <a:gd name="connsiteY254" fmla="*/ 2231607 h 2323145"/>
              <a:gd name="connsiteX255" fmla="*/ 938600 w 11269336"/>
              <a:gd name="connsiteY255" fmla="*/ 2238113 h 2323145"/>
              <a:gd name="connsiteX256" fmla="*/ 791788 w 11269336"/>
              <a:gd name="connsiteY256" fmla="*/ 2293224 h 2323145"/>
              <a:gd name="connsiteX257" fmla="*/ 706914 w 11269336"/>
              <a:gd name="connsiteY257" fmla="*/ 2305046 h 2323145"/>
              <a:gd name="connsiteX258" fmla="*/ 675971 w 11269336"/>
              <a:gd name="connsiteY258" fmla="*/ 2304030 h 2323145"/>
              <a:gd name="connsiteX259" fmla="*/ 624180 w 11269336"/>
              <a:gd name="connsiteY259" fmla="*/ 2302650 h 2323145"/>
              <a:gd name="connsiteX260" fmla="*/ 583453 w 11269336"/>
              <a:gd name="connsiteY260" fmla="*/ 2288788 h 2323145"/>
              <a:gd name="connsiteX261" fmla="*/ 540946 w 11269336"/>
              <a:gd name="connsiteY261" fmla="*/ 2292721 h 2323145"/>
              <a:gd name="connsiteX262" fmla="*/ 533680 w 11269336"/>
              <a:gd name="connsiteY262" fmla="*/ 2310233 h 2323145"/>
              <a:gd name="connsiteX263" fmla="*/ 487366 w 11269336"/>
              <a:gd name="connsiteY263" fmla="*/ 2309053 h 2323145"/>
              <a:gd name="connsiteX264" fmla="*/ 416820 w 11269336"/>
              <a:gd name="connsiteY264" fmla="*/ 2305443 h 2323145"/>
              <a:gd name="connsiteX265" fmla="*/ 376805 w 11269336"/>
              <a:gd name="connsiteY265" fmla="*/ 2307647 h 2323145"/>
              <a:gd name="connsiteX266" fmla="*/ 266777 w 11269336"/>
              <a:gd name="connsiteY266" fmla="*/ 2309012 h 2323145"/>
              <a:gd name="connsiteX267" fmla="*/ 156013 w 11269336"/>
              <a:gd name="connsiteY267" fmla="*/ 2306832 h 2323145"/>
              <a:gd name="connsiteX268" fmla="*/ 87258 w 11269336"/>
              <a:gd name="connsiteY268" fmla="*/ 2285511 h 2323145"/>
              <a:gd name="connsiteX269" fmla="*/ 23798 w 11269336"/>
              <a:gd name="connsiteY269" fmla="*/ 2281822 h 2323145"/>
              <a:gd name="connsiteX270" fmla="*/ 0 w 11269336"/>
              <a:gd name="connsiteY270" fmla="*/ 2285369 h 2323145"/>
              <a:gd name="connsiteX271" fmla="*/ 0 w 11269336"/>
              <a:gd name="connsiteY27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1048229 w 11269336"/>
              <a:gd name="connsiteY252" fmla="*/ 2207249 h 2323145"/>
              <a:gd name="connsiteX253" fmla="*/ 988232 w 11269336"/>
              <a:gd name="connsiteY253" fmla="*/ 2235635 h 2323145"/>
              <a:gd name="connsiteX254" fmla="*/ 981959 w 11269336"/>
              <a:gd name="connsiteY254" fmla="*/ 2231607 h 2323145"/>
              <a:gd name="connsiteX255" fmla="*/ 938600 w 11269336"/>
              <a:gd name="connsiteY255" fmla="*/ 2238113 h 2323145"/>
              <a:gd name="connsiteX256" fmla="*/ 791788 w 11269336"/>
              <a:gd name="connsiteY256" fmla="*/ 2293224 h 2323145"/>
              <a:gd name="connsiteX257" fmla="*/ 706914 w 11269336"/>
              <a:gd name="connsiteY257" fmla="*/ 2305046 h 2323145"/>
              <a:gd name="connsiteX258" fmla="*/ 675971 w 11269336"/>
              <a:gd name="connsiteY258" fmla="*/ 2304030 h 2323145"/>
              <a:gd name="connsiteX259" fmla="*/ 624180 w 11269336"/>
              <a:gd name="connsiteY259" fmla="*/ 2302650 h 2323145"/>
              <a:gd name="connsiteX260" fmla="*/ 583453 w 11269336"/>
              <a:gd name="connsiteY260" fmla="*/ 2288788 h 2323145"/>
              <a:gd name="connsiteX261" fmla="*/ 540946 w 11269336"/>
              <a:gd name="connsiteY261" fmla="*/ 2292721 h 2323145"/>
              <a:gd name="connsiteX262" fmla="*/ 533680 w 11269336"/>
              <a:gd name="connsiteY262" fmla="*/ 2310233 h 2323145"/>
              <a:gd name="connsiteX263" fmla="*/ 487366 w 11269336"/>
              <a:gd name="connsiteY263" fmla="*/ 2309053 h 2323145"/>
              <a:gd name="connsiteX264" fmla="*/ 416820 w 11269336"/>
              <a:gd name="connsiteY264" fmla="*/ 2305443 h 2323145"/>
              <a:gd name="connsiteX265" fmla="*/ 376805 w 11269336"/>
              <a:gd name="connsiteY265" fmla="*/ 2307647 h 2323145"/>
              <a:gd name="connsiteX266" fmla="*/ 266777 w 11269336"/>
              <a:gd name="connsiteY266" fmla="*/ 2309012 h 2323145"/>
              <a:gd name="connsiteX267" fmla="*/ 156013 w 11269336"/>
              <a:gd name="connsiteY267" fmla="*/ 2306832 h 2323145"/>
              <a:gd name="connsiteX268" fmla="*/ 87258 w 11269336"/>
              <a:gd name="connsiteY268" fmla="*/ 2285511 h 2323145"/>
              <a:gd name="connsiteX269" fmla="*/ 23798 w 11269336"/>
              <a:gd name="connsiteY269" fmla="*/ 2281822 h 2323145"/>
              <a:gd name="connsiteX270" fmla="*/ 0 w 11269336"/>
              <a:gd name="connsiteY270" fmla="*/ 2285369 h 2323145"/>
              <a:gd name="connsiteX271" fmla="*/ 0 w 11269336"/>
              <a:gd name="connsiteY27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988232 w 11269336"/>
              <a:gd name="connsiteY252" fmla="*/ 2235635 h 2323145"/>
              <a:gd name="connsiteX253" fmla="*/ 981959 w 11269336"/>
              <a:gd name="connsiteY253" fmla="*/ 2231607 h 2323145"/>
              <a:gd name="connsiteX254" fmla="*/ 938600 w 11269336"/>
              <a:gd name="connsiteY254" fmla="*/ 2238113 h 2323145"/>
              <a:gd name="connsiteX255" fmla="*/ 791788 w 11269336"/>
              <a:gd name="connsiteY255" fmla="*/ 2293224 h 2323145"/>
              <a:gd name="connsiteX256" fmla="*/ 706914 w 11269336"/>
              <a:gd name="connsiteY256" fmla="*/ 2305046 h 2323145"/>
              <a:gd name="connsiteX257" fmla="*/ 675971 w 11269336"/>
              <a:gd name="connsiteY257" fmla="*/ 2304030 h 2323145"/>
              <a:gd name="connsiteX258" fmla="*/ 624180 w 11269336"/>
              <a:gd name="connsiteY258" fmla="*/ 2302650 h 2323145"/>
              <a:gd name="connsiteX259" fmla="*/ 583453 w 11269336"/>
              <a:gd name="connsiteY259" fmla="*/ 2288788 h 2323145"/>
              <a:gd name="connsiteX260" fmla="*/ 540946 w 11269336"/>
              <a:gd name="connsiteY260" fmla="*/ 2292721 h 2323145"/>
              <a:gd name="connsiteX261" fmla="*/ 533680 w 11269336"/>
              <a:gd name="connsiteY261" fmla="*/ 2310233 h 2323145"/>
              <a:gd name="connsiteX262" fmla="*/ 487366 w 11269336"/>
              <a:gd name="connsiteY262" fmla="*/ 2309053 h 2323145"/>
              <a:gd name="connsiteX263" fmla="*/ 416820 w 11269336"/>
              <a:gd name="connsiteY263" fmla="*/ 2305443 h 2323145"/>
              <a:gd name="connsiteX264" fmla="*/ 376805 w 11269336"/>
              <a:gd name="connsiteY264" fmla="*/ 2307647 h 2323145"/>
              <a:gd name="connsiteX265" fmla="*/ 266777 w 11269336"/>
              <a:gd name="connsiteY265" fmla="*/ 2309012 h 2323145"/>
              <a:gd name="connsiteX266" fmla="*/ 156013 w 11269336"/>
              <a:gd name="connsiteY266" fmla="*/ 2306832 h 2323145"/>
              <a:gd name="connsiteX267" fmla="*/ 87258 w 11269336"/>
              <a:gd name="connsiteY267" fmla="*/ 2285511 h 2323145"/>
              <a:gd name="connsiteX268" fmla="*/ 23798 w 11269336"/>
              <a:gd name="connsiteY268" fmla="*/ 2281822 h 2323145"/>
              <a:gd name="connsiteX269" fmla="*/ 0 w 11269336"/>
              <a:gd name="connsiteY269" fmla="*/ 2285369 h 2323145"/>
              <a:gd name="connsiteX270" fmla="*/ 0 w 11269336"/>
              <a:gd name="connsiteY270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266687 w 11269336"/>
              <a:gd name="connsiteY247" fmla="*/ 2212688 h 2323145"/>
              <a:gd name="connsiteX248" fmla="*/ 1239614 w 11269336"/>
              <a:gd name="connsiteY248" fmla="*/ 2209727 h 2323145"/>
              <a:gd name="connsiteX249" fmla="*/ 1202436 w 11269336"/>
              <a:gd name="connsiteY249" fmla="*/ 2209817 h 2323145"/>
              <a:gd name="connsiteX250" fmla="*/ 1136097 w 11269336"/>
              <a:gd name="connsiteY250" fmla="*/ 2205112 h 2323145"/>
              <a:gd name="connsiteX251" fmla="*/ 988232 w 11269336"/>
              <a:gd name="connsiteY251" fmla="*/ 2235635 h 2323145"/>
              <a:gd name="connsiteX252" fmla="*/ 981959 w 11269336"/>
              <a:gd name="connsiteY252" fmla="*/ 2231607 h 2323145"/>
              <a:gd name="connsiteX253" fmla="*/ 938600 w 11269336"/>
              <a:gd name="connsiteY253" fmla="*/ 2238113 h 2323145"/>
              <a:gd name="connsiteX254" fmla="*/ 791788 w 11269336"/>
              <a:gd name="connsiteY254" fmla="*/ 2293224 h 2323145"/>
              <a:gd name="connsiteX255" fmla="*/ 706914 w 11269336"/>
              <a:gd name="connsiteY255" fmla="*/ 2305046 h 2323145"/>
              <a:gd name="connsiteX256" fmla="*/ 675971 w 11269336"/>
              <a:gd name="connsiteY256" fmla="*/ 2304030 h 2323145"/>
              <a:gd name="connsiteX257" fmla="*/ 624180 w 11269336"/>
              <a:gd name="connsiteY257" fmla="*/ 2302650 h 2323145"/>
              <a:gd name="connsiteX258" fmla="*/ 583453 w 11269336"/>
              <a:gd name="connsiteY258" fmla="*/ 2288788 h 2323145"/>
              <a:gd name="connsiteX259" fmla="*/ 540946 w 11269336"/>
              <a:gd name="connsiteY259" fmla="*/ 2292721 h 2323145"/>
              <a:gd name="connsiteX260" fmla="*/ 533680 w 11269336"/>
              <a:gd name="connsiteY260" fmla="*/ 2310233 h 2323145"/>
              <a:gd name="connsiteX261" fmla="*/ 487366 w 11269336"/>
              <a:gd name="connsiteY261" fmla="*/ 2309053 h 2323145"/>
              <a:gd name="connsiteX262" fmla="*/ 416820 w 11269336"/>
              <a:gd name="connsiteY262" fmla="*/ 2305443 h 2323145"/>
              <a:gd name="connsiteX263" fmla="*/ 376805 w 11269336"/>
              <a:gd name="connsiteY263" fmla="*/ 2307647 h 2323145"/>
              <a:gd name="connsiteX264" fmla="*/ 266777 w 11269336"/>
              <a:gd name="connsiteY264" fmla="*/ 2309012 h 2323145"/>
              <a:gd name="connsiteX265" fmla="*/ 156013 w 11269336"/>
              <a:gd name="connsiteY265" fmla="*/ 2306832 h 2323145"/>
              <a:gd name="connsiteX266" fmla="*/ 87258 w 11269336"/>
              <a:gd name="connsiteY266" fmla="*/ 2285511 h 2323145"/>
              <a:gd name="connsiteX267" fmla="*/ 23798 w 11269336"/>
              <a:gd name="connsiteY267" fmla="*/ 2281822 h 2323145"/>
              <a:gd name="connsiteX268" fmla="*/ 0 w 11269336"/>
              <a:gd name="connsiteY268" fmla="*/ 2285369 h 2323145"/>
              <a:gd name="connsiteX269" fmla="*/ 0 w 11269336"/>
              <a:gd name="connsiteY269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197391 w 11269336"/>
              <a:gd name="connsiteY54" fmla="*/ 1107746 h 2323145"/>
              <a:gd name="connsiteX55" fmla="*/ 8081474 w 11269336"/>
              <a:gd name="connsiteY55" fmla="*/ 1130125 h 2323145"/>
              <a:gd name="connsiteX56" fmla="*/ 8053585 w 11269336"/>
              <a:gd name="connsiteY56" fmla="*/ 1129169 h 2323145"/>
              <a:gd name="connsiteX57" fmla="*/ 8038422 w 11269336"/>
              <a:gd name="connsiteY57" fmla="*/ 1119092 h 2323145"/>
              <a:gd name="connsiteX58" fmla="*/ 8029450 w 11269336"/>
              <a:gd name="connsiteY58" fmla="*/ 1125592 h 2323145"/>
              <a:gd name="connsiteX59" fmla="*/ 7959552 w 11269336"/>
              <a:gd name="connsiteY59" fmla="*/ 1140188 h 2323145"/>
              <a:gd name="connsiteX60" fmla="*/ 7914188 w 11269336"/>
              <a:gd name="connsiteY60" fmla="*/ 1150862 h 2323145"/>
              <a:gd name="connsiteX61" fmla="*/ 7914918 w 11269336"/>
              <a:gd name="connsiteY61" fmla="*/ 1168758 h 2323145"/>
              <a:gd name="connsiteX62" fmla="*/ 7875510 w 11269336"/>
              <a:gd name="connsiteY62" fmla="*/ 1183153 h 2323145"/>
              <a:gd name="connsiteX63" fmla="*/ 7829932 w 11269336"/>
              <a:gd name="connsiteY63" fmla="*/ 1180782 h 2323145"/>
              <a:gd name="connsiteX64" fmla="*/ 7779182 w 11269336"/>
              <a:gd name="connsiteY64" fmla="*/ 1192665 h 2323145"/>
              <a:gd name="connsiteX65" fmla="*/ 7748774 w 11269336"/>
              <a:gd name="connsiteY65" fmla="*/ 1199586 h 2323145"/>
              <a:gd name="connsiteX66" fmla="*/ 7671846 w 11269336"/>
              <a:gd name="connsiteY66" fmla="*/ 1231966 h 2323145"/>
              <a:gd name="connsiteX67" fmla="*/ 7554146 w 11269336"/>
              <a:gd name="connsiteY67" fmla="*/ 1319748 h 2323145"/>
              <a:gd name="connsiteX68" fmla="*/ 7515052 w 11269336"/>
              <a:gd name="connsiteY68" fmla="*/ 1336718 h 2323145"/>
              <a:gd name="connsiteX69" fmla="*/ 7507193 w 11269336"/>
              <a:gd name="connsiteY69" fmla="*/ 1334617 h 2323145"/>
              <a:gd name="connsiteX70" fmla="*/ 7461694 w 11269336"/>
              <a:gd name="connsiteY70" fmla="*/ 1375866 h 2323145"/>
              <a:gd name="connsiteX71" fmla="*/ 7377571 w 11269336"/>
              <a:gd name="connsiteY71" fmla="*/ 1400128 h 2323145"/>
              <a:gd name="connsiteX72" fmla="*/ 7311261 w 11269336"/>
              <a:gd name="connsiteY72" fmla="*/ 1412652 h 2323145"/>
              <a:gd name="connsiteX73" fmla="*/ 7275307 w 11269336"/>
              <a:gd name="connsiteY73" fmla="*/ 1422171 h 2323145"/>
              <a:gd name="connsiteX74" fmla="*/ 7247783 w 11269336"/>
              <a:gd name="connsiteY74" fmla="*/ 1426330 h 2323145"/>
              <a:gd name="connsiteX75" fmla="*/ 7185047 w 11269336"/>
              <a:gd name="connsiteY75" fmla="*/ 1451812 h 2323145"/>
              <a:gd name="connsiteX76" fmla="*/ 7084117 w 11269336"/>
              <a:gd name="connsiteY76" fmla="*/ 1500281 h 2323145"/>
              <a:gd name="connsiteX77" fmla="*/ 7062011 w 11269336"/>
              <a:gd name="connsiteY77" fmla="*/ 1509183 h 2323145"/>
              <a:gd name="connsiteX78" fmla="*/ 7040555 w 11269336"/>
              <a:gd name="connsiteY78" fmla="*/ 1511207 h 2323145"/>
              <a:gd name="connsiteX79" fmla="*/ 7033438 w 11269336"/>
              <a:gd name="connsiteY79" fmla="*/ 1506772 h 2323145"/>
              <a:gd name="connsiteX80" fmla="*/ 7020886 w 11269336"/>
              <a:gd name="connsiteY80" fmla="*/ 1510764 h 2323145"/>
              <a:gd name="connsiteX81" fmla="*/ 7017033 w 11269336"/>
              <a:gd name="connsiteY81" fmla="*/ 1510650 h 2323145"/>
              <a:gd name="connsiteX82" fmla="*/ 6995460 w 11269336"/>
              <a:gd name="connsiteY82" fmla="*/ 1511173 h 2323145"/>
              <a:gd name="connsiteX83" fmla="*/ 6962144 w 11269336"/>
              <a:gd name="connsiteY83" fmla="*/ 1541508 h 2323145"/>
              <a:gd name="connsiteX84" fmla="*/ 6910674 w 11269336"/>
              <a:gd name="connsiteY84" fmla="*/ 1554793 h 2323145"/>
              <a:gd name="connsiteX85" fmla="*/ 6732152 w 11269336"/>
              <a:gd name="connsiteY85" fmla="*/ 1642538 h 2323145"/>
              <a:gd name="connsiteX86" fmla="*/ 6694106 w 11269336"/>
              <a:gd name="connsiteY86" fmla="*/ 1632377 h 2323145"/>
              <a:gd name="connsiteX87" fmla="*/ 6617223 w 11269336"/>
              <a:gd name="connsiteY87" fmla="*/ 1659889 h 2323145"/>
              <a:gd name="connsiteX88" fmla="*/ 6521138 w 11269336"/>
              <a:gd name="connsiteY88" fmla="*/ 1744340 h 2323145"/>
              <a:gd name="connsiteX89" fmla="*/ 6380677 w 11269336"/>
              <a:gd name="connsiteY89" fmla="*/ 1796883 h 2323145"/>
              <a:gd name="connsiteX90" fmla="*/ 6374897 w 11269336"/>
              <a:gd name="connsiteY90" fmla="*/ 1809910 h 2323145"/>
              <a:gd name="connsiteX91" fmla="*/ 6364545 w 11269336"/>
              <a:gd name="connsiteY91" fmla="*/ 1820090 h 2323145"/>
              <a:gd name="connsiteX92" fmla="*/ 6362126 w 11269336"/>
              <a:gd name="connsiteY92" fmla="*/ 1819991 h 2323145"/>
              <a:gd name="connsiteX93" fmla="*/ 6346673 w 11269336"/>
              <a:gd name="connsiteY93" fmla="*/ 1827824 h 2323145"/>
              <a:gd name="connsiteX94" fmla="*/ 6345588 w 11269336"/>
              <a:gd name="connsiteY94" fmla="*/ 1832232 h 2323145"/>
              <a:gd name="connsiteX95" fmla="*/ 6335708 w 11269336"/>
              <a:gd name="connsiteY95" fmla="*/ 1838451 h 2323145"/>
              <a:gd name="connsiteX96" fmla="*/ 6318182 w 11269336"/>
              <a:gd name="connsiteY96" fmla="*/ 1852975 h 2323145"/>
              <a:gd name="connsiteX97" fmla="*/ 6313084 w 11269336"/>
              <a:gd name="connsiteY97" fmla="*/ 1853561 h 2323145"/>
              <a:gd name="connsiteX98" fmla="*/ 6283816 w 11269336"/>
              <a:gd name="connsiteY98" fmla="*/ 1872148 h 2323145"/>
              <a:gd name="connsiteX99" fmla="*/ 6282550 w 11269336"/>
              <a:gd name="connsiteY99" fmla="*/ 1871392 h 2323145"/>
              <a:gd name="connsiteX100" fmla="*/ 6270527 w 11269336"/>
              <a:gd name="connsiteY100" fmla="*/ 1872208 h 2323145"/>
              <a:gd name="connsiteX101" fmla="*/ 6249518 w 11269336"/>
              <a:gd name="connsiteY101" fmla="*/ 1876079 h 2323145"/>
              <a:gd name="connsiteX102" fmla="*/ 6190386 w 11269336"/>
              <a:gd name="connsiteY102" fmla="*/ 1872478 h 2323145"/>
              <a:gd name="connsiteX103" fmla="*/ 6159777 w 11269336"/>
              <a:gd name="connsiteY103" fmla="*/ 1891745 h 2323145"/>
              <a:gd name="connsiteX104" fmla="*/ 6153131 w 11269336"/>
              <a:gd name="connsiteY104" fmla="*/ 1895079 h 2323145"/>
              <a:gd name="connsiteX105" fmla="*/ 6152798 w 11269336"/>
              <a:gd name="connsiteY105" fmla="*/ 1894920 h 2323145"/>
              <a:gd name="connsiteX106" fmla="*/ 6145388 w 11269336"/>
              <a:gd name="connsiteY106" fmla="*/ 1897990 h 2323145"/>
              <a:gd name="connsiteX107" fmla="*/ 6141014 w 11269336"/>
              <a:gd name="connsiteY107" fmla="*/ 1901155 h 2323145"/>
              <a:gd name="connsiteX108" fmla="*/ 6128122 w 11269336"/>
              <a:gd name="connsiteY108" fmla="*/ 1907623 h 2323145"/>
              <a:gd name="connsiteX109" fmla="*/ 6122351 w 11269336"/>
              <a:gd name="connsiteY109" fmla="*/ 1908359 h 2323145"/>
              <a:gd name="connsiteX110" fmla="*/ 6064750 w 11269336"/>
              <a:gd name="connsiteY110" fmla="*/ 1896394 h 2323145"/>
              <a:gd name="connsiteX111" fmla="*/ 5964230 w 11269336"/>
              <a:gd name="connsiteY111" fmla="*/ 1910038 h 2323145"/>
              <a:gd name="connsiteX112" fmla="*/ 5865399 w 11269336"/>
              <a:gd name="connsiteY112" fmla="*/ 1926966 h 2323145"/>
              <a:gd name="connsiteX113" fmla="*/ 5829951 w 11269336"/>
              <a:gd name="connsiteY113" fmla="*/ 1934755 h 2323145"/>
              <a:gd name="connsiteX114" fmla="*/ 5765285 w 11269336"/>
              <a:gd name="connsiteY114" fmla="*/ 1941322 h 2323145"/>
              <a:gd name="connsiteX115" fmla="*/ 5734750 w 11269336"/>
              <a:gd name="connsiteY115" fmla="*/ 1939793 h 2323145"/>
              <a:gd name="connsiteX116" fmla="*/ 5733569 w 11269336"/>
              <a:gd name="connsiteY116" fmla="*/ 1940505 h 2323145"/>
              <a:gd name="connsiteX117" fmla="*/ 5730329 w 11269336"/>
              <a:gd name="connsiteY117" fmla="*/ 1937845 h 2323145"/>
              <a:gd name="connsiteX118" fmla="*/ 5724661 w 11269336"/>
              <a:gd name="connsiteY118" fmla="*/ 1937455 h 2323145"/>
              <a:gd name="connsiteX119" fmla="*/ 5710186 w 11269336"/>
              <a:gd name="connsiteY119" fmla="*/ 1941370 h 2323145"/>
              <a:gd name="connsiteX120" fmla="*/ 5704910 w 11269336"/>
              <a:gd name="connsiteY120" fmla="*/ 1943663 h 2323145"/>
              <a:gd name="connsiteX121" fmla="*/ 5696836 w 11269336"/>
              <a:gd name="connsiteY121" fmla="*/ 1945271 h 2323145"/>
              <a:gd name="connsiteX122" fmla="*/ 5696583 w 11269336"/>
              <a:gd name="connsiteY122" fmla="*/ 1945050 h 2323145"/>
              <a:gd name="connsiteX123" fmla="*/ 5689123 w 11269336"/>
              <a:gd name="connsiteY123" fmla="*/ 1947067 h 2323145"/>
              <a:gd name="connsiteX124" fmla="*/ 5653291 w 11269336"/>
              <a:gd name="connsiteY124" fmla="*/ 1960245 h 2323145"/>
              <a:gd name="connsiteX125" fmla="*/ 5599385 w 11269336"/>
              <a:gd name="connsiteY125" fmla="*/ 1945198 h 2323145"/>
              <a:gd name="connsiteX126" fmla="*/ 5578300 w 11269336"/>
              <a:gd name="connsiteY126" fmla="*/ 1944963 h 2323145"/>
              <a:gd name="connsiteX127" fmla="*/ 5566758 w 11269336"/>
              <a:gd name="connsiteY127" fmla="*/ 1943441 h 2323145"/>
              <a:gd name="connsiteX128" fmla="*/ 5565857 w 11269336"/>
              <a:gd name="connsiteY128" fmla="*/ 1942445 h 2323145"/>
              <a:gd name="connsiteX129" fmla="*/ 5531534 w 11269336"/>
              <a:gd name="connsiteY129" fmla="*/ 1955208 h 2323145"/>
              <a:gd name="connsiteX130" fmla="*/ 5526552 w 11269336"/>
              <a:gd name="connsiteY130" fmla="*/ 1954799 h 2323145"/>
              <a:gd name="connsiteX131" fmla="*/ 5504723 w 11269336"/>
              <a:gd name="connsiteY131" fmla="*/ 1965811 h 2323145"/>
              <a:gd name="connsiteX132" fmla="*/ 5493156 w 11269336"/>
              <a:gd name="connsiteY132" fmla="*/ 1970063 h 2323145"/>
              <a:gd name="connsiteX133" fmla="*/ 5490486 w 11269336"/>
              <a:gd name="connsiteY133" fmla="*/ 1974227 h 2323145"/>
              <a:gd name="connsiteX134" fmla="*/ 5473107 w 11269336"/>
              <a:gd name="connsiteY134" fmla="*/ 1979001 h 2323145"/>
              <a:gd name="connsiteX135" fmla="*/ 5470885 w 11269336"/>
              <a:gd name="connsiteY135" fmla="*/ 1978432 h 2323145"/>
              <a:gd name="connsiteX136" fmla="*/ 5457393 w 11269336"/>
              <a:gd name="connsiteY136" fmla="*/ 1986525 h 2323145"/>
              <a:gd name="connsiteX137" fmla="*/ 5447102 w 11269336"/>
              <a:gd name="connsiteY137" fmla="*/ 1998329 h 2323145"/>
              <a:gd name="connsiteX138" fmla="*/ 5159151 w 11269336"/>
              <a:gd name="connsiteY138" fmla="*/ 2029640 h 2323145"/>
              <a:gd name="connsiteX139" fmla="*/ 5041688 w 11269336"/>
              <a:gd name="connsiteY139" fmla="*/ 2022334 h 2323145"/>
              <a:gd name="connsiteX140" fmla="*/ 4860988 w 11269336"/>
              <a:gd name="connsiteY140" fmla="*/ 2135698 h 2323145"/>
              <a:gd name="connsiteX141" fmla="*/ 4807902 w 11269336"/>
              <a:gd name="connsiteY141" fmla="*/ 2138894 h 2323145"/>
              <a:gd name="connsiteX142" fmla="*/ 4765388 w 11269336"/>
              <a:gd name="connsiteY142" fmla="*/ 2162525 h 2323145"/>
              <a:gd name="connsiteX143" fmla="*/ 4745033 w 11269336"/>
              <a:gd name="connsiteY143" fmla="*/ 2158859 h 2323145"/>
              <a:gd name="connsiteX144" fmla="*/ 4741475 w 11269336"/>
              <a:gd name="connsiteY144" fmla="*/ 2157998 h 2323145"/>
              <a:gd name="connsiteX145" fmla="*/ 4728247 w 11269336"/>
              <a:gd name="connsiteY145" fmla="*/ 2159526 h 2323145"/>
              <a:gd name="connsiteX146" fmla="*/ 4723263 w 11269336"/>
              <a:gd name="connsiteY146" fmla="*/ 2153742 h 2323145"/>
              <a:gd name="connsiteX147" fmla="*/ 4702453 w 11269336"/>
              <a:gd name="connsiteY147" fmla="*/ 2151586 h 2323145"/>
              <a:gd name="connsiteX148" fmla="*/ 4678455 w 11269336"/>
              <a:gd name="connsiteY148" fmla="*/ 2156131 h 2323145"/>
              <a:gd name="connsiteX149" fmla="*/ 4593061 w 11269336"/>
              <a:gd name="connsiteY149" fmla="*/ 2171597 h 2323145"/>
              <a:gd name="connsiteX150" fmla="*/ 4579902 w 11269336"/>
              <a:gd name="connsiteY150" fmla="*/ 2177927 h 2323145"/>
              <a:gd name="connsiteX151" fmla="*/ 4533444 w 11269336"/>
              <a:gd name="connsiteY151" fmla="*/ 2181200 h 2323145"/>
              <a:gd name="connsiteX152" fmla="*/ 4492832 w 11269336"/>
              <a:gd name="connsiteY152" fmla="*/ 2188033 h 2323145"/>
              <a:gd name="connsiteX153" fmla="*/ 4467257 w 11269336"/>
              <a:gd name="connsiteY153" fmla="*/ 2196121 h 2323145"/>
              <a:gd name="connsiteX154" fmla="*/ 4459937 w 11269336"/>
              <a:gd name="connsiteY154" fmla="*/ 2195182 h 2323145"/>
              <a:gd name="connsiteX155" fmla="*/ 4433312 w 11269336"/>
              <a:gd name="connsiteY155" fmla="*/ 2199004 h 2323145"/>
              <a:gd name="connsiteX156" fmla="*/ 4420601 w 11269336"/>
              <a:gd name="connsiteY156" fmla="*/ 2205158 h 2323145"/>
              <a:gd name="connsiteX157" fmla="*/ 4405765 w 11269336"/>
              <a:gd name="connsiteY157" fmla="*/ 2199902 h 2323145"/>
              <a:gd name="connsiteX158" fmla="*/ 4401354 w 11269336"/>
              <a:gd name="connsiteY158" fmla="*/ 2194745 h 2323145"/>
              <a:gd name="connsiteX159" fmla="*/ 4383151 w 11269336"/>
              <a:gd name="connsiteY159" fmla="*/ 2201140 h 2323145"/>
              <a:gd name="connsiteX160" fmla="*/ 4366646 w 11269336"/>
              <a:gd name="connsiteY160" fmla="*/ 2198564 h 2323145"/>
              <a:gd name="connsiteX161" fmla="*/ 4354009 w 11269336"/>
              <a:gd name="connsiteY161" fmla="*/ 2204984 h 2323145"/>
              <a:gd name="connsiteX162" fmla="*/ 4348284 w 11269336"/>
              <a:gd name="connsiteY162" fmla="*/ 2205270 h 2323145"/>
              <a:gd name="connsiteX163" fmla="*/ 4333906 w 11269336"/>
              <a:gd name="connsiteY163" fmla="*/ 2205251 h 2323145"/>
              <a:gd name="connsiteX164" fmla="*/ 4308819 w 11269336"/>
              <a:gd name="connsiteY164" fmla="*/ 2203822 h 2323145"/>
              <a:gd name="connsiteX165" fmla="*/ 4301210 w 11269336"/>
              <a:gd name="connsiteY165" fmla="*/ 2204456 h 2323145"/>
              <a:gd name="connsiteX166" fmla="*/ 4283095 w 11269336"/>
              <a:gd name="connsiteY166" fmla="*/ 2198177 h 2323145"/>
              <a:gd name="connsiteX167" fmla="*/ 4250119 w 11269336"/>
              <a:gd name="connsiteY167" fmla="*/ 2196342 h 2323145"/>
              <a:gd name="connsiteX168" fmla="*/ 4189203 w 11269336"/>
              <a:gd name="connsiteY168" fmla="*/ 2178994 h 2323145"/>
              <a:gd name="connsiteX169" fmla="*/ 4154035 w 11269336"/>
              <a:gd name="connsiteY169" fmla="*/ 2171950 h 2323145"/>
              <a:gd name="connsiteX170" fmla="*/ 4129569 w 11269336"/>
              <a:gd name="connsiteY170" fmla="*/ 2163850 h 2323145"/>
              <a:gd name="connsiteX171" fmla="*/ 4061250 w 11269336"/>
              <a:gd name="connsiteY171" fmla="*/ 2159236 h 2323145"/>
              <a:gd name="connsiteX172" fmla="*/ 3945480 w 11269336"/>
              <a:gd name="connsiteY172" fmla="*/ 2158279 h 2323145"/>
              <a:gd name="connsiteX173" fmla="*/ 3921468 w 11269336"/>
              <a:gd name="connsiteY173" fmla="*/ 2156588 h 2323145"/>
              <a:gd name="connsiteX174" fmla="*/ 3903348 w 11269336"/>
              <a:gd name="connsiteY174" fmla="*/ 2149220 h 2323145"/>
              <a:gd name="connsiteX175" fmla="*/ 3901342 w 11269336"/>
              <a:gd name="connsiteY175" fmla="*/ 2142355 h 2323145"/>
              <a:gd name="connsiteX176" fmla="*/ 3888539 w 11269336"/>
              <a:gd name="connsiteY176" fmla="*/ 2140476 h 2323145"/>
              <a:gd name="connsiteX177" fmla="*/ 3885662 w 11269336"/>
              <a:gd name="connsiteY177" fmla="*/ 2138740 h 2323145"/>
              <a:gd name="connsiteX178" fmla="*/ 3868627 w 11269336"/>
              <a:gd name="connsiteY178" fmla="*/ 2130023 h 2323145"/>
              <a:gd name="connsiteX179" fmla="*/ 3819177 w 11269336"/>
              <a:gd name="connsiteY179" fmla="*/ 2142111 h 2323145"/>
              <a:gd name="connsiteX180" fmla="*/ 3769100 w 11269336"/>
              <a:gd name="connsiteY180" fmla="*/ 2131731 h 2323145"/>
              <a:gd name="connsiteX181" fmla="*/ 3562752 w 11269336"/>
              <a:gd name="connsiteY181" fmla="*/ 2131785 h 2323145"/>
              <a:gd name="connsiteX182" fmla="*/ 3541402 w 11269336"/>
              <a:gd name="connsiteY182" fmla="*/ 2106821 h 2323145"/>
              <a:gd name="connsiteX183" fmla="*/ 3365341 w 11269336"/>
              <a:gd name="connsiteY183" fmla="*/ 2077638 h 2323145"/>
              <a:gd name="connsiteX184" fmla="*/ 3170922 w 11269336"/>
              <a:gd name="connsiteY184" fmla="*/ 2115957 h 2323145"/>
              <a:gd name="connsiteX185" fmla="*/ 3156256 w 11269336"/>
              <a:gd name="connsiteY185" fmla="*/ 2124773 h 2323145"/>
              <a:gd name="connsiteX186" fmla="*/ 3140298 w 11269336"/>
              <a:gd name="connsiteY186" fmla="*/ 2129182 h 2323145"/>
              <a:gd name="connsiteX187" fmla="*/ 3138514 w 11269336"/>
              <a:gd name="connsiteY187" fmla="*/ 2128069 h 2323145"/>
              <a:gd name="connsiteX188" fmla="*/ 3120467 w 11269336"/>
              <a:gd name="connsiteY188" fmla="*/ 2128281 h 2323145"/>
              <a:gd name="connsiteX189" fmla="*/ 3116175 w 11269336"/>
              <a:gd name="connsiteY189" fmla="*/ 2131633 h 2323145"/>
              <a:gd name="connsiteX190" fmla="*/ 3103685 w 11269336"/>
              <a:gd name="connsiteY190" fmla="*/ 2132814 h 2323145"/>
              <a:gd name="connsiteX191" fmla="*/ 3078794 w 11269336"/>
              <a:gd name="connsiteY191" fmla="*/ 2137935 h 2323145"/>
              <a:gd name="connsiteX192" fmla="*/ 3074407 w 11269336"/>
              <a:gd name="connsiteY192" fmla="*/ 2136274 h 2323145"/>
              <a:gd name="connsiteX193" fmla="*/ 3037285 w 11269336"/>
              <a:gd name="connsiteY193" fmla="*/ 2139919 h 2323145"/>
              <a:gd name="connsiteX194" fmla="*/ 3036901 w 11269336"/>
              <a:gd name="connsiteY194" fmla="*/ 2138726 h 2323145"/>
              <a:gd name="connsiteX195" fmla="*/ 3026996 w 11269336"/>
              <a:gd name="connsiteY195" fmla="*/ 2134322 h 2323145"/>
              <a:gd name="connsiteX196" fmla="*/ 3007772 w 11269336"/>
              <a:gd name="connsiteY196" fmla="*/ 2128742 h 2323145"/>
              <a:gd name="connsiteX197" fmla="*/ 2965030 w 11269336"/>
              <a:gd name="connsiteY197" fmla="*/ 2100494 h 2323145"/>
              <a:gd name="connsiteX198" fmla="*/ 2926342 w 11269336"/>
              <a:gd name="connsiteY198" fmla="*/ 2104155 h 2323145"/>
              <a:gd name="connsiteX199" fmla="*/ 2918608 w 11269336"/>
              <a:gd name="connsiteY199" fmla="*/ 2104215 h 2323145"/>
              <a:gd name="connsiteX200" fmla="*/ 2918475 w 11269336"/>
              <a:gd name="connsiteY200" fmla="*/ 2103937 h 2323145"/>
              <a:gd name="connsiteX201" fmla="*/ 2910360 w 11269336"/>
              <a:gd name="connsiteY201" fmla="*/ 2103444 h 2323145"/>
              <a:gd name="connsiteX202" fmla="*/ 2904507 w 11269336"/>
              <a:gd name="connsiteY202" fmla="*/ 2104326 h 2323145"/>
              <a:gd name="connsiteX203" fmla="*/ 2889503 w 11269336"/>
              <a:gd name="connsiteY203" fmla="*/ 2104443 h 2323145"/>
              <a:gd name="connsiteX204" fmla="*/ 2884480 w 11269336"/>
              <a:gd name="connsiteY204" fmla="*/ 2102626 h 2323145"/>
              <a:gd name="connsiteX205" fmla="*/ 2882689 w 11269336"/>
              <a:gd name="connsiteY205" fmla="*/ 2099228 h 2323145"/>
              <a:gd name="connsiteX206" fmla="*/ 2881291 w 11269336"/>
              <a:gd name="connsiteY206" fmla="*/ 2099618 h 2323145"/>
              <a:gd name="connsiteX207" fmla="*/ 2853979 w 11269336"/>
              <a:gd name="connsiteY207" fmla="*/ 2090388 h 2323145"/>
              <a:gd name="connsiteX208" fmla="*/ 2791790 w 11269336"/>
              <a:gd name="connsiteY208" fmla="*/ 2080332 h 2323145"/>
              <a:gd name="connsiteX209" fmla="*/ 2755844 w 11269336"/>
              <a:gd name="connsiteY209" fmla="*/ 2078874 h 2323145"/>
              <a:gd name="connsiteX210" fmla="*/ 2657742 w 11269336"/>
              <a:gd name="connsiteY210" fmla="*/ 2070179 h 2323145"/>
              <a:gd name="connsiteX211" fmla="*/ 2559549 w 11269336"/>
              <a:gd name="connsiteY211" fmla="*/ 2057873 h 2323145"/>
              <a:gd name="connsiteX212" fmla="*/ 2512054 w 11269336"/>
              <a:gd name="connsiteY212" fmla="*/ 2031671 h 2323145"/>
              <a:gd name="connsiteX213" fmla="*/ 2506437 w 11269336"/>
              <a:gd name="connsiteY213" fmla="*/ 2030918 h 2323145"/>
              <a:gd name="connsiteX214" fmla="*/ 2491752 w 11269336"/>
              <a:gd name="connsiteY214" fmla="*/ 2033906 h 2323145"/>
              <a:gd name="connsiteX215" fmla="*/ 2486338 w 11269336"/>
              <a:gd name="connsiteY215" fmla="*/ 2035862 h 2323145"/>
              <a:gd name="connsiteX216" fmla="*/ 2478186 w 11269336"/>
              <a:gd name="connsiteY216" fmla="*/ 2036953 h 2323145"/>
              <a:gd name="connsiteX217" fmla="*/ 2477950 w 11269336"/>
              <a:gd name="connsiteY217" fmla="*/ 2036715 h 2323145"/>
              <a:gd name="connsiteX218" fmla="*/ 2470381 w 11269336"/>
              <a:gd name="connsiteY218" fmla="*/ 2038256 h 2323145"/>
              <a:gd name="connsiteX219" fmla="*/ 2433781 w 11269336"/>
              <a:gd name="connsiteY219" fmla="*/ 2049140 h 2323145"/>
              <a:gd name="connsiteX220" fmla="*/ 2381172 w 11269336"/>
              <a:gd name="connsiteY220" fmla="*/ 2030645 h 2323145"/>
              <a:gd name="connsiteX221" fmla="*/ 2360198 w 11269336"/>
              <a:gd name="connsiteY221" fmla="*/ 2029059 h 2323145"/>
              <a:gd name="connsiteX222" fmla="*/ 2348815 w 11269336"/>
              <a:gd name="connsiteY222" fmla="*/ 2026798 h 2323145"/>
              <a:gd name="connsiteX223" fmla="*/ 2347988 w 11269336"/>
              <a:gd name="connsiteY223" fmla="*/ 2025745 h 2323145"/>
              <a:gd name="connsiteX224" fmla="*/ 2312920 w 11269336"/>
              <a:gd name="connsiteY224" fmla="*/ 2036311 h 2323145"/>
              <a:gd name="connsiteX225" fmla="*/ 2307986 w 11269336"/>
              <a:gd name="connsiteY225" fmla="*/ 2035583 h 2323145"/>
              <a:gd name="connsiteX226" fmla="*/ 2285481 w 11269336"/>
              <a:gd name="connsiteY226" fmla="*/ 2045197 h 2323145"/>
              <a:gd name="connsiteX227" fmla="*/ 2273666 w 11269336"/>
              <a:gd name="connsiteY227" fmla="*/ 2048710 h 2323145"/>
              <a:gd name="connsiteX228" fmla="*/ 2270719 w 11269336"/>
              <a:gd name="connsiteY228" fmla="*/ 2052702 h 2323145"/>
              <a:gd name="connsiteX229" fmla="*/ 2253080 w 11269336"/>
              <a:gd name="connsiteY229" fmla="*/ 2056363 h 2323145"/>
              <a:gd name="connsiteX230" fmla="*/ 2250906 w 11269336"/>
              <a:gd name="connsiteY230" fmla="*/ 2055654 h 2323145"/>
              <a:gd name="connsiteX231" fmla="*/ 2236905 w 11269336"/>
              <a:gd name="connsiteY231" fmla="*/ 2062882 h 2323145"/>
              <a:gd name="connsiteX232" fmla="*/ 2225830 w 11269336"/>
              <a:gd name="connsiteY232" fmla="*/ 2074027 h 2323145"/>
              <a:gd name="connsiteX233" fmla="*/ 2073776 w 11269336"/>
              <a:gd name="connsiteY233" fmla="*/ 2089244 h 2323145"/>
              <a:gd name="connsiteX234" fmla="*/ 1948256 w 11269336"/>
              <a:gd name="connsiteY234" fmla="*/ 2146616 h 2323145"/>
              <a:gd name="connsiteX235" fmla="*/ 1865582 w 11269336"/>
              <a:gd name="connsiteY235" fmla="*/ 2153738 h 2323145"/>
              <a:gd name="connsiteX236" fmla="*/ 1835210 w 11269336"/>
              <a:gd name="connsiteY236" fmla="*/ 2134244 h 2323145"/>
              <a:gd name="connsiteX237" fmla="*/ 1632661 w 11269336"/>
              <a:gd name="connsiteY237" fmla="*/ 2173882 h 2323145"/>
              <a:gd name="connsiteX238" fmla="*/ 1579590 w 11269336"/>
              <a:gd name="connsiteY238" fmla="*/ 2173680 h 2323145"/>
              <a:gd name="connsiteX239" fmla="*/ 1535601 w 11269336"/>
              <a:gd name="connsiteY239" fmla="*/ 2194590 h 2323145"/>
              <a:gd name="connsiteX240" fmla="*/ 1515594 w 11269336"/>
              <a:gd name="connsiteY240" fmla="*/ 2189622 h 2323145"/>
              <a:gd name="connsiteX241" fmla="*/ 1512113 w 11269336"/>
              <a:gd name="connsiteY241" fmla="*/ 2188534 h 2323145"/>
              <a:gd name="connsiteX242" fmla="*/ 1498838 w 11269336"/>
              <a:gd name="connsiteY242" fmla="*/ 2189213 h 2323145"/>
              <a:gd name="connsiteX243" fmla="*/ 1494279 w 11269336"/>
              <a:gd name="connsiteY243" fmla="*/ 2183112 h 2323145"/>
              <a:gd name="connsiteX244" fmla="*/ 1473714 w 11269336"/>
              <a:gd name="connsiteY244" fmla="*/ 2179625 h 2323145"/>
              <a:gd name="connsiteX245" fmla="*/ 1449503 w 11269336"/>
              <a:gd name="connsiteY245" fmla="*/ 2182633 h 2323145"/>
              <a:gd name="connsiteX246" fmla="*/ 1266687 w 11269336"/>
              <a:gd name="connsiteY246" fmla="*/ 2212688 h 2323145"/>
              <a:gd name="connsiteX247" fmla="*/ 1239614 w 11269336"/>
              <a:gd name="connsiteY247" fmla="*/ 2209727 h 2323145"/>
              <a:gd name="connsiteX248" fmla="*/ 1202436 w 11269336"/>
              <a:gd name="connsiteY248" fmla="*/ 2209817 h 2323145"/>
              <a:gd name="connsiteX249" fmla="*/ 1136097 w 11269336"/>
              <a:gd name="connsiteY249" fmla="*/ 2205112 h 2323145"/>
              <a:gd name="connsiteX250" fmla="*/ 988232 w 11269336"/>
              <a:gd name="connsiteY250" fmla="*/ 2235635 h 2323145"/>
              <a:gd name="connsiteX251" fmla="*/ 981959 w 11269336"/>
              <a:gd name="connsiteY251" fmla="*/ 2231607 h 2323145"/>
              <a:gd name="connsiteX252" fmla="*/ 938600 w 11269336"/>
              <a:gd name="connsiteY252" fmla="*/ 2238113 h 2323145"/>
              <a:gd name="connsiteX253" fmla="*/ 791788 w 11269336"/>
              <a:gd name="connsiteY253" fmla="*/ 2293224 h 2323145"/>
              <a:gd name="connsiteX254" fmla="*/ 706914 w 11269336"/>
              <a:gd name="connsiteY254" fmla="*/ 2305046 h 2323145"/>
              <a:gd name="connsiteX255" fmla="*/ 675971 w 11269336"/>
              <a:gd name="connsiteY255" fmla="*/ 2304030 h 2323145"/>
              <a:gd name="connsiteX256" fmla="*/ 624180 w 11269336"/>
              <a:gd name="connsiteY256" fmla="*/ 2302650 h 2323145"/>
              <a:gd name="connsiteX257" fmla="*/ 583453 w 11269336"/>
              <a:gd name="connsiteY257" fmla="*/ 2288788 h 2323145"/>
              <a:gd name="connsiteX258" fmla="*/ 540946 w 11269336"/>
              <a:gd name="connsiteY258" fmla="*/ 2292721 h 2323145"/>
              <a:gd name="connsiteX259" fmla="*/ 533680 w 11269336"/>
              <a:gd name="connsiteY259" fmla="*/ 2310233 h 2323145"/>
              <a:gd name="connsiteX260" fmla="*/ 487366 w 11269336"/>
              <a:gd name="connsiteY260" fmla="*/ 2309053 h 2323145"/>
              <a:gd name="connsiteX261" fmla="*/ 416820 w 11269336"/>
              <a:gd name="connsiteY261" fmla="*/ 2305443 h 2323145"/>
              <a:gd name="connsiteX262" fmla="*/ 376805 w 11269336"/>
              <a:gd name="connsiteY262" fmla="*/ 2307647 h 2323145"/>
              <a:gd name="connsiteX263" fmla="*/ 266777 w 11269336"/>
              <a:gd name="connsiteY263" fmla="*/ 2309012 h 2323145"/>
              <a:gd name="connsiteX264" fmla="*/ 156013 w 11269336"/>
              <a:gd name="connsiteY264" fmla="*/ 2306832 h 2323145"/>
              <a:gd name="connsiteX265" fmla="*/ 87258 w 11269336"/>
              <a:gd name="connsiteY265" fmla="*/ 2285511 h 2323145"/>
              <a:gd name="connsiteX266" fmla="*/ 23798 w 11269336"/>
              <a:gd name="connsiteY266" fmla="*/ 2281822 h 2323145"/>
              <a:gd name="connsiteX267" fmla="*/ 0 w 11269336"/>
              <a:gd name="connsiteY267" fmla="*/ 2285369 h 2323145"/>
              <a:gd name="connsiteX268" fmla="*/ 0 w 11269336"/>
              <a:gd name="connsiteY268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795998 w 11269336"/>
              <a:gd name="connsiteY32" fmla="*/ 863337 h 2323145"/>
              <a:gd name="connsiteX33" fmla="*/ 8776970 w 11269336"/>
              <a:gd name="connsiteY33" fmla="*/ 885177 h 2323145"/>
              <a:gd name="connsiteX34" fmla="*/ 8755719 w 11269336"/>
              <a:gd name="connsiteY34" fmla="*/ 889754 h 2323145"/>
              <a:gd name="connsiteX35" fmla="*/ 8743257 w 11269336"/>
              <a:gd name="connsiteY35" fmla="*/ 904723 h 2323145"/>
              <a:gd name="connsiteX36" fmla="*/ 8721366 w 11269336"/>
              <a:gd name="connsiteY36" fmla="*/ 904711 h 2323145"/>
              <a:gd name="connsiteX37" fmla="*/ 8678353 w 11269336"/>
              <a:gd name="connsiteY37" fmla="*/ 926318 h 2323145"/>
              <a:gd name="connsiteX38" fmla="*/ 8636849 w 11269336"/>
              <a:gd name="connsiteY38" fmla="*/ 937900 h 2323145"/>
              <a:gd name="connsiteX39" fmla="*/ 8620213 w 11269336"/>
              <a:gd name="connsiteY39" fmla="*/ 943068 h 2323145"/>
              <a:gd name="connsiteX40" fmla="*/ 8612581 w 11269336"/>
              <a:gd name="connsiteY40" fmla="*/ 952695 h 2323145"/>
              <a:gd name="connsiteX41" fmla="*/ 8589038 w 11269336"/>
              <a:gd name="connsiteY41" fmla="*/ 963892 h 2323145"/>
              <a:gd name="connsiteX42" fmla="*/ 8579950 w 11269336"/>
              <a:gd name="connsiteY42" fmla="*/ 960899 h 2323145"/>
              <a:gd name="connsiteX43" fmla="*/ 8579319 w 11269336"/>
              <a:gd name="connsiteY43" fmla="*/ 965630 h 2323145"/>
              <a:gd name="connsiteX44" fmla="*/ 8547429 w 11269336"/>
              <a:gd name="connsiteY44" fmla="*/ 984506 h 2323145"/>
              <a:gd name="connsiteX45" fmla="*/ 8478704 w 11269336"/>
              <a:gd name="connsiteY45" fmla="*/ 1025490 h 2323145"/>
              <a:gd name="connsiteX46" fmla="*/ 8461421 w 11269336"/>
              <a:gd name="connsiteY46" fmla="*/ 1035512 h 2323145"/>
              <a:gd name="connsiteX47" fmla="*/ 8445003 w 11269336"/>
              <a:gd name="connsiteY47" fmla="*/ 1036851 h 2323145"/>
              <a:gd name="connsiteX48" fmla="*/ 8357350 w 11269336"/>
              <a:gd name="connsiteY48" fmla="*/ 1060213 h 2323145"/>
              <a:gd name="connsiteX49" fmla="*/ 8335565 w 11269336"/>
              <a:gd name="connsiteY49" fmla="*/ 1061151 h 2323145"/>
              <a:gd name="connsiteX50" fmla="*/ 8325267 w 11269336"/>
              <a:gd name="connsiteY50" fmla="*/ 1055919 h 2323145"/>
              <a:gd name="connsiteX51" fmla="*/ 8293586 w 11269336"/>
              <a:gd name="connsiteY51" fmla="*/ 1076144 h 2323145"/>
              <a:gd name="connsiteX52" fmla="*/ 8242405 w 11269336"/>
              <a:gd name="connsiteY52" fmla="*/ 1095960 h 2323145"/>
              <a:gd name="connsiteX53" fmla="*/ 8197391 w 11269336"/>
              <a:gd name="connsiteY53" fmla="*/ 1107746 h 2323145"/>
              <a:gd name="connsiteX54" fmla="*/ 8081474 w 11269336"/>
              <a:gd name="connsiteY54" fmla="*/ 1130125 h 2323145"/>
              <a:gd name="connsiteX55" fmla="*/ 8053585 w 11269336"/>
              <a:gd name="connsiteY55" fmla="*/ 1129169 h 2323145"/>
              <a:gd name="connsiteX56" fmla="*/ 8038422 w 11269336"/>
              <a:gd name="connsiteY56" fmla="*/ 1119092 h 2323145"/>
              <a:gd name="connsiteX57" fmla="*/ 8029450 w 11269336"/>
              <a:gd name="connsiteY57" fmla="*/ 1125592 h 2323145"/>
              <a:gd name="connsiteX58" fmla="*/ 7959552 w 11269336"/>
              <a:gd name="connsiteY58" fmla="*/ 1140188 h 2323145"/>
              <a:gd name="connsiteX59" fmla="*/ 7914188 w 11269336"/>
              <a:gd name="connsiteY59" fmla="*/ 1150862 h 2323145"/>
              <a:gd name="connsiteX60" fmla="*/ 7914918 w 11269336"/>
              <a:gd name="connsiteY60" fmla="*/ 1168758 h 2323145"/>
              <a:gd name="connsiteX61" fmla="*/ 7875510 w 11269336"/>
              <a:gd name="connsiteY61" fmla="*/ 1183153 h 2323145"/>
              <a:gd name="connsiteX62" fmla="*/ 7829932 w 11269336"/>
              <a:gd name="connsiteY62" fmla="*/ 1180782 h 2323145"/>
              <a:gd name="connsiteX63" fmla="*/ 7779182 w 11269336"/>
              <a:gd name="connsiteY63" fmla="*/ 1192665 h 2323145"/>
              <a:gd name="connsiteX64" fmla="*/ 7748774 w 11269336"/>
              <a:gd name="connsiteY64" fmla="*/ 1199586 h 2323145"/>
              <a:gd name="connsiteX65" fmla="*/ 7671846 w 11269336"/>
              <a:gd name="connsiteY65" fmla="*/ 1231966 h 2323145"/>
              <a:gd name="connsiteX66" fmla="*/ 7554146 w 11269336"/>
              <a:gd name="connsiteY66" fmla="*/ 1319748 h 2323145"/>
              <a:gd name="connsiteX67" fmla="*/ 7515052 w 11269336"/>
              <a:gd name="connsiteY67" fmla="*/ 1336718 h 2323145"/>
              <a:gd name="connsiteX68" fmla="*/ 7507193 w 11269336"/>
              <a:gd name="connsiteY68" fmla="*/ 1334617 h 2323145"/>
              <a:gd name="connsiteX69" fmla="*/ 7461694 w 11269336"/>
              <a:gd name="connsiteY69" fmla="*/ 1375866 h 2323145"/>
              <a:gd name="connsiteX70" fmla="*/ 7377571 w 11269336"/>
              <a:gd name="connsiteY70" fmla="*/ 1400128 h 2323145"/>
              <a:gd name="connsiteX71" fmla="*/ 7311261 w 11269336"/>
              <a:gd name="connsiteY71" fmla="*/ 1412652 h 2323145"/>
              <a:gd name="connsiteX72" fmla="*/ 7275307 w 11269336"/>
              <a:gd name="connsiteY72" fmla="*/ 1422171 h 2323145"/>
              <a:gd name="connsiteX73" fmla="*/ 7247783 w 11269336"/>
              <a:gd name="connsiteY73" fmla="*/ 1426330 h 2323145"/>
              <a:gd name="connsiteX74" fmla="*/ 7185047 w 11269336"/>
              <a:gd name="connsiteY74" fmla="*/ 1451812 h 2323145"/>
              <a:gd name="connsiteX75" fmla="*/ 7084117 w 11269336"/>
              <a:gd name="connsiteY75" fmla="*/ 1500281 h 2323145"/>
              <a:gd name="connsiteX76" fmla="*/ 7062011 w 11269336"/>
              <a:gd name="connsiteY76" fmla="*/ 1509183 h 2323145"/>
              <a:gd name="connsiteX77" fmla="*/ 7040555 w 11269336"/>
              <a:gd name="connsiteY77" fmla="*/ 1511207 h 2323145"/>
              <a:gd name="connsiteX78" fmla="*/ 7033438 w 11269336"/>
              <a:gd name="connsiteY78" fmla="*/ 1506772 h 2323145"/>
              <a:gd name="connsiteX79" fmla="*/ 7020886 w 11269336"/>
              <a:gd name="connsiteY79" fmla="*/ 1510764 h 2323145"/>
              <a:gd name="connsiteX80" fmla="*/ 7017033 w 11269336"/>
              <a:gd name="connsiteY80" fmla="*/ 1510650 h 2323145"/>
              <a:gd name="connsiteX81" fmla="*/ 6995460 w 11269336"/>
              <a:gd name="connsiteY81" fmla="*/ 1511173 h 2323145"/>
              <a:gd name="connsiteX82" fmla="*/ 6962144 w 11269336"/>
              <a:gd name="connsiteY82" fmla="*/ 1541508 h 2323145"/>
              <a:gd name="connsiteX83" fmla="*/ 6910674 w 11269336"/>
              <a:gd name="connsiteY83" fmla="*/ 1554793 h 2323145"/>
              <a:gd name="connsiteX84" fmla="*/ 6732152 w 11269336"/>
              <a:gd name="connsiteY84" fmla="*/ 1642538 h 2323145"/>
              <a:gd name="connsiteX85" fmla="*/ 6694106 w 11269336"/>
              <a:gd name="connsiteY85" fmla="*/ 1632377 h 2323145"/>
              <a:gd name="connsiteX86" fmla="*/ 6617223 w 11269336"/>
              <a:gd name="connsiteY86" fmla="*/ 1659889 h 2323145"/>
              <a:gd name="connsiteX87" fmla="*/ 6521138 w 11269336"/>
              <a:gd name="connsiteY87" fmla="*/ 1744340 h 2323145"/>
              <a:gd name="connsiteX88" fmla="*/ 6380677 w 11269336"/>
              <a:gd name="connsiteY88" fmla="*/ 1796883 h 2323145"/>
              <a:gd name="connsiteX89" fmla="*/ 6374897 w 11269336"/>
              <a:gd name="connsiteY89" fmla="*/ 1809910 h 2323145"/>
              <a:gd name="connsiteX90" fmla="*/ 6364545 w 11269336"/>
              <a:gd name="connsiteY90" fmla="*/ 1820090 h 2323145"/>
              <a:gd name="connsiteX91" fmla="*/ 6362126 w 11269336"/>
              <a:gd name="connsiteY91" fmla="*/ 1819991 h 2323145"/>
              <a:gd name="connsiteX92" fmla="*/ 6346673 w 11269336"/>
              <a:gd name="connsiteY92" fmla="*/ 1827824 h 2323145"/>
              <a:gd name="connsiteX93" fmla="*/ 6345588 w 11269336"/>
              <a:gd name="connsiteY93" fmla="*/ 1832232 h 2323145"/>
              <a:gd name="connsiteX94" fmla="*/ 6335708 w 11269336"/>
              <a:gd name="connsiteY94" fmla="*/ 1838451 h 2323145"/>
              <a:gd name="connsiteX95" fmla="*/ 6318182 w 11269336"/>
              <a:gd name="connsiteY95" fmla="*/ 1852975 h 2323145"/>
              <a:gd name="connsiteX96" fmla="*/ 6313084 w 11269336"/>
              <a:gd name="connsiteY96" fmla="*/ 1853561 h 2323145"/>
              <a:gd name="connsiteX97" fmla="*/ 6283816 w 11269336"/>
              <a:gd name="connsiteY97" fmla="*/ 1872148 h 2323145"/>
              <a:gd name="connsiteX98" fmla="*/ 6282550 w 11269336"/>
              <a:gd name="connsiteY98" fmla="*/ 1871392 h 2323145"/>
              <a:gd name="connsiteX99" fmla="*/ 6270527 w 11269336"/>
              <a:gd name="connsiteY99" fmla="*/ 1872208 h 2323145"/>
              <a:gd name="connsiteX100" fmla="*/ 6249518 w 11269336"/>
              <a:gd name="connsiteY100" fmla="*/ 1876079 h 2323145"/>
              <a:gd name="connsiteX101" fmla="*/ 6190386 w 11269336"/>
              <a:gd name="connsiteY101" fmla="*/ 1872478 h 2323145"/>
              <a:gd name="connsiteX102" fmla="*/ 6159777 w 11269336"/>
              <a:gd name="connsiteY102" fmla="*/ 1891745 h 2323145"/>
              <a:gd name="connsiteX103" fmla="*/ 6153131 w 11269336"/>
              <a:gd name="connsiteY103" fmla="*/ 1895079 h 2323145"/>
              <a:gd name="connsiteX104" fmla="*/ 6152798 w 11269336"/>
              <a:gd name="connsiteY104" fmla="*/ 1894920 h 2323145"/>
              <a:gd name="connsiteX105" fmla="*/ 6145388 w 11269336"/>
              <a:gd name="connsiteY105" fmla="*/ 1897990 h 2323145"/>
              <a:gd name="connsiteX106" fmla="*/ 6141014 w 11269336"/>
              <a:gd name="connsiteY106" fmla="*/ 1901155 h 2323145"/>
              <a:gd name="connsiteX107" fmla="*/ 6128122 w 11269336"/>
              <a:gd name="connsiteY107" fmla="*/ 1907623 h 2323145"/>
              <a:gd name="connsiteX108" fmla="*/ 6122351 w 11269336"/>
              <a:gd name="connsiteY108" fmla="*/ 1908359 h 2323145"/>
              <a:gd name="connsiteX109" fmla="*/ 6064750 w 11269336"/>
              <a:gd name="connsiteY109" fmla="*/ 1896394 h 2323145"/>
              <a:gd name="connsiteX110" fmla="*/ 5964230 w 11269336"/>
              <a:gd name="connsiteY110" fmla="*/ 1910038 h 2323145"/>
              <a:gd name="connsiteX111" fmla="*/ 5865399 w 11269336"/>
              <a:gd name="connsiteY111" fmla="*/ 1926966 h 2323145"/>
              <a:gd name="connsiteX112" fmla="*/ 5829951 w 11269336"/>
              <a:gd name="connsiteY112" fmla="*/ 1934755 h 2323145"/>
              <a:gd name="connsiteX113" fmla="*/ 5765285 w 11269336"/>
              <a:gd name="connsiteY113" fmla="*/ 1941322 h 2323145"/>
              <a:gd name="connsiteX114" fmla="*/ 5734750 w 11269336"/>
              <a:gd name="connsiteY114" fmla="*/ 1939793 h 2323145"/>
              <a:gd name="connsiteX115" fmla="*/ 5733569 w 11269336"/>
              <a:gd name="connsiteY115" fmla="*/ 1940505 h 2323145"/>
              <a:gd name="connsiteX116" fmla="*/ 5730329 w 11269336"/>
              <a:gd name="connsiteY116" fmla="*/ 1937845 h 2323145"/>
              <a:gd name="connsiteX117" fmla="*/ 5724661 w 11269336"/>
              <a:gd name="connsiteY117" fmla="*/ 1937455 h 2323145"/>
              <a:gd name="connsiteX118" fmla="*/ 5710186 w 11269336"/>
              <a:gd name="connsiteY118" fmla="*/ 1941370 h 2323145"/>
              <a:gd name="connsiteX119" fmla="*/ 5704910 w 11269336"/>
              <a:gd name="connsiteY119" fmla="*/ 1943663 h 2323145"/>
              <a:gd name="connsiteX120" fmla="*/ 5696836 w 11269336"/>
              <a:gd name="connsiteY120" fmla="*/ 1945271 h 2323145"/>
              <a:gd name="connsiteX121" fmla="*/ 5696583 w 11269336"/>
              <a:gd name="connsiteY121" fmla="*/ 1945050 h 2323145"/>
              <a:gd name="connsiteX122" fmla="*/ 5689123 w 11269336"/>
              <a:gd name="connsiteY122" fmla="*/ 1947067 h 2323145"/>
              <a:gd name="connsiteX123" fmla="*/ 5653291 w 11269336"/>
              <a:gd name="connsiteY123" fmla="*/ 1960245 h 2323145"/>
              <a:gd name="connsiteX124" fmla="*/ 5599385 w 11269336"/>
              <a:gd name="connsiteY124" fmla="*/ 1945198 h 2323145"/>
              <a:gd name="connsiteX125" fmla="*/ 5578300 w 11269336"/>
              <a:gd name="connsiteY125" fmla="*/ 1944963 h 2323145"/>
              <a:gd name="connsiteX126" fmla="*/ 5566758 w 11269336"/>
              <a:gd name="connsiteY126" fmla="*/ 1943441 h 2323145"/>
              <a:gd name="connsiteX127" fmla="*/ 5565857 w 11269336"/>
              <a:gd name="connsiteY127" fmla="*/ 1942445 h 2323145"/>
              <a:gd name="connsiteX128" fmla="*/ 5531534 w 11269336"/>
              <a:gd name="connsiteY128" fmla="*/ 1955208 h 2323145"/>
              <a:gd name="connsiteX129" fmla="*/ 5526552 w 11269336"/>
              <a:gd name="connsiteY129" fmla="*/ 1954799 h 2323145"/>
              <a:gd name="connsiteX130" fmla="*/ 5504723 w 11269336"/>
              <a:gd name="connsiteY130" fmla="*/ 1965811 h 2323145"/>
              <a:gd name="connsiteX131" fmla="*/ 5493156 w 11269336"/>
              <a:gd name="connsiteY131" fmla="*/ 1970063 h 2323145"/>
              <a:gd name="connsiteX132" fmla="*/ 5490486 w 11269336"/>
              <a:gd name="connsiteY132" fmla="*/ 1974227 h 2323145"/>
              <a:gd name="connsiteX133" fmla="*/ 5473107 w 11269336"/>
              <a:gd name="connsiteY133" fmla="*/ 1979001 h 2323145"/>
              <a:gd name="connsiteX134" fmla="*/ 5470885 w 11269336"/>
              <a:gd name="connsiteY134" fmla="*/ 1978432 h 2323145"/>
              <a:gd name="connsiteX135" fmla="*/ 5457393 w 11269336"/>
              <a:gd name="connsiteY135" fmla="*/ 1986525 h 2323145"/>
              <a:gd name="connsiteX136" fmla="*/ 5447102 w 11269336"/>
              <a:gd name="connsiteY136" fmla="*/ 1998329 h 2323145"/>
              <a:gd name="connsiteX137" fmla="*/ 5159151 w 11269336"/>
              <a:gd name="connsiteY137" fmla="*/ 2029640 h 2323145"/>
              <a:gd name="connsiteX138" fmla="*/ 5041688 w 11269336"/>
              <a:gd name="connsiteY138" fmla="*/ 2022334 h 2323145"/>
              <a:gd name="connsiteX139" fmla="*/ 4860988 w 11269336"/>
              <a:gd name="connsiteY139" fmla="*/ 2135698 h 2323145"/>
              <a:gd name="connsiteX140" fmla="*/ 4807902 w 11269336"/>
              <a:gd name="connsiteY140" fmla="*/ 2138894 h 2323145"/>
              <a:gd name="connsiteX141" fmla="*/ 4765388 w 11269336"/>
              <a:gd name="connsiteY141" fmla="*/ 2162525 h 2323145"/>
              <a:gd name="connsiteX142" fmla="*/ 4745033 w 11269336"/>
              <a:gd name="connsiteY142" fmla="*/ 2158859 h 2323145"/>
              <a:gd name="connsiteX143" fmla="*/ 4741475 w 11269336"/>
              <a:gd name="connsiteY143" fmla="*/ 2157998 h 2323145"/>
              <a:gd name="connsiteX144" fmla="*/ 4728247 w 11269336"/>
              <a:gd name="connsiteY144" fmla="*/ 2159526 h 2323145"/>
              <a:gd name="connsiteX145" fmla="*/ 4723263 w 11269336"/>
              <a:gd name="connsiteY145" fmla="*/ 2153742 h 2323145"/>
              <a:gd name="connsiteX146" fmla="*/ 4702453 w 11269336"/>
              <a:gd name="connsiteY146" fmla="*/ 2151586 h 2323145"/>
              <a:gd name="connsiteX147" fmla="*/ 4678455 w 11269336"/>
              <a:gd name="connsiteY147" fmla="*/ 2156131 h 2323145"/>
              <a:gd name="connsiteX148" fmla="*/ 4593061 w 11269336"/>
              <a:gd name="connsiteY148" fmla="*/ 2171597 h 2323145"/>
              <a:gd name="connsiteX149" fmla="*/ 4579902 w 11269336"/>
              <a:gd name="connsiteY149" fmla="*/ 2177927 h 2323145"/>
              <a:gd name="connsiteX150" fmla="*/ 4533444 w 11269336"/>
              <a:gd name="connsiteY150" fmla="*/ 2181200 h 2323145"/>
              <a:gd name="connsiteX151" fmla="*/ 4492832 w 11269336"/>
              <a:gd name="connsiteY151" fmla="*/ 2188033 h 2323145"/>
              <a:gd name="connsiteX152" fmla="*/ 4467257 w 11269336"/>
              <a:gd name="connsiteY152" fmla="*/ 2196121 h 2323145"/>
              <a:gd name="connsiteX153" fmla="*/ 4459937 w 11269336"/>
              <a:gd name="connsiteY153" fmla="*/ 2195182 h 2323145"/>
              <a:gd name="connsiteX154" fmla="*/ 4433312 w 11269336"/>
              <a:gd name="connsiteY154" fmla="*/ 2199004 h 2323145"/>
              <a:gd name="connsiteX155" fmla="*/ 4420601 w 11269336"/>
              <a:gd name="connsiteY155" fmla="*/ 2205158 h 2323145"/>
              <a:gd name="connsiteX156" fmla="*/ 4405765 w 11269336"/>
              <a:gd name="connsiteY156" fmla="*/ 2199902 h 2323145"/>
              <a:gd name="connsiteX157" fmla="*/ 4401354 w 11269336"/>
              <a:gd name="connsiteY157" fmla="*/ 2194745 h 2323145"/>
              <a:gd name="connsiteX158" fmla="*/ 4383151 w 11269336"/>
              <a:gd name="connsiteY158" fmla="*/ 2201140 h 2323145"/>
              <a:gd name="connsiteX159" fmla="*/ 4366646 w 11269336"/>
              <a:gd name="connsiteY159" fmla="*/ 2198564 h 2323145"/>
              <a:gd name="connsiteX160" fmla="*/ 4354009 w 11269336"/>
              <a:gd name="connsiteY160" fmla="*/ 2204984 h 2323145"/>
              <a:gd name="connsiteX161" fmla="*/ 4348284 w 11269336"/>
              <a:gd name="connsiteY161" fmla="*/ 2205270 h 2323145"/>
              <a:gd name="connsiteX162" fmla="*/ 4333906 w 11269336"/>
              <a:gd name="connsiteY162" fmla="*/ 2205251 h 2323145"/>
              <a:gd name="connsiteX163" fmla="*/ 4308819 w 11269336"/>
              <a:gd name="connsiteY163" fmla="*/ 2203822 h 2323145"/>
              <a:gd name="connsiteX164" fmla="*/ 4301210 w 11269336"/>
              <a:gd name="connsiteY164" fmla="*/ 2204456 h 2323145"/>
              <a:gd name="connsiteX165" fmla="*/ 4283095 w 11269336"/>
              <a:gd name="connsiteY165" fmla="*/ 2198177 h 2323145"/>
              <a:gd name="connsiteX166" fmla="*/ 4250119 w 11269336"/>
              <a:gd name="connsiteY166" fmla="*/ 2196342 h 2323145"/>
              <a:gd name="connsiteX167" fmla="*/ 4189203 w 11269336"/>
              <a:gd name="connsiteY167" fmla="*/ 2178994 h 2323145"/>
              <a:gd name="connsiteX168" fmla="*/ 4154035 w 11269336"/>
              <a:gd name="connsiteY168" fmla="*/ 2171950 h 2323145"/>
              <a:gd name="connsiteX169" fmla="*/ 4129569 w 11269336"/>
              <a:gd name="connsiteY169" fmla="*/ 2163850 h 2323145"/>
              <a:gd name="connsiteX170" fmla="*/ 4061250 w 11269336"/>
              <a:gd name="connsiteY170" fmla="*/ 2159236 h 2323145"/>
              <a:gd name="connsiteX171" fmla="*/ 3945480 w 11269336"/>
              <a:gd name="connsiteY171" fmla="*/ 2158279 h 2323145"/>
              <a:gd name="connsiteX172" fmla="*/ 3921468 w 11269336"/>
              <a:gd name="connsiteY172" fmla="*/ 2156588 h 2323145"/>
              <a:gd name="connsiteX173" fmla="*/ 3903348 w 11269336"/>
              <a:gd name="connsiteY173" fmla="*/ 2149220 h 2323145"/>
              <a:gd name="connsiteX174" fmla="*/ 3901342 w 11269336"/>
              <a:gd name="connsiteY174" fmla="*/ 2142355 h 2323145"/>
              <a:gd name="connsiteX175" fmla="*/ 3888539 w 11269336"/>
              <a:gd name="connsiteY175" fmla="*/ 2140476 h 2323145"/>
              <a:gd name="connsiteX176" fmla="*/ 3885662 w 11269336"/>
              <a:gd name="connsiteY176" fmla="*/ 2138740 h 2323145"/>
              <a:gd name="connsiteX177" fmla="*/ 3868627 w 11269336"/>
              <a:gd name="connsiteY177" fmla="*/ 2130023 h 2323145"/>
              <a:gd name="connsiteX178" fmla="*/ 3819177 w 11269336"/>
              <a:gd name="connsiteY178" fmla="*/ 2142111 h 2323145"/>
              <a:gd name="connsiteX179" fmla="*/ 3769100 w 11269336"/>
              <a:gd name="connsiteY179" fmla="*/ 2131731 h 2323145"/>
              <a:gd name="connsiteX180" fmla="*/ 3562752 w 11269336"/>
              <a:gd name="connsiteY180" fmla="*/ 2131785 h 2323145"/>
              <a:gd name="connsiteX181" fmla="*/ 3541402 w 11269336"/>
              <a:gd name="connsiteY181" fmla="*/ 2106821 h 2323145"/>
              <a:gd name="connsiteX182" fmla="*/ 3365341 w 11269336"/>
              <a:gd name="connsiteY182" fmla="*/ 2077638 h 2323145"/>
              <a:gd name="connsiteX183" fmla="*/ 3170922 w 11269336"/>
              <a:gd name="connsiteY183" fmla="*/ 2115957 h 2323145"/>
              <a:gd name="connsiteX184" fmla="*/ 3156256 w 11269336"/>
              <a:gd name="connsiteY184" fmla="*/ 2124773 h 2323145"/>
              <a:gd name="connsiteX185" fmla="*/ 3140298 w 11269336"/>
              <a:gd name="connsiteY185" fmla="*/ 2129182 h 2323145"/>
              <a:gd name="connsiteX186" fmla="*/ 3138514 w 11269336"/>
              <a:gd name="connsiteY186" fmla="*/ 2128069 h 2323145"/>
              <a:gd name="connsiteX187" fmla="*/ 3120467 w 11269336"/>
              <a:gd name="connsiteY187" fmla="*/ 2128281 h 2323145"/>
              <a:gd name="connsiteX188" fmla="*/ 3116175 w 11269336"/>
              <a:gd name="connsiteY188" fmla="*/ 2131633 h 2323145"/>
              <a:gd name="connsiteX189" fmla="*/ 3103685 w 11269336"/>
              <a:gd name="connsiteY189" fmla="*/ 2132814 h 2323145"/>
              <a:gd name="connsiteX190" fmla="*/ 3078794 w 11269336"/>
              <a:gd name="connsiteY190" fmla="*/ 2137935 h 2323145"/>
              <a:gd name="connsiteX191" fmla="*/ 3074407 w 11269336"/>
              <a:gd name="connsiteY191" fmla="*/ 2136274 h 2323145"/>
              <a:gd name="connsiteX192" fmla="*/ 3037285 w 11269336"/>
              <a:gd name="connsiteY192" fmla="*/ 2139919 h 2323145"/>
              <a:gd name="connsiteX193" fmla="*/ 3036901 w 11269336"/>
              <a:gd name="connsiteY193" fmla="*/ 2138726 h 2323145"/>
              <a:gd name="connsiteX194" fmla="*/ 3026996 w 11269336"/>
              <a:gd name="connsiteY194" fmla="*/ 2134322 h 2323145"/>
              <a:gd name="connsiteX195" fmla="*/ 3007772 w 11269336"/>
              <a:gd name="connsiteY195" fmla="*/ 2128742 h 2323145"/>
              <a:gd name="connsiteX196" fmla="*/ 2965030 w 11269336"/>
              <a:gd name="connsiteY196" fmla="*/ 2100494 h 2323145"/>
              <a:gd name="connsiteX197" fmla="*/ 2926342 w 11269336"/>
              <a:gd name="connsiteY197" fmla="*/ 2104155 h 2323145"/>
              <a:gd name="connsiteX198" fmla="*/ 2918608 w 11269336"/>
              <a:gd name="connsiteY198" fmla="*/ 2104215 h 2323145"/>
              <a:gd name="connsiteX199" fmla="*/ 2918475 w 11269336"/>
              <a:gd name="connsiteY199" fmla="*/ 2103937 h 2323145"/>
              <a:gd name="connsiteX200" fmla="*/ 2910360 w 11269336"/>
              <a:gd name="connsiteY200" fmla="*/ 2103444 h 2323145"/>
              <a:gd name="connsiteX201" fmla="*/ 2904507 w 11269336"/>
              <a:gd name="connsiteY201" fmla="*/ 2104326 h 2323145"/>
              <a:gd name="connsiteX202" fmla="*/ 2889503 w 11269336"/>
              <a:gd name="connsiteY202" fmla="*/ 2104443 h 2323145"/>
              <a:gd name="connsiteX203" fmla="*/ 2884480 w 11269336"/>
              <a:gd name="connsiteY203" fmla="*/ 2102626 h 2323145"/>
              <a:gd name="connsiteX204" fmla="*/ 2882689 w 11269336"/>
              <a:gd name="connsiteY204" fmla="*/ 2099228 h 2323145"/>
              <a:gd name="connsiteX205" fmla="*/ 2881291 w 11269336"/>
              <a:gd name="connsiteY205" fmla="*/ 2099618 h 2323145"/>
              <a:gd name="connsiteX206" fmla="*/ 2853979 w 11269336"/>
              <a:gd name="connsiteY206" fmla="*/ 2090388 h 2323145"/>
              <a:gd name="connsiteX207" fmla="*/ 2791790 w 11269336"/>
              <a:gd name="connsiteY207" fmla="*/ 2080332 h 2323145"/>
              <a:gd name="connsiteX208" fmla="*/ 2755844 w 11269336"/>
              <a:gd name="connsiteY208" fmla="*/ 2078874 h 2323145"/>
              <a:gd name="connsiteX209" fmla="*/ 2657742 w 11269336"/>
              <a:gd name="connsiteY209" fmla="*/ 2070179 h 2323145"/>
              <a:gd name="connsiteX210" fmla="*/ 2559549 w 11269336"/>
              <a:gd name="connsiteY210" fmla="*/ 2057873 h 2323145"/>
              <a:gd name="connsiteX211" fmla="*/ 2512054 w 11269336"/>
              <a:gd name="connsiteY211" fmla="*/ 2031671 h 2323145"/>
              <a:gd name="connsiteX212" fmla="*/ 2506437 w 11269336"/>
              <a:gd name="connsiteY212" fmla="*/ 2030918 h 2323145"/>
              <a:gd name="connsiteX213" fmla="*/ 2491752 w 11269336"/>
              <a:gd name="connsiteY213" fmla="*/ 2033906 h 2323145"/>
              <a:gd name="connsiteX214" fmla="*/ 2486338 w 11269336"/>
              <a:gd name="connsiteY214" fmla="*/ 2035862 h 2323145"/>
              <a:gd name="connsiteX215" fmla="*/ 2478186 w 11269336"/>
              <a:gd name="connsiteY215" fmla="*/ 2036953 h 2323145"/>
              <a:gd name="connsiteX216" fmla="*/ 2477950 w 11269336"/>
              <a:gd name="connsiteY216" fmla="*/ 2036715 h 2323145"/>
              <a:gd name="connsiteX217" fmla="*/ 2470381 w 11269336"/>
              <a:gd name="connsiteY217" fmla="*/ 2038256 h 2323145"/>
              <a:gd name="connsiteX218" fmla="*/ 2433781 w 11269336"/>
              <a:gd name="connsiteY218" fmla="*/ 2049140 h 2323145"/>
              <a:gd name="connsiteX219" fmla="*/ 2381172 w 11269336"/>
              <a:gd name="connsiteY219" fmla="*/ 2030645 h 2323145"/>
              <a:gd name="connsiteX220" fmla="*/ 2360198 w 11269336"/>
              <a:gd name="connsiteY220" fmla="*/ 2029059 h 2323145"/>
              <a:gd name="connsiteX221" fmla="*/ 2348815 w 11269336"/>
              <a:gd name="connsiteY221" fmla="*/ 2026798 h 2323145"/>
              <a:gd name="connsiteX222" fmla="*/ 2347988 w 11269336"/>
              <a:gd name="connsiteY222" fmla="*/ 2025745 h 2323145"/>
              <a:gd name="connsiteX223" fmla="*/ 2312920 w 11269336"/>
              <a:gd name="connsiteY223" fmla="*/ 2036311 h 2323145"/>
              <a:gd name="connsiteX224" fmla="*/ 2307986 w 11269336"/>
              <a:gd name="connsiteY224" fmla="*/ 2035583 h 2323145"/>
              <a:gd name="connsiteX225" fmla="*/ 2285481 w 11269336"/>
              <a:gd name="connsiteY225" fmla="*/ 2045197 h 2323145"/>
              <a:gd name="connsiteX226" fmla="*/ 2273666 w 11269336"/>
              <a:gd name="connsiteY226" fmla="*/ 2048710 h 2323145"/>
              <a:gd name="connsiteX227" fmla="*/ 2270719 w 11269336"/>
              <a:gd name="connsiteY227" fmla="*/ 2052702 h 2323145"/>
              <a:gd name="connsiteX228" fmla="*/ 2253080 w 11269336"/>
              <a:gd name="connsiteY228" fmla="*/ 2056363 h 2323145"/>
              <a:gd name="connsiteX229" fmla="*/ 2250906 w 11269336"/>
              <a:gd name="connsiteY229" fmla="*/ 2055654 h 2323145"/>
              <a:gd name="connsiteX230" fmla="*/ 2236905 w 11269336"/>
              <a:gd name="connsiteY230" fmla="*/ 2062882 h 2323145"/>
              <a:gd name="connsiteX231" fmla="*/ 2225830 w 11269336"/>
              <a:gd name="connsiteY231" fmla="*/ 2074027 h 2323145"/>
              <a:gd name="connsiteX232" fmla="*/ 2073776 w 11269336"/>
              <a:gd name="connsiteY232" fmla="*/ 2089244 h 2323145"/>
              <a:gd name="connsiteX233" fmla="*/ 1948256 w 11269336"/>
              <a:gd name="connsiteY233" fmla="*/ 2146616 h 2323145"/>
              <a:gd name="connsiteX234" fmla="*/ 1865582 w 11269336"/>
              <a:gd name="connsiteY234" fmla="*/ 2153738 h 2323145"/>
              <a:gd name="connsiteX235" fmla="*/ 1835210 w 11269336"/>
              <a:gd name="connsiteY235" fmla="*/ 2134244 h 2323145"/>
              <a:gd name="connsiteX236" fmla="*/ 1632661 w 11269336"/>
              <a:gd name="connsiteY236" fmla="*/ 2173882 h 2323145"/>
              <a:gd name="connsiteX237" fmla="*/ 1579590 w 11269336"/>
              <a:gd name="connsiteY237" fmla="*/ 2173680 h 2323145"/>
              <a:gd name="connsiteX238" fmla="*/ 1535601 w 11269336"/>
              <a:gd name="connsiteY238" fmla="*/ 2194590 h 2323145"/>
              <a:gd name="connsiteX239" fmla="*/ 1515594 w 11269336"/>
              <a:gd name="connsiteY239" fmla="*/ 2189622 h 2323145"/>
              <a:gd name="connsiteX240" fmla="*/ 1512113 w 11269336"/>
              <a:gd name="connsiteY240" fmla="*/ 2188534 h 2323145"/>
              <a:gd name="connsiteX241" fmla="*/ 1498838 w 11269336"/>
              <a:gd name="connsiteY241" fmla="*/ 2189213 h 2323145"/>
              <a:gd name="connsiteX242" fmla="*/ 1494279 w 11269336"/>
              <a:gd name="connsiteY242" fmla="*/ 2183112 h 2323145"/>
              <a:gd name="connsiteX243" fmla="*/ 1473714 w 11269336"/>
              <a:gd name="connsiteY243" fmla="*/ 2179625 h 2323145"/>
              <a:gd name="connsiteX244" fmla="*/ 1449503 w 11269336"/>
              <a:gd name="connsiteY244" fmla="*/ 2182633 h 2323145"/>
              <a:gd name="connsiteX245" fmla="*/ 1266687 w 11269336"/>
              <a:gd name="connsiteY245" fmla="*/ 2212688 h 2323145"/>
              <a:gd name="connsiteX246" fmla="*/ 1239614 w 11269336"/>
              <a:gd name="connsiteY246" fmla="*/ 2209727 h 2323145"/>
              <a:gd name="connsiteX247" fmla="*/ 1202436 w 11269336"/>
              <a:gd name="connsiteY247" fmla="*/ 2209817 h 2323145"/>
              <a:gd name="connsiteX248" fmla="*/ 1136097 w 11269336"/>
              <a:gd name="connsiteY248" fmla="*/ 2205112 h 2323145"/>
              <a:gd name="connsiteX249" fmla="*/ 988232 w 11269336"/>
              <a:gd name="connsiteY249" fmla="*/ 2235635 h 2323145"/>
              <a:gd name="connsiteX250" fmla="*/ 981959 w 11269336"/>
              <a:gd name="connsiteY250" fmla="*/ 2231607 h 2323145"/>
              <a:gd name="connsiteX251" fmla="*/ 938600 w 11269336"/>
              <a:gd name="connsiteY251" fmla="*/ 2238113 h 2323145"/>
              <a:gd name="connsiteX252" fmla="*/ 791788 w 11269336"/>
              <a:gd name="connsiteY252" fmla="*/ 2293224 h 2323145"/>
              <a:gd name="connsiteX253" fmla="*/ 706914 w 11269336"/>
              <a:gd name="connsiteY253" fmla="*/ 2305046 h 2323145"/>
              <a:gd name="connsiteX254" fmla="*/ 675971 w 11269336"/>
              <a:gd name="connsiteY254" fmla="*/ 2304030 h 2323145"/>
              <a:gd name="connsiteX255" fmla="*/ 624180 w 11269336"/>
              <a:gd name="connsiteY255" fmla="*/ 2302650 h 2323145"/>
              <a:gd name="connsiteX256" fmla="*/ 583453 w 11269336"/>
              <a:gd name="connsiteY256" fmla="*/ 2288788 h 2323145"/>
              <a:gd name="connsiteX257" fmla="*/ 540946 w 11269336"/>
              <a:gd name="connsiteY257" fmla="*/ 2292721 h 2323145"/>
              <a:gd name="connsiteX258" fmla="*/ 533680 w 11269336"/>
              <a:gd name="connsiteY258" fmla="*/ 2310233 h 2323145"/>
              <a:gd name="connsiteX259" fmla="*/ 487366 w 11269336"/>
              <a:gd name="connsiteY259" fmla="*/ 2309053 h 2323145"/>
              <a:gd name="connsiteX260" fmla="*/ 416820 w 11269336"/>
              <a:gd name="connsiteY260" fmla="*/ 2305443 h 2323145"/>
              <a:gd name="connsiteX261" fmla="*/ 376805 w 11269336"/>
              <a:gd name="connsiteY261" fmla="*/ 2307647 h 2323145"/>
              <a:gd name="connsiteX262" fmla="*/ 266777 w 11269336"/>
              <a:gd name="connsiteY262" fmla="*/ 2309012 h 2323145"/>
              <a:gd name="connsiteX263" fmla="*/ 156013 w 11269336"/>
              <a:gd name="connsiteY263" fmla="*/ 2306832 h 2323145"/>
              <a:gd name="connsiteX264" fmla="*/ 87258 w 11269336"/>
              <a:gd name="connsiteY264" fmla="*/ 2285511 h 2323145"/>
              <a:gd name="connsiteX265" fmla="*/ 23798 w 11269336"/>
              <a:gd name="connsiteY265" fmla="*/ 2281822 h 2323145"/>
              <a:gd name="connsiteX266" fmla="*/ 0 w 11269336"/>
              <a:gd name="connsiteY266" fmla="*/ 2285369 h 2323145"/>
              <a:gd name="connsiteX267" fmla="*/ 0 w 11269336"/>
              <a:gd name="connsiteY267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114263 w 11269336"/>
              <a:gd name="connsiteY21" fmla="*/ 709213 h 2323145"/>
              <a:gd name="connsiteX22" fmla="*/ 9028928 w 11269336"/>
              <a:gd name="connsiteY22" fmla="*/ 745350 h 2323145"/>
              <a:gd name="connsiteX23" fmla="*/ 8977138 w 11269336"/>
              <a:gd name="connsiteY23" fmla="*/ 774970 h 2323145"/>
              <a:gd name="connsiteX24" fmla="*/ 8947030 w 11269336"/>
              <a:gd name="connsiteY24" fmla="*/ 814934 h 2323145"/>
              <a:gd name="connsiteX25" fmla="*/ 8914746 w 11269336"/>
              <a:gd name="connsiteY25" fmla="*/ 826428 h 2323145"/>
              <a:gd name="connsiteX26" fmla="*/ 8917778 w 11269336"/>
              <a:gd name="connsiteY26" fmla="*/ 835198 h 2323145"/>
              <a:gd name="connsiteX27" fmla="*/ 8905560 w 11269336"/>
              <a:gd name="connsiteY27" fmla="*/ 838358 h 2323145"/>
              <a:gd name="connsiteX28" fmla="*/ 8897564 w 11269336"/>
              <a:gd name="connsiteY28" fmla="*/ 834287 h 2323145"/>
              <a:gd name="connsiteX29" fmla="*/ 8878040 w 11269336"/>
              <a:gd name="connsiteY29" fmla="*/ 844150 h 2323145"/>
              <a:gd name="connsiteX30" fmla="*/ 8882654 w 11269336"/>
              <a:gd name="connsiteY30" fmla="*/ 892768 h 2323145"/>
              <a:gd name="connsiteX31" fmla="*/ 8795998 w 11269336"/>
              <a:gd name="connsiteY31" fmla="*/ 863337 h 2323145"/>
              <a:gd name="connsiteX32" fmla="*/ 8776970 w 11269336"/>
              <a:gd name="connsiteY32" fmla="*/ 885177 h 2323145"/>
              <a:gd name="connsiteX33" fmla="*/ 8755719 w 11269336"/>
              <a:gd name="connsiteY33" fmla="*/ 889754 h 2323145"/>
              <a:gd name="connsiteX34" fmla="*/ 8743257 w 11269336"/>
              <a:gd name="connsiteY34" fmla="*/ 904723 h 2323145"/>
              <a:gd name="connsiteX35" fmla="*/ 8721366 w 11269336"/>
              <a:gd name="connsiteY35" fmla="*/ 904711 h 2323145"/>
              <a:gd name="connsiteX36" fmla="*/ 8678353 w 11269336"/>
              <a:gd name="connsiteY36" fmla="*/ 926318 h 2323145"/>
              <a:gd name="connsiteX37" fmla="*/ 8636849 w 11269336"/>
              <a:gd name="connsiteY37" fmla="*/ 937900 h 2323145"/>
              <a:gd name="connsiteX38" fmla="*/ 8620213 w 11269336"/>
              <a:gd name="connsiteY38" fmla="*/ 943068 h 2323145"/>
              <a:gd name="connsiteX39" fmla="*/ 8612581 w 11269336"/>
              <a:gd name="connsiteY39" fmla="*/ 952695 h 2323145"/>
              <a:gd name="connsiteX40" fmla="*/ 8589038 w 11269336"/>
              <a:gd name="connsiteY40" fmla="*/ 963892 h 2323145"/>
              <a:gd name="connsiteX41" fmla="*/ 8579950 w 11269336"/>
              <a:gd name="connsiteY41" fmla="*/ 960899 h 2323145"/>
              <a:gd name="connsiteX42" fmla="*/ 8579319 w 11269336"/>
              <a:gd name="connsiteY42" fmla="*/ 965630 h 2323145"/>
              <a:gd name="connsiteX43" fmla="*/ 8547429 w 11269336"/>
              <a:gd name="connsiteY43" fmla="*/ 984506 h 2323145"/>
              <a:gd name="connsiteX44" fmla="*/ 8478704 w 11269336"/>
              <a:gd name="connsiteY44" fmla="*/ 1025490 h 2323145"/>
              <a:gd name="connsiteX45" fmla="*/ 8461421 w 11269336"/>
              <a:gd name="connsiteY45" fmla="*/ 1035512 h 2323145"/>
              <a:gd name="connsiteX46" fmla="*/ 8445003 w 11269336"/>
              <a:gd name="connsiteY46" fmla="*/ 1036851 h 2323145"/>
              <a:gd name="connsiteX47" fmla="*/ 8357350 w 11269336"/>
              <a:gd name="connsiteY47" fmla="*/ 1060213 h 2323145"/>
              <a:gd name="connsiteX48" fmla="*/ 8335565 w 11269336"/>
              <a:gd name="connsiteY48" fmla="*/ 1061151 h 2323145"/>
              <a:gd name="connsiteX49" fmla="*/ 8325267 w 11269336"/>
              <a:gd name="connsiteY49" fmla="*/ 1055919 h 2323145"/>
              <a:gd name="connsiteX50" fmla="*/ 8293586 w 11269336"/>
              <a:gd name="connsiteY50" fmla="*/ 1076144 h 2323145"/>
              <a:gd name="connsiteX51" fmla="*/ 8242405 w 11269336"/>
              <a:gd name="connsiteY51" fmla="*/ 1095960 h 2323145"/>
              <a:gd name="connsiteX52" fmla="*/ 8197391 w 11269336"/>
              <a:gd name="connsiteY52" fmla="*/ 1107746 h 2323145"/>
              <a:gd name="connsiteX53" fmla="*/ 8081474 w 11269336"/>
              <a:gd name="connsiteY53" fmla="*/ 1130125 h 2323145"/>
              <a:gd name="connsiteX54" fmla="*/ 8053585 w 11269336"/>
              <a:gd name="connsiteY54" fmla="*/ 1129169 h 2323145"/>
              <a:gd name="connsiteX55" fmla="*/ 8038422 w 11269336"/>
              <a:gd name="connsiteY55" fmla="*/ 1119092 h 2323145"/>
              <a:gd name="connsiteX56" fmla="*/ 8029450 w 11269336"/>
              <a:gd name="connsiteY56" fmla="*/ 1125592 h 2323145"/>
              <a:gd name="connsiteX57" fmla="*/ 7959552 w 11269336"/>
              <a:gd name="connsiteY57" fmla="*/ 1140188 h 2323145"/>
              <a:gd name="connsiteX58" fmla="*/ 7914188 w 11269336"/>
              <a:gd name="connsiteY58" fmla="*/ 1150862 h 2323145"/>
              <a:gd name="connsiteX59" fmla="*/ 7914918 w 11269336"/>
              <a:gd name="connsiteY59" fmla="*/ 1168758 h 2323145"/>
              <a:gd name="connsiteX60" fmla="*/ 7875510 w 11269336"/>
              <a:gd name="connsiteY60" fmla="*/ 1183153 h 2323145"/>
              <a:gd name="connsiteX61" fmla="*/ 7829932 w 11269336"/>
              <a:gd name="connsiteY61" fmla="*/ 1180782 h 2323145"/>
              <a:gd name="connsiteX62" fmla="*/ 7779182 w 11269336"/>
              <a:gd name="connsiteY62" fmla="*/ 1192665 h 2323145"/>
              <a:gd name="connsiteX63" fmla="*/ 7748774 w 11269336"/>
              <a:gd name="connsiteY63" fmla="*/ 1199586 h 2323145"/>
              <a:gd name="connsiteX64" fmla="*/ 7671846 w 11269336"/>
              <a:gd name="connsiteY64" fmla="*/ 1231966 h 2323145"/>
              <a:gd name="connsiteX65" fmla="*/ 7554146 w 11269336"/>
              <a:gd name="connsiteY65" fmla="*/ 1319748 h 2323145"/>
              <a:gd name="connsiteX66" fmla="*/ 7515052 w 11269336"/>
              <a:gd name="connsiteY66" fmla="*/ 1336718 h 2323145"/>
              <a:gd name="connsiteX67" fmla="*/ 7507193 w 11269336"/>
              <a:gd name="connsiteY67" fmla="*/ 1334617 h 2323145"/>
              <a:gd name="connsiteX68" fmla="*/ 7461694 w 11269336"/>
              <a:gd name="connsiteY68" fmla="*/ 1375866 h 2323145"/>
              <a:gd name="connsiteX69" fmla="*/ 7377571 w 11269336"/>
              <a:gd name="connsiteY69" fmla="*/ 1400128 h 2323145"/>
              <a:gd name="connsiteX70" fmla="*/ 7311261 w 11269336"/>
              <a:gd name="connsiteY70" fmla="*/ 1412652 h 2323145"/>
              <a:gd name="connsiteX71" fmla="*/ 7275307 w 11269336"/>
              <a:gd name="connsiteY71" fmla="*/ 1422171 h 2323145"/>
              <a:gd name="connsiteX72" fmla="*/ 7247783 w 11269336"/>
              <a:gd name="connsiteY72" fmla="*/ 1426330 h 2323145"/>
              <a:gd name="connsiteX73" fmla="*/ 7185047 w 11269336"/>
              <a:gd name="connsiteY73" fmla="*/ 1451812 h 2323145"/>
              <a:gd name="connsiteX74" fmla="*/ 7084117 w 11269336"/>
              <a:gd name="connsiteY74" fmla="*/ 1500281 h 2323145"/>
              <a:gd name="connsiteX75" fmla="*/ 7062011 w 11269336"/>
              <a:gd name="connsiteY75" fmla="*/ 1509183 h 2323145"/>
              <a:gd name="connsiteX76" fmla="*/ 7040555 w 11269336"/>
              <a:gd name="connsiteY76" fmla="*/ 1511207 h 2323145"/>
              <a:gd name="connsiteX77" fmla="*/ 7033438 w 11269336"/>
              <a:gd name="connsiteY77" fmla="*/ 1506772 h 2323145"/>
              <a:gd name="connsiteX78" fmla="*/ 7020886 w 11269336"/>
              <a:gd name="connsiteY78" fmla="*/ 1510764 h 2323145"/>
              <a:gd name="connsiteX79" fmla="*/ 7017033 w 11269336"/>
              <a:gd name="connsiteY79" fmla="*/ 1510650 h 2323145"/>
              <a:gd name="connsiteX80" fmla="*/ 6995460 w 11269336"/>
              <a:gd name="connsiteY80" fmla="*/ 1511173 h 2323145"/>
              <a:gd name="connsiteX81" fmla="*/ 6962144 w 11269336"/>
              <a:gd name="connsiteY81" fmla="*/ 1541508 h 2323145"/>
              <a:gd name="connsiteX82" fmla="*/ 6910674 w 11269336"/>
              <a:gd name="connsiteY82" fmla="*/ 1554793 h 2323145"/>
              <a:gd name="connsiteX83" fmla="*/ 6732152 w 11269336"/>
              <a:gd name="connsiteY83" fmla="*/ 1642538 h 2323145"/>
              <a:gd name="connsiteX84" fmla="*/ 6694106 w 11269336"/>
              <a:gd name="connsiteY84" fmla="*/ 1632377 h 2323145"/>
              <a:gd name="connsiteX85" fmla="*/ 6617223 w 11269336"/>
              <a:gd name="connsiteY85" fmla="*/ 1659889 h 2323145"/>
              <a:gd name="connsiteX86" fmla="*/ 6521138 w 11269336"/>
              <a:gd name="connsiteY86" fmla="*/ 1744340 h 2323145"/>
              <a:gd name="connsiteX87" fmla="*/ 6380677 w 11269336"/>
              <a:gd name="connsiteY87" fmla="*/ 1796883 h 2323145"/>
              <a:gd name="connsiteX88" fmla="*/ 6374897 w 11269336"/>
              <a:gd name="connsiteY88" fmla="*/ 1809910 h 2323145"/>
              <a:gd name="connsiteX89" fmla="*/ 6364545 w 11269336"/>
              <a:gd name="connsiteY89" fmla="*/ 1820090 h 2323145"/>
              <a:gd name="connsiteX90" fmla="*/ 6362126 w 11269336"/>
              <a:gd name="connsiteY90" fmla="*/ 1819991 h 2323145"/>
              <a:gd name="connsiteX91" fmla="*/ 6346673 w 11269336"/>
              <a:gd name="connsiteY91" fmla="*/ 1827824 h 2323145"/>
              <a:gd name="connsiteX92" fmla="*/ 6345588 w 11269336"/>
              <a:gd name="connsiteY92" fmla="*/ 1832232 h 2323145"/>
              <a:gd name="connsiteX93" fmla="*/ 6335708 w 11269336"/>
              <a:gd name="connsiteY93" fmla="*/ 1838451 h 2323145"/>
              <a:gd name="connsiteX94" fmla="*/ 6318182 w 11269336"/>
              <a:gd name="connsiteY94" fmla="*/ 1852975 h 2323145"/>
              <a:gd name="connsiteX95" fmla="*/ 6313084 w 11269336"/>
              <a:gd name="connsiteY95" fmla="*/ 1853561 h 2323145"/>
              <a:gd name="connsiteX96" fmla="*/ 6283816 w 11269336"/>
              <a:gd name="connsiteY96" fmla="*/ 1872148 h 2323145"/>
              <a:gd name="connsiteX97" fmla="*/ 6282550 w 11269336"/>
              <a:gd name="connsiteY97" fmla="*/ 1871392 h 2323145"/>
              <a:gd name="connsiteX98" fmla="*/ 6270527 w 11269336"/>
              <a:gd name="connsiteY98" fmla="*/ 1872208 h 2323145"/>
              <a:gd name="connsiteX99" fmla="*/ 6249518 w 11269336"/>
              <a:gd name="connsiteY99" fmla="*/ 1876079 h 2323145"/>
              <a:gd name="connsiteX100" fmla="*/ 6190386 w 11269336"/>
              <a:gd name="connsiteY100" fmla="*/ 1872478 h 2323145"/>
              <a:gd name="connsiteX101" fmla="*/ 6159777 w 11269336"/>
              <a:gd name="connsiteY101" fmla="*/ 1891745 h 2323145"/>
              <a:gd name="connsiteX102" fmla="*/ 6153131 w 11269336"/>
              <a:gd name="connsiteY102" fmla="*/ 1895079 h 2323145"/>
              <a:gd name="connsiteX103" fmla="*/ 6152798 w 11269336"/>
              <a:gd name="connsiteY103" fmla="*/ 1894920 h 2323145"/>
              <a:gd name="connsiteX104" fmla="*/ 6145388 w 11269336"/>
              <a:gd name="connsiteY104" fmla="*/ 1897990 h 2323145"/>
              <a:gd name="connsiteX105" fmla="*/ 6141014 w 11269336"/>
              <a:gd name="connsiteY105" fmla="*/ 1901155 h 2323145"/>
              <a:gd name="connsiteX106" fmla="*/ 6128122 w 11269336"/>
              <a:gd name="connsiteY106" fmla="*/ 1907623 h 2323145"/>
              <a:gd name="connsiteX107" fmla="*/ 6122351 w 11269336"/>
              <a:gd name="connsiteY107" fmla="*/ 1908359 h 2323145"/>
              <a:gd name="connsiteX108" fmla="*/ 6064750 w 11269336"/>
              <a:gd name="connsiteY108" fmla="*/ 1896394 h 2323145"/>
              <a:gd name="connsiteX109" fmla="*/ 5964230 w 11269336"/>
              <a:gd name="connsiteY109" fmla="*/ 1910038 h 2323145"/>
              <a:gd name="connsiteX110" fmla="*/ 5865399 w 11269336"/>
              <a:gd name="connsiteY110" fmla="*/ 1926966 h 2323145"/>
              <a:gd name="connsiteX111" fmla="*/ 5829951 w 11269336"/>
              <a:gd name="connsiteY111" fmla="*/ 1934755 h 2323145"/>
              <a:gd name="connsiteX112" fmla="*/ 5765285 w 11269336"/>
              <a:gd name="connsiteY112" fmla="*/ 1941322 h 2323145"/>
              <a:gd name="connsiteX113" fmla="*/ 5734750 w 11269336"/>
              <a:gd name="connsiteY113" fmla="*/ 1939793 h 2323145"/>
              <a:gd name="connsiteX114" fmla="*/ 5733569 w 11269336"/>
              <a:gd name="connsiteY114" fmla="*/ 1940505 h 2323145"/>
              <a:gd name="connsiteX115" fmla="*/ 5730329 w 11269336"/>
              <a:gd name="connsiteY115" fmla="*/ 1937845 h 2323145"/>
              <a:gd name="connsiteX116" fmla="*/ 5724661 w 11269336"/>
              <a:gd name="connsiteY116" fmla="*/ 1937455 h 2323145"/>
              <a:gd name="connsiteX117" fmla="*/ 5710186 w 11269336"/>
              <a:gd name="connsiteY117" fmla="*/ 1941370 h 2323145"/>
              <a:gd name="connsiteX118" fmla="*/ 5704910 w 11269336"/>
              <a:gd name="connsiteY118" fmla="*/ 1943663 h 2323145"/>
              <a:gd name="connsiteX119" fmla="*/ 5696836 w 11269336"/>
              <a:gd name="connsiteY119" fmla="*/ 1945271 h 2323145"/>
              <a:gd name="connsiteX120" fmla="*/ 5696583 w 11269336"/>
              <a:gd name="connsiteY120" fmla="*/ 1945050 h 2323145"/>
              <a:gd name="connsiteX121" fmla="*/ 5689123 w 11269336"/>
              <a:gd name="connsiteY121" fmla="*/ 1947067 h 2323145"/>
              <a:gd name="connsiteX122" fmla="*/ 5653291 w 11269336"/>
              <a:gd name="connsiteY122" fmla="*/ 1960245 h 2323145"/>
              <a:gd name="connsiteX123" fmla="*/ 5599385 w 11269336"/>
              <a:gd name="connsiteY123" fmla="*/ 1945198 h 2323145"/>
              <a:gd name="connsiteX124" fmla="*/ 5578300 w 11269336"/>
              <a:gd name="connsiteY124" fmla="*/ 1944963 h 2323145"/>
              <a:gd name="connsiteX125" fmla="*/ 5566758 w 11269336"/>
              <a:gd name="connsiteY125" fmla="*/ 1943441 h 2323145"/>
              <a:gd name="connsiteX126" fmla="*/ 5565857 w 11269336"/>
              <a:gd name="connsiteY126" fmla="*/ 1942445 h 2323145"/>
              <a:gd name="connsiteX127" fmla="*/ 5531534 w 11269336"/>
              <a:gd name="connsiteY127" fmla="*/ 1955208 h 2323145"/>
              <a:gd name="connsiteX128" fmla="*/ 5526552 w 11269336"/>
              <a:gd name="connsiteY128" fmla="*/ 1954799 h 2323145"/>
              <a:gd name="connsiteX129" fmla="*/ 5504723 w 11269336"/>
              <a:gd name="connsiteY129" fmla="*/ 1965811 h 2323145"/>
              <a:gd name="connsiteX130" fmla="*/ 5493156 w 11269336"/>
              <a:gd name="connsiteY130" fmla="*/ 1970063 h 2323145"/>
              <a:gd name="connsiteX131" fmla="*/ 5490486 w 11269336"/>
              <a:gd name="connsiteY131" fmla="*/ 1974227 h 2323145"/>
              <a:gd name="connsiteX132" fmla="*/ 5473107 w 11269336"/>
              <a:gd name="connsiteY132" fmla="*/ 1979001 h 2323145"/>
              <a:gd name="connsiteX133" fmla="*/ 5470885 w 11269336"/>
              <a:gd name="connsiteY133" fmla="*/ 1978432 h 2323145"/>
              <a:gd name="connsiteX134" fmla="*/ 5457393 w 11269336"/>
              <a:gd name="connsiteY134" fmla="*/ 1986525 h 2323145"/>
              <a:gd name="connsiteX135" fmla="*/ 5447102 w 11269336"/>
              <a:gd name="connsiteY135" fmla="*/ 1998329 h 2323145"/>
              <a:gd name="connsiteX136" fmla="*/ 5159151 w 11269336"/>
              <a:gd name="connsiteY136" fmla="*/ 2029640 h 2323145"/>
              <a:gd name="connsiteX137" fmla="*/ 5041688 w 11269336"/>
              <a:gd name="connsiteY137" fmla="*/ 2022334 h 2323145"/>
              <a:gd name="connsiteX138" fmla="*/ 4860988 w 11269336"/>
              <a:gd name="connsiteY138" fmla="*/ 2135698 h 2323145"/>
              <a:gd name="connsiteX139" fmla="*/ 4807902 w 11269336"/>
              <a:gd name="connsiteY139" fmla="*/ 2138894 h 2323145"/>
              <a:gd name="connsiteX140" fmla="*/ 4765388 w 11269336"/>
              <a:gd name="connsiteY140" fmla="*/ 2162525 h 2323145"/>
              <a:gd name="connsiteX141" fmla="*/ 4745033 w 11269336"/>
              <a:gd name="connsiteY141" fmla="*/ 2158859 h 2323145"/>
              <a:gd name="connsiteX142" fmla="*/ 4741475 w 11269336"/>
              <a:gd name="connsiteY142" fmla="*/ 2157998 h 2323145"/>
              <a:gd name="connsiteX143" fmla="*/ 4728247 w 11269336"/>
              <a:gd name="connsiteY143" fmla="*/ 2159526 h 2323145"/>
              <a:gd name="connsiteX144" fmla="*/ 4723263 w 11269336"/>
              <a:gd name="connsiteY144" fmla="*/ 2153742 h 2323145"/>
              <a:gd name="connsiteX145" fmla="*/ 4702453 w 11269336"/>
              <a:gd name="connsiteY145" fmla="*/ 2151586 h 2323145"/>
              <a:gd name="connsiteX146" fmla="*/ 4678455 w 11269336"/>
              <a:gd name="connsiteY146" fmla="*/ 2156131 h 2323145"/>
              <a:gd name="connsiteX147" fmla="*/ 4593061 w 11269336"/>
              <a:gd name="connsiteY147" fmla="*/ 2171597 h 2323145"/>
              <a:gd name="connsiteX148" fmla="*/ 4579902 w 11269336"/>
              <a:gd name="connsiteY148" fmla="*/ 2177927 h 2323145"/>
              <a:gd name="connsiteX149" fmla="*/ 4533444 w 11269336"/>
              <a:gd name="connsiteY149" fmla="*/ 2181200 h 2323145"/>
              <a:gd name="connsiteX150" fmla="*/ 4492832 w 11269336"/>
              <a:gd name="connsiteY150" fmla="*/ 2188033 h 2323145"/>
              <a:gd name="connsiteX151" fmla="*/ 4467257 w 11269336"/>
              <a:gd name="connsiteY151" fmla="*/ 2196121 h 2323145"/>
              <a:gd name="connsiteX152" fmla="*/ 4459937 w 11269336"/>
              <a:gd name="connsiteY152" fmla="*/ 2195182 h 2323145"/>
              <a:gd name="connsiteX153" fmla="*/ 4433312 w 11269336"/>
              <a:gd name="connsiteY153" fmla="*/ 2199004 h 2323145"/>
              <a:gd name="connsiteX154" fmla="*/ 4420601 w 11269336"/>
              <a:gd name="connsiteY154" fmla="*/ 2205158 h 2323145"/>
              <a:gd name="connsiteX155" fmla="*/ 4405765 w 11269336"/>
              <a:gd name="connsiteY155" fmla="*/ 2199902 h 2323145"/>
              <a:gd name="connsiteX156" fmla="*/ 4401354 w 11269336"/>
              <a:gd name="connsiteY156" fmla="*/ 2194745 h 2323145"/>
              <a:gd name="connsiteX157" fmla="*/ 4383151 w 11269336"/>
              <a:gd name="connsiteY157" fmla="*/ 2201140 h 2323145"/>
              <a:gd name="connsiteX158" fmla="*/ 4366646 w 11269336"/>
              <a:gd name="connsiteY158" fmla="*/ 2198564 h 2323145"/>
              <a:gd name="connsiteX159" fmla="*/ 4354009 w 11269336"/>
              <a:gd name="connsiteY159" fmla="*/ 2204984 h 2323145"/>
              <a:gd name="connsiteX160" fmla="*/ 4348284 w 11269336"/>
              <a:gd name="connsiteY160" fmla="*/ 2205270 h 2323145"/>
              <a:gd name="connsiteX161" fmla="*/ 4333906 w 11269336"/>
              <a:gd name="connsiteY161" fmla="*/ 2205251 h 2323145"/>
              <a:gd name="connsiteX162" fmla="*/ 4308819 w 11269336"/>
              <a:gd name="connsiteY162" fmla="*/ 2203822 h 2323145"/>
              <a:gd name="connsiteX163" fmla="*/ 4301210 w 11269336"/>
              <a:gd name="connsiteY163" fmla="*/ 2204456 h 2323145"/>
              <a:gd name="connsiteX164" fmla="*/ 4283095 w 11269336"/>
              <a:gd name="connsiteY164" fmla="*/ 2198177 h 2323145"/>
              <a:gd name="connsiteX165" fmla="*/ 4250119 w 11269336"/>
              <a:gd name="connsiteY165" fmla="*/ 2196342 h 2323145"/>
              <a:gd name="connsiteX166" fmla="*/ 4189203 w 11269336"/>
              <a:gd name="connsiteY166" fmla="*/ 2178994 h 2323145"/>
              <a:gd name="connsiteX167" fmla="*/ 4154035 w 11269336"/>
              <a:gd name="connsiteY167" fmla="*/ 2171950 h 2323145"/>
              <a:gd name="connsiteX168" fmla="*/ 4129569 w 11269336"/>
              <a:gd name="connsiteY168" fmla="*/ 2163850 h 2323145"/>
              <a:gd name="connsiteX169" fmla="*/ 4061250 w 11269336"/>
              <a:gd name="connsiteY169" fmla="*/ 2159236 h 2323145"/>
              <a:gd name="connsiteX170" fmla="*/ 3945480 w 11269336"/>
              <a:gd name="connsiteY170" fmla="*/ 2158279 h 2323145"/>
              <a:gd name="connsiteX171" fmla="*/ 3921468 w 11269336"/>
              <a:gd name="connsiteY171" fmla="*/ 2156588 h 2323145"/>
              <a:gd name="connsiteX172" fmla="*/ 3903348 w 11269336"/>
              <a:gd name="connsiteY172" fmla="*/ 2149220 h 2323145"/>
              <a:gd name="connsiteX173" fmla="*/ 3901342 w 11269336"/>
              <a:gd name="connsiteY173" fmla="*/ 2142355 h 2323145"/>
              <a:gd name="connsiteX174" fmla="*/ 3888539 w 11269336"/>
              <a:gd name="connsiteY174" fmla="*/ 2140476 h 2323145"/>
              <a:gd name="connsiteX175" fmla="*/ 3885662 w 11269336"/>
              <a:gd name="connsiteY175" fmla="*/ 2138740 h 2323145"/>
              <a:gd name="connsiteX176" fmla="*/ 3868627 w 11269336"/>
              <a:gd name="connsiteY176" fmla="*/ 2130023 h 2323145"/>
              <a:gd name="connsiteX177" fmla="*/ 3819177 w 11269336"/>
              <a:gd name="connsiteY177" fmla="*/ 2142111 h 2323145"/>
              <a:gd name="connsiteX178" fmla="*/ 3769100 w 11269336"/>
              <a:gd name="connsiteY178" fmla="*/ 2131731 h 2323145"/>
              <a:gd name="connsiteX179" fmla="*/ 3562752 w 11269336"/>
              <a:gd name="connsiteY179" fmla="*/ 2131785 h 2323145"/>
              <a:gd name="connsiteX180" fmla="*/ 3541402 w 11269336"/>
              <a:gd name="connsiteY180" fmla="*/ 2106821 h 2323145"/>
              <a:gd name="connsiteX181" fmla="*/ 3365341 w 11269336"/>
              <a:gd name="connsiteY181" fmla="*/ 2077638 h 2323145"/>
              <a:gd name="connsiteX182" fmla="*/ 3170922 w 11269336"/>
              <a:gd name="connsiteY182" fmla="*/ 2115957 h 2323145"/>
              <a:gd name="connsiteX183" fmla="*/ 3156256 w 11269336"/>
              <a:gd name="connsiteY183" fmla="*/ 2124773 h 2323145"/>
              <a:gd name="connsiteX184" fmla="*/ 3140298 w 11269336"/>
              <a:gd name="connsiteY184" fmla="*/ 2129182 h 2323145"/>
              <a:gd name="connsiteX185" fmla="*/ 3138514 w 11269336"/>
              <a:gd name="connsiteY185" fmla="*/ 2128069 h 2323145"/>
              <a:gd name="connsiteX186" fmla="*/ 3120467 w 11269336"/>
              <a:gd name="connsiteY186" fmla="*/ 2128281 h 2323145"/>
              <a:gd name="connsiteX187" fmla="*/ 3116175 w 11269336"/>
              <a:gd name="connsiteY187" fmla="*/ 2131633 h 2323145"/>
              <a:gd name="connsiteX188" fmla="*/ 3103685 w 11269336"/>
              <a:gd name="connsiteY188" fmla="*/ 2132814 h 2323145"/>
              <a:gd name="connsiteX189" fmla="*/ 3078794 w 11269336"/>
              <a:gd name="connsiteY189" fmla="*/ 2137935 h 2323145"/>
              <a:gd name="connsiteX190" fmla="*/ 3074407 w 11269336"/>
              <a:gd name="connsiteY190" fmla="*/ 2136274 h 2323145"/>
              <a:gd name="connsiteX191" fmla="*/ 3037285 w 11269336"/>
              <a:gd name="connsiteY191" fmla="*/ 2139919 h 2323145"/>
              <a:gd name="connsiteX192" fmla="*/ 3036901 w 11269336"/>
              <a:gd name="connsiteY192" fmla="*/ 2138726 h 2323145"/>
              <a:gd name="connsiteX193" fmla="*/ 3026996 w 11269336"/>
              <a:gd name="connsiteY193" fmla="*/ 2134322 h 2323145"/>
              <a:gd name="connsiteX194" fmla="*/ 3007772 w 11269336"/>
              <a:gd name="connsiteY194" fmla="*/ 2128742 h 2323145"/>
              <a:gd name="connsiteX195" fmla="*/ 2965030 w 11269336"/>
              <a:gd name="connsiteY195" fmla="*/ 2100494 h 2323145"/>
              <a:gd name="connsiteX196" fmla="*/ 2926342 w 11269336"/>
              <a:gd name="connsiteY196" fmla="*/ 2104155 h 2323145"/>
              <a:gd name="connsiteX197" fmla="*/ 2918608 w 11269336"/>
              <a:gd name="connsiteY197" fmla="*/ 2104215 h 2323145"/>
              <a:gd name="connsiteX198" fmla="*/ 2918475 w 11269336"/>
              <a:gd name="connsiteY198" fmla="*/ 2103937 h 2323145"/>
              <a:gd name="connsiteX199" fmla="*/ 2910360 w 11269336"/>
              <a:gd name="connsiteY199" fmla="*/ 2103444 h 2323145"/>
              <a:gd name="connsiteX200" fmla="*/ 2904507 w 11269336"/>
              <a:gd name="connsiteY200" fmla="*/ 2104326 h 2323145"/>
              <a:gd name="connsiteX201" fmla="*/ 2889503 w 11269336"/>
              <a:gd name="connsiteY201" fmla="*/ 2104443 h 2323145"/>
              <a:gd name="connsiteX202" fmla="*/ 2884480 w 11269336"/>
              <a:gd name="connsiteY202" fmla="*/ 2102626 h 2323145"/>
              <a:gd name="connsiteX203" fmla="*/ 2882689 w 11269336"/>
              <a:gd name="connsiteY203" fmla="*/ 2099228 h 2323145"/>
              <a:gd name="connsiteX204" fmla="*/ 2881291 w 11269336"/>
              <a:gd name="connsiteY204" fmla="*/ 2099618 h 2323145"/>
              <a:gd name="connsiteX205" fmla="*/ 2853979 w 11269336"/>
              <a:gd name="connsiteY205" fmla="*/ 2090388 h 2323145"/>
              <a:gd name="connsiteX206" fmla="*/ 2791790 w 11269336"/>
              <a:gd name="connsiteY206" fmla="*/ 2080332 h 2323145"/>
              <a:gd name="connsiteX207" fmla="*/ 2755844 w 11269336"/>
              <a:gd name="connsiteY207" fmla="*/ 2078874 h 2323145"/>
              <a:gd name="connsiteX208" fmla="*/ 2657742 w 11269336"/>
              <a:gd name="connsiteY208" fmla="*/ 2070179 h 2323145"/>
              <a:gd name="connsiteX209" fmla="*/ 2559549 w 11269336"/>
              <a:gd name="connsiteY209" fmla="*/ 2057873 h 2323145"/>
              <a:gd name="connsiteX210" fmla="*/ 2512054 w 11269336"/>
              <a:gd name="connsiteY210" fmla="*/ 2031671 h 2323145"/>
              <a:gd name="connsiteX211" fmla="*/ 2506437 w 11269336"/>
              <a:gd name="connsiteY211" fmla="*/ 2030918 h 2323145"/>
              <a:gd name="connsiteX212" fmla="*/ 2491752 w 11269336"/>
              <a:gd name="connsiteY212" fmla="*/ 2033906 h 2323145"/>
              <a:gd name="connsiteX213" fmla="*/ 2486338 w 11269336"/>
              <a:gd name="connsiteY213" fmla="*/ 2035862 h 2323145"/>
              <a:gd name="connsiteX214" fmla="*/ 2478186 w 11269336"/>
              <a:gd name="connsiteY214" fmla="*/ 2036953 h 2323145"/>
              <a:gd name="connsiteX215" fmla="*/ 2477950 w 11269336"/>
              <a:gd name="connsiteY215" fmla="*/ 2036715 h 2323145"/>
              <a:gd name="connsiteX216" fmla="*/ 2470381 w 11269336"/>
              <a:gd name="connsiteY216" fmla="*/ 2038256 h 2323145"/>
              <a:gd name="connsiteX217" fmla="*/ 2433781 w 11269336"/>
              <a:gd name="connsiteY217" fmla="*/ 2049140 h 2323145"/>
              <a:gd name="connsiteX218" fmla="*/ 2381172 w 11269336"/>
              <a:gd name="connsiteY218" fmla="*/ 2030645 h 2323145"/>
              <a:gd name="connsiteX219" fmla="*/ 2360198 w 11269336"/>
              <a:gd name="connsiteY219" fmla="*/ 2029059 h 2323145"/>
              <a:gd name="connsiteX220" fmla="*/ 2348815 w 11269336"/>
              <a:gd name="connsiteY220" fmla="*/ 2026798 h 2323145"/>
              <a:gd name="connsiteX221" fmla="*/ 2347988 w 11269336"/>
              <a:gd name="connsiteY221" fmla="*/ 2025745 h 2323145"/>
              <a:gd name="connsiteX222" fmla="*/ 2312920 w 11269336"/>
              <a:gd name="connsiteY222" fmla="*/ 2036311 h 2323145"/>
              <a:gd name="connsiteX223" fmla="*/ 2307986 w 11269336"/>
              <a:gd name="connsiteY223" fmla="*/ 2035583 h 2323145"/>
              <a:gd name="connsiteX224" fmla="*/ 2285481 w 11269336"/>
              <a:gd name="connsiteY224" fmla="*/ 2045197 h 2323145"/>
              <a:gd name="connsiteX225" fmla="*/ 2273666 w 11269336"/>
              <a:gd name="connsiteY225" fmla="*/ 2048710 h 2323145"/>
              <a:gd name="connsiteX226" fmla="*/ 2270719 w 11269336"/>
              <a:gd name="connsiteY226" fmla="*/ 2052702 h 2323145"/>
              <a:gd name="connsiteX227" fmla="*/ 2253080 w 11269336"/>
              <a:gd name="connsiteY227" fmla="*/ 2056363 h 2323145"/>
              <a:gd name="connsiteX228" fmla="*/ 2250906 w 11269336"/>
              <a:gd name="connsiteY228" fmla="*/ 2055654 h 2323145"/>
              <a:gd name="connsiteX229" fmla="*/ 2236905 w 11269336"/>
              <a:gd name="connsiteY229" fmla="*/ 2062882 h 2323145"/>
              <a:gd name="connsiteX230" fmla="*/ 2225830 w 11269336"/>
              <a:gd name="connsiteY230" fmla="*/ 2074027 h 2323145"/>
              <a:gd name="connsiteX231" fmla="*/ 2073776 w 11269336"/>
              <a:gd name="connsiteY231" fmla="*/ 2089244 h 2323145"/>
              <a:gd name="connsiteX232" fmla="*/ 1948256 w 11269336"/>
              <a:gd name="connsiteY232" fmla="*/ 2146616 h 2323145"/>
              <a:gd name="connsiteX233" fmla="*/ 1865582 w 11269336"/>
              <a:gd name="connsiteY233" fmla="*/ 2153738 h 2323145"/>
              <a:gd name="connsiteX234" fmla="*/ 1835210 w 11269336"/>
              <a:gd name="connsiteY234" fmla="*/ 2134244 h 2323145"/>
              <a:gd name="connsiteX235" fmla="*/ 1632661 w 11269336"/>
              <a:gd name="connsiteY235" fmla="*/ 2173882 h 2323145"/>
              <a:gd name="connsiteX236" fmla="*/ 1579590 w 11269336"/>
              <a:gd name="connsiteY236" fmla="*/ 2173680 h 2323145"/>
              <a:gd name="connsiteX237" fmla="*/ 1535601 w 11269336"/>
              <a:gd name="connsiteY237" fmla="*/ 2194590 h 2323145"/>
              <a:gd name="connsiteX238" fmla="*/ 1515594 w 11269336"/>
              <a:gd name="connsiteY238" fmla="*/ 2189622 h 2323145"/>
              <a:gd name="connsiteX239" fmla="*/ 1512113 w 11269336"/>
              <a:gd name="connsiteY239" fmla="*/ 2188534 h 2323145"/>
              <a:gd name="connsiteX240" fmla="*/ 1498838 w 11269336"/>
              <a:gd name="connsiteY240" fmla="*/ 2189213 h 2323145"/>
              <a:gd name="connsiteX241" fmla="*/ 1494279 w 11269336"/>
              <a:gd name="connsiteY241" fmla="*/ 2183112 h 2323145"/>
              <a:gd name="connsiteX242" fmla="*/ 1473714 w 11269336"/>
              <a:gd name="connsiteY242" fmla="*/ 2179625 h 2323145"/>
              <a:gd name="connsiteX243" fmla="*/ 1449503 w 11269336"/>
              <a:gd name="connsiteY243" fmla="*/ 2182633 h 2323145"/>
              <a:gd name="connsiteX244" fmla="*/ 1266687 w 11269336"/>
              <a:gd name="connsiteY244" fmla="*/ 2212688 h 2323145"/>
              <a:gd name="connsiteX245" fmla="*/ 1239614 w 11269336"/>
              <a:gd name="connsiteY245" fmla="*/ 2209727 h 2323145"/>
              <a:gd name="connsiteX246" fmla="*/ 1202436 w 11269336"/>
              <a:gd name="connsiteY246" fmla="*/ 2209817 h 2323145"/>
              <a:gd name="connsiteX247" fmla="*/ 1136097 w 11269336"/>
              <a:gd name="connsiteY247" fmla="*/ 2205112 h 2323145"/>
              <a:gd name="connsiteX248" fmla="*/ 988232 w 11269336"/>
              <a:gd name="connsiteY248" fmla="*/ 2235635 h 2323145"/>
              <a:gd name="connsiteX249" fmla="*/ 981959 w 11269336"/>
              <a:gd name="connsiteY249" fmla="*/ 2231607 h 2323145"/>
              <a:gd name="connsiteX250" fmla="*/ 938600 w 11269336"/>
              <a:gd name="connsiteY250" fmla="*/ 2238113 h 2323145"/>
              <a:gd name="connsiteX251" fmla="*/ 791788 w 11269336"/>
              <a:gd name="connsiteY251" fmla="*/ 2293224 h 2323145"/>
              <a:gd name="connsiteX252" fmla="*/ 706914 w 11269336"/>
              <a:gd name="connsiteY252" fmla="*/ 2305046 h 2323145"/>
              <a:gd name="connsiteX253" fmla="*/ 675971 w 11269336"/>
              <a:gd name="connsiteY253" fmla="*/ 2304030 h 2323145"/>
              <a:gd name="connsiteX254" fmla="*/ 624180 w 11269336"/>
              <a:gd name="connsiteY254" fmla="*/ 2302650 h 2323145"/>
              <a:gd name="connsiteX255" fmla="*/ 583453 w 11269336"/>
              <a:gd name="connsiteY255" fmla="*/ 2288788 h 2323145"/>
              <a:gd name="connsiteX256" fmla="*/ 540946 w 11269336"/>
              <a:gd name="connsiteY256" fmla="*/ 2292721 h 2323145"/>
              <a:gd name="connsiteX257" fmla="*/ 533680 w 11269336"/>
              <a:gd name="connsiteY257" fmla="*/ 2310233 h 2323145"/>
              <a:gd name="connsiteX258" fmla="*/ 487366 w 11269336"/>
              <a:gd name="connsiteY258" fmla="*/ 2309053 h 2323145"/>
              <a:gd name="connsiteX259" fmla="*/ 416820 w 11269336"/>
              <a:gd name="connsiteY259" fmla="*/ 2305443 h 2323145"/>
              <a:gd name="connsiteX260" fmla="*/ 376805 w 11269336"/>
              <a:gd name="connsiteY260" fmla="*/ 2307647 h 2323145"/>
              <a:gd name="connsiteX261" fmla="*/ 266777 w 11269336"/>
              <a:gd name="connsiteY261" fmla="*/ 2309012 h 2323145"/>
              <a:gd name="connsiteX262" fmla="*/ 156013 w 11269336"/>
              <a:gd name="connsiteY262" fmla="*/ 2306832 h 2323145"/>
              <a:gd name="connsiteX263" fmla="*/ 87258 w 11269336"/>
              <a:gd name="connsiteY263" fmla="*/ 2285511 h 2323145"/>
              <a:gd name="connsiteX264" fmla="*/ 23798 w 11269336"/>
              <a:gd name="connsiteY264" fmla="*/ 2281822 h 2323145"/>
              <a:gd name="connsiteX265" fmla="*/ 0 w 11269336"/>
              <a:gd name="connsiteY265" fmla="*/ 2285369 h 2323145"/>
              <a:gd name="connsiteX266" fmla="*/ 0 w 11269336"/>
              <a:gd name="connsiteY26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114263 w 11269336"/>
              <a:gd name="connsiteY21" fmla="*/ 709213 h 2323145"/>
              <a:gd name="connsiteX22" fmla="*/ 9028928 w 11269336"/>
              <a:gd name="connsiteY22" fmla="*/ 745350 h 2323145"/>
              <a:gd name="connsiteX23" fmla="*/ 8977138 w 11269336"/>
              <a:gd name="connsiteY23" fmla="*/ 774970 h 2323145"/>
              <a:gd name="connsiteX24" fmla="*/ 8947030 w 11269336"/>
              <a:gd name="connsiteY24" fmla="*/ 814934 h 2323145"/>
              <a:gd name="connsiteX25" fmla="*/ 8914746 w 11269336"/>
              <a:gd name="connsiteY25" fmla="*/ 826428 h 2323145"/>
              <a:gd name="connsiteX26" fmla="*/ 8917778 w 11269336"/>
              <a:gd name="connsiteY26" fmla="*/ 835198 h 2323145"/>
              <a:gd name="connsiteX27" fmla="*/ 8905560 w 11269336"/>
              <a:gd name="connsiteY27" fmla="*/ 838358 h 2323145"/>
              <a:gd name="connsiteX28" fmla="*/ 8897564 w 11269336"/>
              <a:gd name="connsiteY28" fmla="*/ 834287 h 2323145"/>
              <a:gd name="connsiteX29" fmla="*/ 8878040 w 11269336"/>
              <a:gd name="connsiteY29" fmla="*/ 844150 h 2323145"/>
              <a:gd name="connsiteX30" fmla="*/ 8882654 w 11269336"/>
              <a:gd name="connsiteY30" fmla="*/ 892768 h 2323145"/>
              <a:gd name="connsiteX31" fmla="*/ 8795998 w 11269336"/>
              <a:gd name="connsiteY31" fmla="*/ 863337 h 2323145"/>
              <a:gd name="connsiteX32" fmla="*/ 8776970 w 11269336"/>
              <a:gd name="connsiteY32" fmla="*/ 885177 h 2323145"/>
              <a:gd name="connsiteX33" fmla="*/ 8755719 w 11269336"/>
              <a:gd name="connsiteY33" fmla="*/ 889754 h 2323145"/>
              <a:gd name="connsiteX34" fmla="*/ 8743257 w 11269336"/>
              <a:gd name="connsiteY34" fmla="*/ 904723 h 2323145"/>
              <a:gd name="connsiteX35" fmla="*/ 8721366 w 11269336"/>
              <a:gd name="connsiteY35" fmla="*/ 904711 h 2323145"/>
              <a:gd name="connsiteX36" fmla="*/ 8678353 w 11269336"/>
              <a:gd name="connsiteY36" fmla="*/ 926318 h 2323145"/>
              <a:gd name="connsiteX37" fmla="*/ 8636849 w 11269336"/>
              <a:gd name="connsiteY37" fmla="*/ 937900 h 2323145"/>
              <a:gd name="connsiteX38" fmla="*/ 8620213 w 11269336"/>
              <a:gd name="connsiteY38" fmla="*/ 943068 h 2323145"/>
              <a:gd name="connsiteX39" fmla="*/ 8612581 w 11269336"/>
              <a:gd name="connsiteY39" fmla="*/ 952695 h 2323145"/>
              <a:gd name="connsiteX40" fmla="*/ 8589038 w 11269336"/>
              <a:gd name="connsiteY40" fmla="*/ 963892 h 2323145"/>
              <a:gd name="connsiteX41" fmla="*/ 8579950 w 11269336"/>
              <a:gd name="connsiteY41" fmla="*/ 960899 h 2323145"/>
              <a:gd name="connsiteX42" fmla="*/ 8579319 w 11269336"/>
              <a:gd name="connsiteY42" fmla="*/ 965630 h 2323145"/>
              <a:gd name="connsiteX43" fmla="*/ 8547429 w 11269336"/>
              <a:gd name="connsiteY43" fmla="*/ 984506 h 2323145"/>
              <a:gd name="connsiteX44" fmla="*/ 8478704 w 11269336"/>
              <a:gd name="connsiteY44" fmla="*/ 1025490 h 2323145"/>
              <a:gd name="connsiteX45" fmla="*/ 8461421 w 11269336"/>
              <a:gd name="connsiteY45" fmla="*/ 1035512 h 2323145"/>
              <a:gd name="connsiteX46" fmla="*/ 8445003 w 11269336"/>
              <a:gd name="connsiteY46" fmla="*/ 1036851 h 2323145"/>
              <a:gd name="connsiteX47" fmla="*/ 8357350 w 11269336"/>
              <a:gd name="connsiteY47" fmla="*/ 1060213 h 2323145"/>
              <a:gd name="connsiteX48" fmla="*/ 8335565 w 11269336"/>
              <a:gd name="connsiteY48" fmla="*/ 1061151 h 2323145"/>
              <a:gd name="connsiteX49" fmla="*/ 8325267 w 11269336"/>
              <a:gd name="connsiteY49" fmla="*/ 1055919 h 2323145"/>
              <a:gd name="connsiteX50" fmla="*/ 8293586 w 11269336"/>
              <a:gd name="connsiteY50" fmla="*/ 1076144 h 2323145"/>
              <a:gd name="connsiteX51" fmla="*/ 8242405 w 11269336"/>
              <a:gd name="connsiteY51" fmla="*/ 1095960 h 2323145"/>
              <a:gd name="connsiteX52" fmla="*/ 8197391 w 11269336"/>
              <a:gd name="connsiteY52" fmla="*/ 1107746 h 2323145"/>
              <a:gd name="connsiteX53" fmla="*/ 8081474 w 11269336"/>
              <a:gd name="connsiteY53" fmla="*/ 1130125 h 2323145"/>
              <a:gd name="connsiteX54" fmla="*/ 8053585 w 11269336"/>
              <a:gd name="connsiteY54" fmla="*/ 1129169 h 2323145"/>
              <a:gd name="connsiteX55" fmla="*/ 8038422 w 11269336"/>
              <a:gd name="connsiteY55" fmla="*/ 1119092 h 2323145"/>
              <a:gd name="connsiteX56" fmla="*/ 8029450 w 11269336"/>
              <a:gd name="connsiteY56" fmla="*/ 1125592 h 2323145"/>
              <a:gd name="connsiteX57" fmla="*/ 7959552 w 11269336"/>
              <a:gd name="connsiteY57" fmla="*/ 1140188 h 2323145"/>
              <a:gd name="connsiteX58" fmla="*/ 7914188 w 11269336"/>
              <a:gd name="connsiteY58" fmla="*/ 1150862 h 2323145"/>
              <a:gd name="connsiteX59" fmla="*/ 7914918 w 11269336"/>
              <a:gd name="connsiteY59" fmla="*/ 1168758 h 2323145"/>
              <a:gd name="connsiteX60" fmla="*/ 7875510 w 11269336"/>
              <a:gd name="connsiteY60" fmla="*/ 1183153 h 2323145"/>
              <a:gd name="connsiteX61" fmla="*/ 7829932 w 11269336"/>
              <a:gd name="connsiteY61" fmla="*/ 1180782 h 2323145"/>
              <a:gd name="connsiteX62" fmla="*/ 7779182 w 11269336"/>
              <a:gd name="connsiteY62" fmla="*/ 1192665 h 2323145"/>
              <a:gd name="connsiteX63" fmla="*/ 7748774 w 11269336"/>
              <a:gd name="connsiteY63" fmla="*/ 1199586 h 2323145"/>
              <a:gd name="connsiteX64" fmla="*/ 7671846 w 11269336"/>
              <a:gd name="connsiteY64" fmla="*/ 1231966 h 2323145"/>
              <a:gd name="connsiteX65" fmla="*/ 7554146 w 11269336"/>
              <a:gd name="connsiteY65" fmla="*/ 1319748 h 2323145"/>
              <a:gd name="connsiteX66" fmla="*/ 7515052 w 11269336"/>
              <a:gd name="connsiteY66" fmla="*/ 1336718 h 2323145"/>
              <a:gd name="connsiteX67" fmla="*/ 7507193 w 11269336"/>
              <a:gd name="connsiteY67" fmla="*/ 1334617 h 2323145"/>
              <a:gd name="connsiteX68" fmla="*/ 7461694 w 11269336"/>
              <a:gd name="connsiteY68" fmla="*/ 1375866 h 2323145"/>
              <a:gd name="connsiteX69" fmla="*/ 7377571 w 11269336"/>
              <a:gd name="connsiteY69" fmla="*/ 1400128 h 2323145"/>
              <a:gd name="connsiteX70" fmla="*/ 7311261 w 11269336"/>
              <a:gd name="connsiteY70" fmla="*/ 1412652 h 2323145"/>
              <a:gd name="connsiteX71" fmla="*/ 7275307 w 11269336"/>
              <a:gd name="connsiteY71" fmla="*/ 1422171 h 2323145"/>
              <a:gd name="connsiteX72" fmla="*/ 7247783 w 11269336"/>
              <a:gd name="connsiteY72" fmla="*/ 1426330 h 2323145"/>
              <a:gd name="connsiteX73" fmla="*/ 7185047 w 11269336"/>
              <a:gd name="connsiteY73" fmla="*/ 1451812 h 2323145"/>
              <a:gd name="connsiteX74" fmla="*/ 7084117 w 11269336"/>
              <a:gd name="connsiteY74" fmla="*/ 1500281 h 2323145"/>
              <a:gd name="connsiteX75" fmla="*/ 7062011 w 11269336"/>
              <a:gd name="connsiteY75" fmla="*/ 1509183 h 2323145"/>
              <a:gd name="connsiteX76" fmla="*/ 7040555 w 11269336"/>
              <a:gd name="connsiteY76" fmla="*/ 1511207 h 2323145"/>
              <a:gd name="connsiteX77" fmla="*/ 7033438 w 11269336"/>
              <a:gd name="connsiteY77" fmla="*/ 1506772 h 2323145"/>
              <a:gd name="connsiteX78" fmla="*/ 7020886 w 11269336"/>
              <a:gd name="connsiteY78" fmla="*/ 1510764 h 2323145"/>
              <a:gd name="connsiteX79" fmla="*/ 7017033 w 11269336"/>
              <a:gd name="connsiteY79" fmla="*/ 1510650 h 2323145"/>
              <a:gd name="connsiteX80" fmla="*/ 6995460 w 11269336"/>
              <a:gd name="connsiteY80" fmla="*/ 1511173 h 2323145"/>
              <a:gd name="connsiteX81" fmla="*/ 6962144 w 11269336"/>
              <a:gd name="connsiteY81" fmla="*/ 1541508 h 2323145"/>
              <a:gd name="connsiteX82" fmla="*/ 6910674 w 11269336"/>
              <a:gd name="connsiteY82" fmla="*/ 1554793 h 2323145"/>
              <a:gd name="connsiteX83" fmla="*/ 6732152 w 11269336"/>
              <a:gd name="connsiteY83" fmla="*/ 1642538 h 2323145"/>
              <a:gd name="connsiteX84" fmla="*/ 6694106 w 11269336"/>
              <a:gd name="connsiteY84" fmla="*/ 1632377 h 2323145"/>
              <a:gd name="connsiteX85" fmla="*/ 6617223 w 11269336"/>
              <a:gd name="connsiteY85" fmla="*/ 1659889 h 2323145"/>
              <a:gd name="connsiteX86" fmla="*/ 6521138 w 11269336"/>
              <a:gd name="connsiteY86" fmla="*/ 1744340 h 2323145"/>
              <a:gd name="connsiteX87" fmla="*/ 6380677 w 11269336"/>
              <a:gd name="connsiteY87" fmla="*/ 1796883 h 2323145"/>
              <a:gd name="connsiteX88" fmla="*/ 6374897 w 11269336"/>
              <a:gd name="connsiteY88" fmla="*/ 1809910 h 2323145"/>
              <a:gd name="connsiteX89" fmla="*/ 6364545 w 11269336"/>
              <a:gd name="connsiteY89" fmla="*/ 1820090 h 2323145"/>
              <a:gd name="connsiteX90" fmla="*/ 6362126 w 11269336"/>
              <a:gd name="connsiteY90" fmla="*/ 1819991 h 2323145"/>
              <a:gd name="connsiteX91" fmla="*/ 6346673 w 11269336"/>
              <a:gd name="connsiteY91" fmla="*/ 1827824 h 2323145"/>
              <a:gd name="connsiteX92" fmla="*/ 6345588 w 11269336"/>
              <a:gd name="connsiteY92" fmla="*/ 1832232 h 2323145"/>
              <a:gd name="connsiteX93" fmla="*/ 6335708 w 11269336"/>
              <a:gd name="connsiteY93" fmla="*/ 1838451 h 2323145"/>
              <a:gd name="connsiteX94" fmla="*/ 6318182 w 11269336"/>
              <a:gd name="connsiteY94" fmla="*/ 1852975 h 2323145"/>
              <a:gd name="connsiteX95" fmla="*/ 6313084 w 11269336"/>
              <a:gd name="connsiteY95" fmla="*/ 1853561 h 2323145"/>
              <a:gd name="connsiteX96" fmla="*/ 6283816 w 11269336"/>
              <a:gd name="connsiteY96" fmla="*/ 1872148 h 2323145"/>
              <a:gd name="connsiteX97" fmla="*/ 6282550 w 11269336"/>
              <a:gd name="connsiteY97" fmla="*/ 1871392 h 2323145"/>
              <a:gd name="connsiteX98" fmla="*/ 6270527 w 11269336"/>
              <a:gd name="connsiteY98" fmla="*/ 1872208 h 2323145"/>
              <a:gd name="connsiteX99" fmla="*/ 6249518 w 11269336"/>
              <a:gd name="connsiteY99" fmla="*/ 1876079 h 2323145"/>
              <a:gd name="connsiteX100" fmla="*/ 6190386 w 11269336"/>
              <a:gd name="connsiteY100" fmla="*/ 1872478 h 2323145"/>
              <a:gd name="connsiteX101" fmla="*/ 6159777 w 11269336"/>
              <a:gd name="connsiteY101" fmla="*/ 1891745 h 2323145"/>
              <a:gd name="connsiteX102" fmla="*/ 6153131 w 11269336"/>
              <a:gd name="connsiteY102" fmla="*/ 1895079 h 2323145"/>
              <a:gd name="connsiteX103" fmla="*/ 6152798 w 11269336"/>
              <a:gd name="connsiteY103" fmla="*/ 1894920 h 2323145"/>
              <a:gd name="connsiteX104" fmla="*/ 6145388 w 11269336"/>
              <a:gd name="connsiteY104" fmla="*/ 1897990 h 2323145"/>
              <a:gd name="connsiteX105" fmla="*/ 6141014 w 11269336"/>
              <a:gd name="connsiteY105" fmla="*/ 1901155 h 2323145"/>
              <a:gd name="connsiteX106" fmla="*/ 6128122 w 11269336"/>
              <a:gd name="connsiteY106" fmla="*/ 1907623 h 2323145"/>
              <a:gd name="connsiteX107" fmla="*/ 6122351 w 11269336"/>
              <a:gd name="connsiteY107" fmla="*/ 1908359 h 2323145"/>
              <a:gd name="connsiteX108" fmla="*/ 6064750 w 11269336"/>
              <a:gd name="connsiteY108" fmla="*/ 1896394 h 2323145"/>
              <a:gd name="connsiteX109" fmla="*/ 5964230 w 11269336"/>
              <a:gd name="connsiteY109" fmla="*/ 1910038 h 2323145"/>
              <a:gd name="connsiteX110" fmla="*/ 5865399 w 11269336"/>
              <a:gd name="connsiteY110" fmla="*/ 1926966 h 2323145"/>
              <a:gd name="connsiteX111" fmla="*/ 5829951 w 11269336"/>
              <a:gd name="connsiteY111" fmla="*/ 1934755 h 2323145"/>
              <a:gd name="connsiteX112" fmla="*/ 5765285 w 11269336"/>
              <a:gd name="connsiteY112" fmla="*/ 1941322 h 2323145"/>
              <a:gd name="connsiteX113" fmla="*/ 5734750 w 11269336"/>
              <a:gd name="connsiteY113" fmla="*/ 1939793 h 2323145"/>
              <a:gd name="connsiteX114" fmla="*/ 5733569 w 11269336"/>
              <a:gd name="connsiteY114" fmla="*/ 1940505 h 2323145"/>
              <a:gd name="connsiteX115" fmla="*/ 5730329 w 11269336"/>
              <a:gd name="connsiteY115" fmla="*/ 1937845 h 2323145"/>
              <a:gd name="connsiteX116" fmla="*/ 5724661 w 11269336"/>
              <a:gd name="connsiteY116" fmla="*/ 1937455 h 2323145"/>
              <a:gd name="connsiteX117" fmla="*/ 5710186 w 11269336"/>
              <a:gd name="connsiteY117" fmla="*/ 1941370 h 2323145"/>
              <a:gd name="connsiteX118" fmla="*/ 5704910 w 11269336"/>
              <a:gd name="connsiteY118" fmla="*/ 1943663 h 2323145"/>
              <a:gd name="connsiteX119" fmla="*/ 5696836 w 11269336"/>
              <a:gd name="connsiteY119" fmla="*/ 1945271 h 2323145"/>
              <a:gd name="connsiteX120" fmla="*/ 5696583 w 11269336"/>
              <a:gd name="connsiteY120" fmla="*/ 1945050 h 2323145"/>
              <a:gd name="connsiteX121" fmla="*/ 5689123 w 11269336"/>
              <a:gd name="connsiteY121" fmla="*/ 1947067 h 2323145"/>
              <a:gd name="connsiteX122" fmla="*/ 5653291 w 11269336"/>
              <a:gd name="connsiteY122" fmla="*/ 1960245 h 2323145"/>
              <a:gd name="connsiteX123" fmla="*/ 5599385 w 11269336"/>
              <a:gd name="connsiteY123" fmla="*/ 1945198 h 2323145"/>
              <a:gd name="connsiteX124" fmla="*/ 5578300 w 11269336"/>
              <a:gd name="connsiteY124" fmla="*/ 1944963 h 2323145"/>
              <a:gd name="connsiteX125" fmla="*/ 5566758 w 11269336"/>
              <a:gd name="connsiteY125" fmla="*/ 1943441 h 2323145"/>
              <a:gd name="connsiteX126" fmla="*/ 5565857 w 11269336"/>
              <a:gd name="connsiteY126" fmla="*/ 1942445 h 2323145"/>
              <a:gd name="connsiteX127" fmla="*/ 5531534 w 11269336"/>
              <a:gd name="connsiteY127" fmla="*/ 1955208 h 2323145"/>
              <a:gd name="connsiteX128" fmla="*/ 5526552 w 11269336"/>
              <a:gd name="connsiteY128" fmla="*/ 1954799 h 2323145"/>
              <a:gd name="connsiteX129" fmla="*/ 5504723 w 11269336"/>
              <a:gd name="connsiteY129" fmla="*/ 1965811 h 2323145"/>
              <a:gd name="connsiteX130" fmla="*/ 5493156 w 11269336"/>
              <a:gd name="connsiteY130" fmla="*/ 1970063 h 2323145"/>
              <a:gd name="connsiteX131" fmla="*/ 5490486 w 11269336"/>
              <a:gd name="connsiteY131" fmla="*/ 1974227 h 2323145"/>
              <a:gd name="connsiteX132" fmla="*/ 5473107 w 11269336"/>
              <a:gd name="connsiteY132" fmla="*/ 1979001 h 2323145"/>
              <a:gd name="connsiteX133" fmla="*/ 5470885 w 11269336"/>
              <a:gd name="connsiteY133" fmla="*/ 1978432 h 2323145"/>
              <a:gd name="connsiteX134" fmla="*/ 5457393 w 11269336"/>
              <a:gd name="connsiteY134" fmla="*/ 1986525 h 2323145"/>
              <a:gd name="connsiteX135" fmla="*/ 5447102 w 11269336"/>
              <a:gd name="connsiteY135" fmla="*/ 1998329 h 2323145"/>
              <a:gd name="connsiteX136" fmla="*/ 5159151 w 11269336"/>
              <a:gd name="connsiteY136" fmla="*/ 2029640 h 2323145"/>
              <a:gd name="connsiteX137" fmla="*/ 5041688 w 11269336"/>
              <a:gd name="connsiteY137" fmla="*/ 2022334 h 2323145"/>
              <a:gd name="connsiteX138" fmla="*/ 4860988 w 11269336"/>
              <a:gd name="connsiteY138" fmla="*/ 2135698 h 2323145"/>
              <a:gd name="connsiteX139" fmla="*/ 4807902 w 11269336"/>
              <a:gd name="connsiteY139" fmla="*/ 2138894 h 2323145"/>
              <a:gd name="connsiteX140" fmla="*/ 4765388 w 11269336"/>
              <a:gd name="connsiteY140" fmla="*/ 2162525 h 2323145"/>
              <a:gd name="connsiteX141" fmla="*/ 4745033 w 11269336"/>
              <a:gd name="connsiteY141" fmla="*/ 2158859 h 2323145"/>
              <a:gd name="connsiteX142" fmla="*/ 4741475 w 11269336"/>
              <a:gd name="connsiteY142" fmla="*/ 2157998 h 2323145"/>
              <a:gd name="connsiteX143" fmla="*/ 4728247 w 11269336"/>
              <a:gd name="connsiteY143" fmla="*/ 2159526 h 2323145"/>
              <a:gd name="connsiteX144" fmla="*/ 4723263 w 11269336"/>
              <a:gd name="connsiteY144" fmla="*/ 2153742 h 2323145"/>
              <a:gd name="connsiteX145" fmla="*/ 4702453 w 11269336"/>
              <a:gd name="connsiteY145" fmla="*/ 2151586 h 2323145"/>
              <a:gd name="connsiteX146" fmla="*/ 4678455 w 11269336"/>
              <a:gd name="connsiteY146" fmla="*/ 2156131 h 2323145"/>
              <a:gd name="connsiteX147" fmla="*/ 4593061 w 11269336"/>
              <a:gd name="connsiteY147" fmla="*/ 2171597 h 2323145"/>
              <a:gd name="connsiteX148" fmla="*/ 4579902 w 11269336"/>
              <a:gd name="connsiteY148" fmla="*/ 2177927 h 2323145"/>
              <a:gd name="connsiteX149" fmla="*/ 4533444 w 11269336"/>
              <a:gd name="connsiteY149" fmla="*/ 2181200 h 2323145"/>
              <a:gd name="connsiteX150" fmla="*/ 4492832 w 11269336"/>
              <a:gd name="connsiteY150" fmla="*/ 2188033 h 2323145"/>
              <a:gd name="connsiteX151" fmla="*/ 4467257 w 11269336"/>
              <a:gd name="connsiteY151" fmla="*/ 2196121 h 2323145"/>
              <a:gd name="connsiteX152" fmla="*/ 4459937 w 11269336"/>
              <a:gd name="connsiteY152" fmla="*/ 2195182 h 2323145"/>
              <a:gd name="connsiteX153" fmla="*/ 4433312 w 11269336"/>
              <a:gd name="connsiteY153" fmla="*/ 2199004 h 2323145"/>
              <a:gd name="connsiteX154" fmla="*/ 4420601 w 11269336"/>
              <a:gd name="connsiteY154" fmla="*/ 2205158 h 2323145"/>
              <a:gd name="connsiteX155" fmla="*/ 4405765 w 11269336"/>
              <a:gd name="connsiteY155" fmla="*/ 2199902 h 2323145"/>
              <a:gd name="connsiteX156" fmla="*/ 4401354 w 11269336"/>
              <a:gd name="connsiteY156" fmla="*/ 2194745 h 2323145"/>
              <a:gd name="connsiteX157" fmla="*/ 4383151 w 11269336"/>
              <a:gd name="connsiteY157" fmla="*/ 2201140 h 2323145"/>
              <a:gd name="connsiteX158" fmla="*/ 4366646 w 11269336"/>
              <a:gd name="connsiteY158" fmla="*/ 2198564 h 2323145"/>
              <a:gd name="connsiteX159" fmla="*/ 4354009 w 11269336"/>
              <a:gd name="connsiteY159" fmla="*/ 2204984 h 2323145"/>
              <a:gd name="connsiteX160" fmla="*/ 4348284 w 11269336"/>
              <a:gd name="connsiteY160" fmla="*/ 2205270 h 2323145"/>
              <a:gd name="connsiteX161" fmla="*/ 4333906 w 11269336"/>
              <a:gd name="connsiteY161" fmla="*/ 2205251 h 2323145"/>
              <a:gd name="connsiteX162" fmla="*/ 4308819 w 11269336"/>
              <a:gd name="connsiteY162" fmla="*/ 2203822 h 2323145"/>
              <a:gd name="connsiteX163" fmla="*/ 4301210 w 11269336"/>
              <a:gd name="connsiteY163" fmla="*/ 2204456 h 2323145"/>
              <a:gd name="connsiteX164" fmla="*/ 4283095 w 11269336"/>
              <a:gd name="connsiteY164" fmla="*/ 2198177 h 2323145"/>
              <a:gd name="connsiteX165" fmla="*/ 4250119 w 11269336"/>
              <a:gd name="connsiteY165" fmla="*/ 2196342 h 2323145"/>
              <a:gd name="connsiteX166" fmla="*/ 4189203 w 11269336"/>
              <a:gd name="connsiteY166" fmla="*/ 2178994 h 2323145"/>
              <a:gd name="connsiteX167" fmla="*/ 4154035 w 11269336"/>
              <a:gd name="connsiteY167" fmla="*/ 2171950 h 2323145"/>
              <a:gd name="connsiteX168" fmla="*/ 4129569 w 11269336"/>
              <a:gd name="connsiteY168" fmla="*/ 2163850 h 2323145"/>
              <a:gd name="connsiteX169" fmla="*/ 4061250 w 11269336"/>
              <a:gd name="connsiteY169" fmla="*/ 2159236 h 2323145"/>
              <a:gd name="connsiteX170" fmla="*/ 3945480 w 11269336"/>
              <a:gd name="connsiteY170" fmla="*/ 2158279 h 2323145"/>
              <a:gd name="connsiteX171" fmla="*/ 3921468 w 11269336"/>
              <a:gd name="connsiteY171" fmla="*/ 2156588 h 2323145"/>
              <a:gd name="connsiteX172" fmla="*/ 3903348 w 11269336"/>
              <a:gd name="connsiteY172" fmla="*/ 2149220 h 2323145"/>
              <a:gd name="connsiteX173" fmla="*/ 3901342 w 11269336"/>
              <a:gd name="connsiteY173" fmla="*/ 2142355 h 2323145"/>
              <a:gd name="connsiteX174" fmla="*/ 3888539 w 11269336"/>
              <a:gd name="connsiteY174" fmla="*/ 2140476 h 2323145"/>
              <a:gd name="connsiteX175" fmla="*/ 3885662 w 11269336"/>
              <a:gd name="connsiteY175" fmla="*/ 2138740 h 2323145"/>
              <a:gd name="connsiteX176" fmla="*/ 3868627 w 11269336"/>
              <a:gd name="connsiteY176" fmla="*/ 2130023 h 2323145"/>
              <a:gd name="connsiteX177" fmla="*/ 3819177 w 11269336"/>
              <a:gd name="connsiteY177" fmla="*/ 2142111 h 2323145"/>
              <a:gd name="connsiteX178" fmla="*/ 3769100 w 11269336"/>
              <a:gd name="connsiteY178" fmla="*/ 2131731 h 2323145"/>
              <a:gd name="connsiteX179" fmla="*/ 3562752 w 11269336"/>
              <a:gd name="connsiteY179" fmla="*/ 2131785 h 2323145"/>
              <a:gd name="connsiteX180" fmla="*/ 3541402 w 11269336"/>
              <a:gd name="connsiteY180" fmla="*/ 2106821 h 2323145"/>
              <a:gd name="connsiteX181" fmla="*/ 3365341 w 11269336"/>
              <a:gd name="connsiteY181" fmla="*/ 2077638 h 2323145"/>
              <a:gd name="connsiteX182" fmla="*/ 3170922 w 11269336"/>
              <a:gd name="connsiteY182" fmla="*/ 2115957 h 2323145"/>
              <a:gd name="connsiteX183" fmla="*/ 3156256 w 11269336"/>
              <a:gd name="connsiteY183" fmla="*/ 2124773 h 2323145"/>
              <a:gd name="connsiteX184" fmla="*/ 3140298 w 11269336"/>
              <a:gd name="connsiteY184" fmla="*/ 2129182 h 2323145"/>
              <a:gd name="connsiteX185" fmla="*/ 3138514 w 11269336"/>
              <a:gd name="connsiteY185" fmla="*/ 2128069 h 2323145"/>
              <a:gd name="connsiteX186" fmla="*/ 3120467 w 11269336"/>
              <a:gd name="connsiteY186" fmla="*/ 2128281 h 2323145"/>
              <a:gd name="connsiteX187" fmla="*/ 3116175 w 11269336"/>
              <a:gd name="connsiteY187" fmla="*/ 2131633 h 2323145"/>
              <a:gd name="connsiteX188" fmla="*/ 3103685 w 11269336"/>
              <a:gd name="connsiteY188" fmla="*/ 2132814 h 2323145"/>
              <a:gd name="connsiteX189" fmla="*/ 3078794 w 11269336"/>
              <a:gd name="connsiteY189" fmla="*/ 2137935 h 2323145"/>
              <a:gd name="connsiteX190" fmla="*/ 3074407 w 11269336"/>
              <a:gd name="connsiteY190" fmla="*/ 2136274 h 2323145"/>
              <a:gd name="connsiteX191" fmla="*/ 3037285 w 11269336"/>
              <a:gd name="connsiteY191" fmla="*/ 2139919 h 2323145"/>
              <a:gd name="connsiteX192" fmla="*/ 3036901 w 11269336"/>
              <a:gd name="connsiteY192" fmla="*/ 2138726 h 2323145"/>
              <a:gd name="connsiteX193" fmla="*/ 3026996 w 11269336"/>
              <a:gd name="connsiteY193" fmla="*/ 2134322 h 2323145"/>
              <a:gd name="connsiteX194" fmla="*/ 3007772 w 11269336"/>
              <a:gd name="connsiteY194" fmla="*/ 2128742 h 2323145"/>
              <a:gd name="connsiteX195" fmla="*/ 2965030 w 11269336"/>
              <a:gd name="connsiteY195" fmla="*/ 2100494 h 2323145"/>
              <a:gd name="connsiteX196" fmla="*/ 2926342 w 11269336"/>
              <a:gd name="connsiteY196" fmla="*/ 2104155 h 2323145"/>
              <a:gd name="connsiteX197" fmla="*/ 2918608 w 11269336"/>
              <a:gd name="connsiteY197" fmla="*/ 2104215 h 2323145"/>
              <a:gd name="connsiteX198" fmla="*/ 2918475 w 11269336"/>
              <a:gd name="connsiteY198" fmla="*/ 2103937 h 2323145"/>
              <a:gd name="connsiteX199" fmla="*/ 2910360 w 11269336"/>
              <a:gd name="connsiteY199" fmla="*/ 2103444 h 2323145"/>
              <a:gd name="connsiteX200" fmla="*/ 2904507 w 11269336"/>
              <a:gd name="connsiteY200" fmla="*/ 2104326 h 2323145"/>
              <a:gd name="connsiteX201" fmla="*/ 2889503 w 11269336"/>
              <a:gd name="connsiteY201" fmla="*/ 2104443 h 2323145"/>
              <a:gd name="connsiteX202" fmla="*/ 2884480 w 11269336"/>
              <a:gd name="connsiteY202" fmla="*/ 2102626 h 2323145"/>
              <a:gd name="connsiteX203" fmla="*/ 2882689 w 11269336"/>
              <a:gd name="connsiteY203" fmla="*/ 2099228 h 2323145"/>
              <a:gd name="connsiteX204" fmla="*/ 2881291 w 11269336"/>
              <a:gd name="connsiteY204" fmla="*/ 2099618 h 2323145"/>
              <a:gd name="connsiteX205" fmla="*/ 2853979 w 11269336"/>
              <a:gd name="connsiteY205" fmla="*/ 2090388 h 2323145"/>
              <a:gd name="connsiteX206" fmla="*/ 2791790 w 11269336"/>
              <a:gd name="connsiteY206" fmla="*/ 2080332 h 2323145"/>
              <a:gd name="connsiteX207" fmla="*/ 2755844 w 11269336"/>
              <a:gd name="connsiteY207" fmla="*/ 2078874 h 2323145"/>
              <a:gd name="connsiteX208" fmla="*/ 2657742 w 11269336"/>
              <a:gd name="connsiteY208" fmla="*/ 2070179 h 2323145"/>
              <a:gd name="connsiteX209" fmla="*/ 2559549 w 11269336"/>
              <a:gd name="connsiteY209" fmla="*/ 2057873 h 2323145"/>
              <a:gd name="connsiteX210" fmla="*/ 2512054 w 11269336"/>
              <a:gd name="connsiteY210" fmla="*/ 2031671 h 2323145"/>
              <a:gd name="connsiteX211" fmla="*/ 2506437 w 11269336"/>
              <a:gd name="connsiteY211" fmla="*/ 2030918 h 2323145"/>
              <a:gd name="connsiteX212" fmla="*/ 2491752 w 11269336"/>
              <a:gd name="connsiteY212" fmla="*/ 2033906 h 2323145"/>
              <a:gd name="connsiteX213" fmla="*/ 2486338 w 11269336"/>
              <a:gd name="connsiteY213" fmla="*/ 2035862 h 2323145"/>
              <a:gd name="connsiteX214" fmla="*/ 2478186 w 11269336"/>
              <a:gd name="connsiteY214" fmla="*/ 2036953 h 2323145"/>
              <a:gd name="connsiteX215" fmla="*/ 2477950 w 11269336"/>
              <a:gd name="connsiteY215" fmla="*/ 2036715 h 2323145"/>
              <a:gd name="connsiteX216" fmla="*/ 2470381 w 11269336"/>
              <a:gd name="connsiteY216" fmla="*/ 2038256 h 2323145"/>
              <a:gd name="connsiteX217" fmla="*/ 2433781 w 11269336"/>
              <a:gd name="connsiteY217" fmla="*/ 2049140 h 2323145"/>
              <a:gd name="connsiteX218" fmla="*/ 2381172 w 11269336"/>
              <a:gd name="connsiteY218" fmla="*/ 2030645 h 2323145"/>
              <a:gd name="connsiteX219" fmla="*/ 2360198 w 11269336"/>
              <a:gd name="connsiteY219" fmla="*/ 2029059 h 2323145"/>
              <a:gd name="connsiteX220" fmla="*/ 2348815 w 11269336"/>
              <a:gd name="connsiteY220" fmla="*/ 2026798 h 2323145"/>
              <a:gd name="connsiteX221" fmla="*/ 2347988 w 11269336"/>
              <a:gd name="connsiteY221" fmla="*/ 2025745 h 2323145"/>
              <a:gd name="connsiteX222" fmla="*/ 2312920 w 11269336"/>
              <a:gd name="connsiteY222" fmla="*/ 2036311 h 2323145"/>
              <a:gd name="connsiteX223" fmla="*/ 2307986 w 11269336"/>
              <a:gd name="connsiteY223" fmla="*/ 2035583 h 2323145"/>
              <a:gd name="connsiteX224" fmla="*/ 2285481 w 11269336"/>
              <a:gd name="connsiteY224" fmla="*/ 2045197 h 2323145"/>
              <a:gd name="connsiteX225" fmla="*/ 2273666 w 11269336"/>
              <a:gd name="connsiteY225" fmla="*/ 2048710 h 2323145"/>
              <a:gd name="connsiteX226" fmla="*/ 2270719 w 11269336"/>
              <a:gd name="connsiteY226" fmla="*/ 2052702 h 2323145"/>
              <a:gd name="connsiteX227" fmla="*/ 2253080 w 11269336"/>
              <a:gd name="connsiteY227" fmla="*/ 2056363 h 2323145"/>
              <a:gd name="connsiteX228" fmla="*/ 2250906 w 11269336"/>
              <a:gd name="connsiteY228" fmla="*/ 2055654 h 2323145"/>
              <a:gd name="connsiteX229" fmla="*/ 2236905 w 11269336"/>
              <a:gd name="connsiteY229" fmla="*/ 2062882 h 2323145"/>
              <a:gd name="connsiteX230" fmla="*/ 2225830 w 11269336"/>
              <a:gd name="connsiteY230" fmla="*/ 2074027 h 2323145"/>
              <a:gd name="connsiteX231" fmla="*/ 2073776 w 11269336"/>
              <a:gd name="connsiteY231" fmla="*/ 2089244 h 2323145"/>
              <a:gd name="connsiteX232" fmla="*/ 1948256 w 11269336"/>
              <a:gd name="connsiteY232" fmla="*/ 2146616 h 2323145"/>
              <a:gd name="connsiteX233" fmla="*/ 1865582 w 11269336"/>
              <a:gd name="connsiteY233" fmla="*/ 2153738 h 2323145"/>
              <a:gd name="connsiteX234" fmla="*/ 1835210 w 11269336"/>
              <a:gd name="connsiteY234" fmla="*/ 2134244 h 2323145"/>
              <a:gd name="connsiteX235" fmla="*/ 1632661 w 11269336"/>
              <a:gd name="connsiteY235" fmla="*/ 2173882 h 2323145"/>
              <a:gd name="connsiteX236" fmla="*/ 1579590 w 11269336"/>
              <a:gd name="connsiteY236" fmla="*/ 2173680 h 2323145"/>
              <a:gd name="connsiteX237" fmla="*/ 1535601 w 11269336"/>
              <a:gd name="connsiteY237" fmla="*/ 2194590 h 2323145"/>
              <a:gd name="connsiteX238" fmla="*/ 1515594 w 11269336"/>
              <a:gd name="connsiteY238" fmla="*/ 2189622 h 2323145"/>
              <a:gd name="connsiteX239" fmla="*/ 1512113 w 11269336"/>
              <a:gd name="connsiteY239" fmla="*/ 2188534 h 2323145"/>
              <a:gd name="connsiteX240" fmla="*/ 1498838 w 11269336"/>
              <a:gd name="connsiteY240" fmla="*/ 2189213 h 2323145"/>
              <a:gd name="connsiteX241" fmla="*/ 1494279 w 11269336"/>
              <a:gd name="connsiteY241" fmla="*/ 2183112 h 2323145"/>
              <a:gd name="connsiteX242" fmla="*/ 1473714 w 11269336"/>
              <a:gd name="connsiteY242" fmla="*/ 2179625 h 2323145"/>
              <a:gd name="connsiteX243" fmla="*/ 1449503 w 11269336"/>
              <a:gd name="connsiteY243" fmla="*/ 2182633 h 2323145"/>
              <a:gd name="connsiteX244" fmla="*/ 1266687 w 11269336"/>
              <a:gd name="connsiteY244" fmla="*/ 2212688 h 2323145"/>
              <a:gd name="connsiteX245" fmla="*/ 1239614 w 11269336"/>
              <a:gd name="connsiteY245" fmla="*/ 2209727 h 2323145"/>
              <a:gd name="connsiteX246" fmla="*/ 1202436 w 11269336"/>
              <a:gd name="connsiteY246" fmla="*/ 2209817 h 2323145"/>
              <a:gd name="connsiteX247" fmla="*/ 1136097 w 11269336"/>
              <a:gd name="connsiteY247" fmla="*/ 2205112 h 2323145"/>
              <a:gd name="connsiteX248" fmla="*/ 988232 w 11269336"/>
              <a:gd name="connsiteY248" fmla="*/ 2235635 h 2323145"/>
              <a:gd name="connsiteX249" fmla="*/ 981959 w 11269336"/>
              <a:gd name="connsiteY249" fmla="*/ 2231607 h 2323145"/>
              <a:gd name="connsiteX250" fmla="*/ 938600 w 11269336"/>
              <a:gd name="connsiteY250" fmla="*/ 2238113 h 2323145"/>
              <a:gd name="connsiteX251" fmla="*/ 791788 w 11269336"/>
              <a:gd name="connsiteY251" fmla="*/ 2293224 h 2323145"/>
              <a:gd name="connsiteX252" fmla="*/ 706914 w 11269336"/>
              <a:gd name="connsiteY252" fmla="*/ 2305046 h 2323145"/>
              <a:gd name="connsiteX253" fmla="*/ 675971 w 11269336"/>
              <a:gd name="connsiteY253" fmla="*/ 2304030 h 2323145"/>
              <a:gd name="connsiteX254" fmla="*/ 624180 w 11269336"/>
              <a:gd name="connsiteY254" fmla="*/ 2302650 h 2323145"/>
              <a:gd name="connsiteX255" fmla="*/ 583453 w 11269336"/>
              <a:gd name="connsiteY255" fmla="*/ 2288788 h 2323145"/>
              <a:gd name="connsiteX256" fmla="*/ 540946 w 11269336"/>
              <a:gd name="connsiteY256" fmla="*/ 2292721 h 2323145"/>
              <a:gd name="connsiteX257" fmla="*/ 533680 w 11269336"/>
              <a:gd name="connsiteY257" fmla="*/ 2310233 h 2323145"/>
              <a:gd name="connsiteX258" fmla="*/ 487366 w 11269336"/>
              <a:gd name="connsiteY258" fmla="*/ 2309053 h 2323145"/>
              <a:gd name="connsiteX259" fmla="*/ 416820 w 11269336"/>
              <a:gd name="connsiteY259" fmla="*/ 2305443 h 2323145"/>
              <a:gd name="connsiteX260" fmla="*/ 376805 w 11269336"/>
              <a:gd name="connsiteY260" fmla="*/ 2307647 h 2323145"/>
              <a:gd name="connsiteX261" fmla="*/ 266777 w 11269336"/>
              <a:gd name="connsiteY261" fmla="*/ 2309012 h 2323145"/>
              <a:gd name="connsiteX262" fmla="*/ 156013 w 11269336"/>
              <a:gd name="connsiteY262" fmla="*/ 2306832 h 2323145"/>
              <a:gd name="connsiteX263" fmla="*/ 87258 w 11269336"/>
              <a:gd name="connsiteY263" fmla="*/ 2285511 h 2323145"/>
              <a:gd name="connsiteX264" fmla="*/ 23798 w 11269336"/>
              <a:gd name="connsiteY264" fmla="*/ 2281822 h 2323145"/>
              <a:gd name="connsiteX265" fmla="*/ 0 w 11269336"/>
              <a:gd name="connsiteY265" fmla="*/ 2285369 h 2323145"/>
              <a:gd name="connsiteX266" fmla="*/ 0 w 11269336"/>
              <a:gd name="connsiteY26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028928 w 11269336"/>
              <a:gd name="connsiteY21" fmla="*/ 745350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028928 w 11269336"/>
              <a:gd name="connsiteY21" fmla="*/ 745350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9070855 w 11269336"/>
              <a:gd name="connsiteY23" fmla="*/ 794621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9070855 w 11269336"/>
              <a:gd name="connsiteY23" fmla="*/ 794621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795998 w 11269336"/>
              <a:gd name="connsiteY29" fmla="*/ 863337 h 2323145"/>
              <a:gd name="connsiteX30" fmla="*/ 8776970 w 11269336"/>
              <a:gd name="connsiteY30" fmla="*/ 885177 h 2323145"/>
              <a:gd name="connsiteX31" fmla="*/ 8755719 w 11269336"/>
              <a:gd name="connsiteY31" fmla="*/ 889754 h 2323145"/>
              <a:gd name="connsiteX32" fmla="*/ 8743257 w 11269336"/>
              <a:gd name="connsiteY32" fmla="*/ 904723 h 2323145"/>
              <a:gd name="connsiteX33" fmla="*/ 8721366 w 11269336"/>
              <a:gd name="connsiteY33" fmla="*/ 904711 h 2323145"/>
              <a:gd name="connsiteX34" fmla="*/ 8678353 w 11269336"/>
              <a:gd name="connsiteY34" fmla="*/ 926318 h 2323145"/>
              <a:gd name="connsiteX35" fmla="*/ 8636849 w 11269336"/>
              <a:gd name="connsiteY35" fmla="*/ 937900 h 2323145"/>
              <a:gd name="connsiteX36" fmla="*/ 8620213 w 11269336"/>
              <a:gd name="connsiteY36" fmla="*/ 943068 h 2323145"/>
              <a:gd name="connsiteX37" fmla="*/ 8612581 w 11269336"/>
              <a:gd name="connsiteY37" fmla="*/ 952695 h 2323145"/>
              <a:gd name="connsiteX38" fmla="*/ 8589038 w 11269336"/>
              <a:gd name="connsiteY38" fmla="*/ 963892 h 2323145"/>
              <a:gd name="connsiteX39" fmla="*/ 8579950 w 11269336"/>
              <a:gd name="connsiteY39" fmla="*/ 960899 h 2323145"/>
              <a:gd name="connsiteX40" fmla="*/ 8579319 w 11269336"/>
              <a:gd name="connsiteY40" fmla="*/ 965630 h 2323145"/>
              <a:gd name="connsiteX41" fmla="*/ 8547429 w 11269336"/>
              <a:gd name="connsiteY41" fmla="*/ 984506 h 2323145"/>
              <a:gd name="connsiteX42" fmla="*/ 8478704 w 11269336"/>
              <a:gd name="connsiteY42" fmla="*/ 1025490 h 2323145"/>
              <a:gd name="connsiteX43" fmla="*/ 8461421 w 11269336"/>
              <a:gd name="connsiteY43" fmla="*/ 1035512 h 2323145"/>
              <a:gd name="connsiteX44" fmla="*/ 8445003 w 11269336"/>
              <a:gd name="connsiteY44" fmla="*/ 1036851 h 2323145"/>
              <a:gd name="connsiteX45" fmla="*/ 8357350 w 11269336"/>
              <a:gd name="connsiteY45" fmla="*/ 1060213 h 2323145"/>
              <a:gd name="connsiteX46" fmla="*/ 8335565 w 11269336"/>
              <a:gd name="connsiteY46" fmla="*/ 1061151 h 2323145"/>
              <a:gd name="connsiteX47" fmla="*/ 8325267 w 11269336"/>
              <a:gd name="connsiteY47" fmla="*/ 1055919 h 2323145"/>
              <a:gd name="connsiteX48" fmla="*/ 8293586 w 11269336"/>
              <a:gd name="connsiteY48" fmla="*/ 1076144 h 2323145"/>
              <a:gd name="connsiteX49" fmla="*/ 8242405 w 11269336"/>
              <a:gd name="connsiteY49" fmla="*/ 1095960 h 2323145"/>
              <a:gd name="connsiteX50" fmla="*/ 8197391 w 11269336"/>
              <a:gd name="connsiteY50" fmla="*/ 1107746 h 2323145"/>
              <a:gd name="connsiteX51" fmla="*/ 8081474 w 11269336"/>
              <a:gd name="connsiteY51" fmla="*/ 1130125 h 2323145"/>
              <a:gd name="connsiteX52" fmla="*/ 8053585 w 11269336"/>
              <a:gd name="connsiteY52" fmla="*/ 1129169 h 2323145"/>
              <a:gd name="connsiteX53" fmla="*/ 8038422 w 11269336"/>
              <a:gd name="connsiteY53" fmla="*/ 1119092 h 2323145"/>
              <a:gd name="connsiteX54" fmla="*/ 8029450 w 11269336"/>
              <a:gd name="connsiteY54" fmla="*/ 1125592 h 2323145"/>
              <a:gd name="connsiteX55" fmla="*/ 7959552 w 11269336"/>
              <a:gd name="connsiteY55" fmla="*/ 1140188 h 2323145"/>
              <a:gd name="connsiteX56" fmla="*/ 7914188 w 11269336"/>
              <a:gd name="connsiteY56" fmla="*/ 1150862 h 2323145"/>
              <a:gd name="connsiteX57" fmla="*/ 7914918 w 11269336"/>
              <a:gd name="connsiteY57" fmla="*/ 1168758 h 2323145"/>
              <a:gd name="connsiteX58" fmla="*/ 7875510 w 11269336"/>
              <a:gd name="connsiteY58" fmla="*/ 1183153 h 2323145"/>
              <a:gd name="connsiteX59" fmla="*/ 7829932 w 11269336"/>
              <a:gd name="connsiteY59" fmla="*/ 1180782 h 2323145"/>
              <a:gd name="connsiteX60" fmla="*/ 7779182 w 11269336"/>
              <a:gd name="connsiteY60" fmla="*/ 1192665 h 2323145"/>
              <a:gd name="connsiteX61" fmla="*/ 7748774 w 11269336"/>
              <a:gd name="connsiteY61" fmla="*/ 1199586 h 2323145"/>
              <a:gd name="connsiteX62" fmla="*/ 7671846 w 11269336"/>
              <a:gd name="connsiteY62" fmla="*/ 1231966 h 2323145"/>
              <a:gd name="connsiteX63" fmla="*/ 7554146 w 11269336"/>
              <a:gd name="connsiteY63" fmla="*/ 1319748 h 2323145"/>
              <a:gd name="connsiteX64" fmla="*/ 7515052 w 11269336"/>
              <a:gd name="connsiteY64" fmla="*/ 1336718 h 2323145"/>
              <a:gd name="connsiteX65" fmla="*/ 7507193 w 11269336"/>
              <a:gd name="connsiteY65" fmla="*/ 1334617 h 2323145"/>
              <a:gd name="connsiteX66" fmla="*/ 7461694 w 11269336"/>
              <a:gd name="connsiteY66" fmla="*/ 1375866 h 2323145"/>
              <a:gd name="connsiteX67" fmla="*/ 7377571 w 11269336"/>
              <a:gd name="connsiteY67" fmla="*/ 1400128 h 2323145"/>
              <a:gd name="connsiteX68" fmla="*/ 7311261 w 11269336"/>
              <a:gd name="connsiteY68" fmla="*/ 1412652 h 2323145"/>
              <a:gd name="connsiteX69" fmla="*/ 7275307 w 11269336"/>
              <a:gd name="connsiteY69" fmla="*/ 1422171 h 2323145"/>
              <a:gd name="connsiteX70" fmla="*/ 7247783 w 11269336"/>
              <a:gd name="connsiteY70" fmla="*/ 1426330 h 2323145"/>
              <a:gd name="connsiteX71" fmla="*/ 7185047 w 11269336"/>
              <a:gd name="connsiteY71" fmla="*/ 1451812 h 2323145"/>
              <a:gd name="connsiteX72" fmla="*/ 7084117 w 11269336"/>
              <a:gd name="connsiteY72" fmla="*/ 1500281 h 2323145"/>
              <a:gd name="connsiteX73" fmla="*/ 7062011 w 11269336"/>
              <a:gd name="connsiteY73" fmla="*/ 1509183 h 2323145"/>
              <a:gd name="connsiteX74" fmla="*/ 7040555 w 11269336"/>
              <a:gd name="connsiteY74" fmla="*/ 1511207 h 2323145"/>
              <a:gd name="connsiteX75" fmla="*/ 7033438 w 11269336"/>
              <a:gd name="connsiteY75" fmla="*/ 1506772 h 2323145"/>
              <a:gd name="connsiteX76" fmla="*/ 7020886 w 11269336"/>
              <a:gd name="connsiteY76" fmla="*/ 1510764 h 2323145"/>
              <a:gd name="connsiteX77" fmla="*/ 7017033 w 11269336"/>
              <a:gd name="connsiteY77" fmla="*/ 1510650 h 2323145"/>
              <a:gd name="connsiteX78" fmla="*/ 6995460 w 11269336"/>
              <a:gd name="connsiteY78" fmla="*/ 1511173 h 2323145"/>
              <a:gd name="connsiteX79" fmla="*/ 6962144 w 11269336"/>
              <a:gd name="connsiteY79" fmla="*/ 1541508 h 2323145"/>
              <a:gd name="connsiteX80" fmla="*/ 6910674 w 11269336"/>
              <a:gd name="connsiteY80" fmla="*/ 1554793 h 2323145"/>
              <a:gd name="connsiteX81" fmla="*/ 6732152 w 11269336"/>
              <a:gd name="connsiteY81" fmla="*/ 1642538 h 2323145"/>
              <a:gd name="connsiteX82" fmla="*/ 6694106 w 11269336"/>
              <a:gd name="connsiteY82" fmla="*/ 1632377 h 2323145"/>
              <a:gd name="connsiteX83" fmla="*/ 6617223 w 11269336"/>
              <a:gd name="connsiteY83" fmla="*/ 1659889 h 2323145"/>
              <a:gd name="connsiteX84" fmla="*/ 6521138 w 11269336"/>
              <a:gd name="connsiteY84" fmla="*/ 1744340 h 2323145"/>
              <a:gd name="connsiteX85" fmla="*/ 6380677 w 11269336"/>
              <a:gd name="connsiteY85" fmla="*/ 1796883 h 2323145"/>
              <a:gd name="connsiteX86" fmla="*/ 6374897 w 11269336"/>
              <a:gd name="connsiteY86" fmla="*/ 1809910 h 2323145"/>
              <a:gd name="connsiteX87" fmla="*/ 6364545 w 11269336"/>
              <a:gd name="connsiteY87" fmla="*/ 1820090 h 2323145"/>
              <a:gd name="connsiteX88" fmla="*/ 6362126 w 11269336"/>
              <a:gd name="connsiteY88" fmla="*/ 1819991 h 2323145"/>
              <a:gd name="connsiteX89" fmla="*/ 6346673 w 11269336"/>
              <a:gd name="connsiteY89" fmla="*/ 1827824 h 2323145"/>
              <a:gd name="connsiteX90" fmla="*/ 6345588 w 11269336"/>
              <a:gd name="connsiteY90" fmla="*/ 1832232 h 2323145"/>
              <a:gd name="connsiteX91" fmla="*/ 6335708 w 11269336"/>
              <a:gd name="connsiteY91" fmla="*/ 1838451 h 2323145"/>
              <a:gd name="connsiteX92" fmla="*/ 6318182 w 11269336"/>
              <a:gd name="connsiteY92" fmla="*/ 1852975 h 2323145"/>
              <a:gd name="connsiteX93" fmla="*/ 6313084 w 11269336"/>
              <a:gd name="connsiteY93" fmla="*/ 1853561 h 2323145"/>
              <a:gd name="connsiteX94" fmla="*/ 6283816 w 11269336"/>
              <a:gd name="connsiteY94" fmla="*/ 1872148 h 2323145"/>
              <a:gd name="connsiteX95" fmla="*/ 6282550 w 11269336"/>
              <a:gd name="connsiteY95" fmla="*/ 1871392 h 2323145"/>
              <a:gd name="connsiteX96" fmla="*/ 6270527 w 11269336"/>
              <a:gd name="connsiteY96" fmla="*/ 1872208 h 2323145"/>
              <a:gd name="connsiteX97" fmla="*/ 6249518 w 11269336"/>
              <a:gd name="connsiteY97" fmla="*/ 1876079 h 2323145"/>
              <a:gd name="connsiteX98" fmla="*/ 6190386 w 11269336"/>
              <a:gd name="connsiteY98" fmla="*/ 1872478 h 2323145"/>
              <a:gd name="connsiteX99" fmla="*/ 6159777 w 11269336"/>
              <a:gd name="connsiteY99" fmla="*/ 1891745 h 2323145"/>
              <a:gd name="connsiteX100" fmla="*/ 6153131 w 11269336"/>
              <a:gd name="connsiteY100" fmla="*/ 1895079 h 2323145"/>
              <a:gd name="connsiteX101" fmla="*/ 6152798 w 11269336"/>
              <a:gd name="connsiteY101" fmla="*/ 1894920 h 2323145"/>
              <a:gd name="connsiteX102" fmla="*/ 6145388 w 11269336"/>
              <a:gd name="connsiteY102" fmla="*/ 1897990 h 2323145"/>
              <a:gd name="connsiteX103" fmla="*/ 6141014 w 11269336"/>
              <a:gd name="connsiteY103" fmla="*/ 1901155 h 2323145"/>
              <a:gd name="connsiteX104" fmla="*/ 6128122 w 11269336"/>
              <a:gd name="connsiteY104" fmla="*/ 1907623 h 2323145"/>
              <a:gd name="connsiteX105" fmla="*/ 6122351 w 11269336"/>
              <a:gd name="connsiteY105" fmla="*/ 1908359 h 2323145"/>
              <a:gd name="connsiteX106" fmla="*/ 6064750 w 11269336"/>
              <a:gd name="connsiteY106" fmla="*/ 1896394 h 2323145"/>
              <a:gd name="connsiteX107" fmla="*/ 5964230 w 11269336"/>
              <a:gd name="connsiteY107" fmla="*/ 1910038 h 2323145"/>
              <a:gd name="connsiteX108" fmla="*/ 5865399 w 11269336"/>
              <a:gd name="connsiteY108" fmla="*/ 1926966 h 2323145"/>
              <a:gd name="connsiteX109" fmla="*/ 5829951 w 11269336"/>
              <a:gd name="connsiteY109" fmla="*/ 1934755 h 2323145"/>
              <a:gd name="connsiteX110" fmla="*/ 5765285 w 11269336"/>
              <a:gd name="connsiteY110" fmla="*/ 1941322 h 2323145"/>
              <a:gd name="connsiteX111" fmla="*/ 5734750 w 11269336"/>
              <a:gd name="connsiteY111" fmla="*/ 1939793 h 2323145"/>
              <a:gd name="connsiteX112" fmla="*/ 5733569 w 11269336"/>
              <a:gd name="connsiteY112" fmla="*/ 1940505 h 2323145"/>
              <a:gd name="connsiteX113" fmla="*/ 5730329 w 11269336"/>
              <a:gd name="connsiteY113" fmla="*/ 1937845 h 2323145"/>
              <a:gd name="connsiteX114" fmla="*/ 5724661 w 11269336"/>
              <a:gd name="connsiteY114" fmla="*/ 1937455 h 2323145"/>
              <a:gd name="connsiteX115" fmla="*/ 5710186 w 11269336"/>
              <a:gd name="connsiteY115" fmla="*/ 1941370 h 2323145"/>
              <a:gd name="connsiteX116" fmla="*/ 5704910 w 11269336"/>
              <a:gd name="connsiteY116" fmla="*/ 1943663 h 2323145"/>
              <a:gd name="connsiteX117" fmla="*/ 5696836 w 11269336"/>
              <a:gd name="connsiteY117" fmla="*/ 1945271 h 2323145"/>
              <a:gd name="connsiteX118" fmla="*/ 5696583 w 11269336"/>
              <a:gd name="connsiteY118" fmla="*/ 1945050 h 2323145"/>
              <a:gd name="connsiteX119" fmla="*/ 5689123 w 11269336"/>
              <a:gd name="connsiteY119" fmla="*/ 1947067 h 2323145"/>
              <a:gd name="connsiteX120" fmla="*/ 5653291 w 11269336"/>
              <a:gd name="connsiteY120" fmla="*/ 1960245 h 2323145"/>
              <a:gd name="connsiteX121" fmla="*/ 5599385 w 11269336"/>
              <a:gd name="connsiteY121" fmla="*/ 1945198 h 2323145"/>
              <a:gd name="connsiteX122" fmla="*/ 5578300 w 11269336"/>
              <a:gd name="connsiteY122" fmla="*/ 1944963 h 2323145"/>
              <a:gd name="connsiteX123" fmla="*/ 5566758 w 11269336"/>
              <a:gd name="connsiteY123" fmla="*/ 1943441 h 2323145"/>
              <a:gd name="connsiteX124" fmla="*/ 5565857 w 11269336"/>
              <a:gd name="connsiteY124" fmla="*/ 1942445 h 2323145"/>
              <a:gd name="connsiteX125" fmla="*/ 5531534 w 11269336"/>
              <a:gd name="connsiteY125" fmla="*/ 1955208 h 2323145"/>
              <a:gd name="connsiteX126" fmla="*/ 5526552 w 11269336"/>
              <a:gd name="connsiteY126" fmla="*/ 1954799 h 2323145"/>
              <a:gd name="connsiteX127" fmla="*/ 5504723 w 11269336"/>
              <a:gd name="connsiteY127" fmla="*/ 1965811 h 2323145"/>
              <a:gd name="connsiteX128" fmla="*/ 5493156 w 11269336"/>
              <a:gd name="connsiteY128" fmla="*/ 1970063 h 2323145"/>
              <a:gd name="connsiteX129" fmla="*/ 5490486 w 11269336"/>
              <a:gd name="connsiteY129" fmla="*/ 1974227 h 2323145"/>
              <a:gd name="connsiteX130" fmla="*/ 5473107 w 11269336"/>
              <a:gd name="connsiteY130" fmla="*/ 1979001 h 2323145"/>
              <a:gd name="connsiteX131" fmla="*/ 5470885 w 11269336"/>
              <a:gd name="connsiteY131" fmla="*/ 1978432 h 2323145"/>
              <a:gd name="connsiteX132" fmla="*/ 5457393 w 11269336"/>
              <a:gd name="connsiteY132" fmla="*/ 1986525 h 2323145"/>
              <a:gd name="connsiteX133" fmla="*/ 5447102 w 11269336"/>
              <a:gd name="connsiteY133" fmla="*/ 1998329 h 2323145"/>
              <a:gd name="connsiteX134" fmla="*/ 5159151 w 11269336"/>
              <a:gd name="connsiteY134" fmla="*/ 2029640 h 2323145"/>
              <a:gd name="connsiteX135" fmla="*/ 5041688 w 11269336"/>
              <a:gd name="connsiteY135" fmla="*/ 2022334 h 2323145"/>
              <a:gd name="connsiteX136" fmla="*/ 4860988 w 11269336"/>
              <a:gd name="connsiteY136" fmla="*/ 2135698 h 2323145"/>
              <a:gd name="connsiteX137" fmla="*/ 4807902 w 11269336"/>
              <a:gd name="connsiteY137" fmla="*/ 2138894 h 2323145"/>
              <a:gd name="connsiteX138" fmla="*/ 4765388 w 11269336"/>
              <a:gd name="connsiteY138" fmla="*/ 2162525 h 2323145"/>
              <a:gd name="connsiteX139" fmla="*/ 4745033 w 11269336"/>
              <a:gd name="connsiteY139" fmla="*/ 2158859 h 2323145"/>
              <a:gd name="connsiteX140" fmla="*/ 4741475 w 11269336"/>
              <a:gd name="connsiteY140" fmla="*/ 2157998 h 2323145"/>
              <a:gd name="connsiteX141" fmla="*/ 4728247 w 11269336"/>
              <a:gd name="connsiteY141" fmla="*/ 2159526 h 2323145"/>
              <a:gd name="connsiteX142" fmla="*/ 4723263 w 11269336"/>
              <a:gd name="connsiteY142" fmla="*/ 2153742 h 2323145"/>
              <a:gd name="connsiteX143" fmla="*/ 4702453 w 11269336"/>
              <a:gd name="connsiteY143" fmla="*/ 2151586 h 2323145"/>
              <a:gd name="connsiteX144" fmla="*/ 4678455 w 11269336"/>
              <a:gd name="connsiteY144" fmla="*/ 2156131 h 2323145"/>
              <a:gd name="connsiteX145" fmla="*/ 4593061 w 11269336"/>
              <a:gd name="connsiteY145" fmla="*/ 2171597 h 2323145"/>
              <a:gd name="connsiteX146" fmla="*/ 4579902 w 11269336"/>
              <a:gd name="connsiteY146" fmla="*/ 2177927 h 2323145"/>
              <a:gd name="connsiteX147" fmla="*/ 4533444 w 11269336"/>
              <a:gd name="connsiteY147" fmla="*/ 2181200 h 2323145"/>
              <a:gd name="connsiteX148" fmla="*/ 4492832 w 11269336"/>
              <a:gd name="connsiteY148" fmla="*/ 2188033 h 2323145"/>
              <a:gd name="connsiteX149" fmla="*/ 4467257 w 11269336"/>
              <a:gd name="connsiteY149" fmla="*/ 2196121 h 2323145"/>
              <a:gd name="connsiteX150" fmla="*/ 4459937 w 11269336"/>
              <a:gd name="connsiteY150" fmla="*/ 2195182 h 2323145"/>
              <a:gd name="connsiteX151" fmla="*/ 4433312 w 11269336"/>
              <a:gd name="connsiteY151" fmla="*/ 2199004 h 2323145"/>
              <a:gd name="connsiteX152" fmla="*/ 4420601 w 11269336"/>
              <a:gd name="connsiteY152" fmla="*/ 2205158 h 2323145"/>
              <a:gd name="connsiteX153" fmla="*/ 4405765 w 11269336"/>
              <a:gd name="connsiteY153" fmla="*/ 2199902 h 2323145"/>
              <a:gd name="connsiteX154" fmla="*/ 4401354 w 11269336"/>
              <a:gd name="connsiteY154" fmla="*/ 2194745 h 2323145"/>
              <a:gd name="connsiteX155" fmla="*/ 4383151 w 11269336"/>
              <a:gd name="connsiteY155" fmla="*/ 2201140 h 2323145"/>
              <a:gd name="connsiteX156" fmla="*/ 4366646 w 11269336"/>
              <a:gd name="connsiteY156" fmla="*/ 2198564 h 2323145"/>
              <a:gd name="connsiteX157" fmla="*/ 4354009 w 11269336"/>
              <a:gd name="connsiteY157" fmla="*/ 2204984 h 2323145"/>
              <a:gd name="connsiteX158" fmla="*/ 4348284 w 11269336"/>
              <a:gd name="connsiteY158" fmla="*/ 2205270 h 2323145"/>
              <a:gd name="connsiteX159" fmla="*/ 4333906 w 11269336"/>
              <a:gd name="connsiteY159" fmla="*/ 2205251 h 2323145"/>
              <a:gd name="connsiteX160" fmla="*/ 4308819 w 11269336"/>
              <a:gd name="connsiteY160" fmla="*/ 2203822 h 2323145"/>
              <a:gd name="connsiteX161" fmla="*/ 4301210 w 11269336"/>
              <a:gd name="connsiteY161" fmla="*/ 2204456 h 2323145"/>
              <a:gd name="connsiteX162" fmla="*/ 4283095 w 11269336"/>
              <a:gd name="connsiteY162" fmla="*/ 2198177 h 2323145"/>
              <a:gd name="connsiteX163" fmla="*/ 4250119 w 11269336"/>
              <a:gd name="connsiteY163" fmla="*/ 2196342 h 2323145"/>
              <a:gd name="connsiteX164" fmla="*/ 4189203 w 11269336"/>
              <a:gd name="connsiteY164" fmla="*/ 2178994 h 2323145"/>
              <a:gd name="connsiteX165" fmla="*/ 4154035 w 11269336"/>
              <a:gd name="connsiteY165" fmla="*/ 2171950 h 2323145"/>
              <a:gd name="connsiteX166" fmla="*/ 4129569 w 11269336"/>
              <a:gd name="connsiteY166" fmla="*/ 2163850 h 2323145"/>
              <a:gd name="connsiteX167" fmla="*/ 4061250 w 11269336"/>
              <a:gd name="connsiteY167" fmla="*/ 2159236 h 2323145"/>
              <a:gd name="connsiteX168" fmla="*/ 3945480 w 11269336"/>
              <a:gd name="connsiteY168" fmla="*/ 2158279 h 2323145"/>
              <a:gd name="connsiteX169" fmla="*/ 3921468 w 11269336"/>
              <a:gd name="connsiteY169" fmla="*/ 2156588 h 2323145"/>
              <a:gd name="connsiteX170" fmla="*/ 3903348 w 11269336"/>
              <a:gd name="connsiteY170" fmla="*/ 2149220 h 2323145"/>
              <a:gd name="connsiteX171" fmla="*/ 3901342 w 11269336"/>
              <a:gd name="connsiteY171" fmla="*/ 2142355 h 2323145"/>
              <a:gd name="connsiteX172" fmla="*/ 3888539 w 11269336"/>
              <a:gd name="connsiteY172" fmla="*/ 2140476 h 2323145"/>
              <a:gd name="connsiteX173" fmla="*/ 3885662 w 11269336"/>
              <a:gd name="connsiteY173" fmla="*/ 2138740 h 2323145"/>
              <a:gd name="connsiteX174" fmla="*/ 3868627 w 11269336"/>
              <a:gd name="connsiteY174" fmla="*/ 2130023 h 2323145"/>
              <a:gd name="connsiteX175" fmla="*/ 3819177 w 11269336"/>
              <a:gd name="connsiteY175" fmla="*/ 2142111 h 2323145"/>
              <a:gd name="connsiteX176" fmla="*/ 3769100 w 11269336"/>
              <a:gd name="connsiteY176" fmla="*/ 2131731 h 2323145"/>
              <a:gd name="connsiteX177" fmla="*/ 3562752 w 11269336"/>
              <a:gd name="connsiteY177" fmla="*/ 2131785 h 2323145"/>
              <a:gd name="connsiteX178" fmla="*/ 3541402 w 11269336"/>
              <a:gd name="connsiteY178" fmla="*/ 2106821 h 2323145"/>
              <a:gd name="connsiteX179" fmla="*/ 3365341 w 11269336"/>
              <a:gd name="connsiteY179" fmla="*/ 2077638 h 2323145"/>
              <a:gd name="connsiteX180" fmla="*/ 3170922 w 11269336"/>
              <a:gd name="connsiteY180" fmla="*/ 2115957 h 2323145"/>
              <a:gd name="connsiteX181" fmla="*/ 3156256 w 11269336"/>
              <a:gd name="connsiteY181" fmla="*/ 2124773 h 2323145"/>
              <a:gd name="connsiteX182" fmla="*/ 3140298 w 11269336"/>
              <a:gd name="connsiteY182" fmla="*/ 2129182 h 2323145"/>
              <a:gd name="connsiteX183" fmla="*/ 3138514 w 11269336"/>
              <a:gd name="connsiteY183" fmla="*/ 2128069 h 2323145"/>
              <a:gd name="connsiteX184" fmla="*/ 3120467 w 11269336"/>
              <a:gd name="connsiteY184" fmla="*/ 2128281 h 2323145"/>
              <a:gd name="connsiteX185" fmla="*/ 3116175 w 11269336"/>
              <a:gd name="connsiteY185" fmla="*/ 2131633 h 2323145"/>
              <a:gd name="connsiteX186" fmla="*/ 3103685 w 11269336"/>
              <a:gd name="connsiteY186" fmla="*/ 2132814 h 2323145"/>
              <a:gd name="connsiteX187" fmla="*/ 3078794 w 11269336"/>
              <a:gd name="connsiteY187" fmla="*/ 2137935 h 2323145"/>
              <a:gd name="connsiteX188" fmla="*/ 3074407 w 11269336"/>
              <a:gd name="connsiteY188" fmla="*/ 2136274 h 2323145"/>
              <a:gd name="connsiteX189" fmla="*/ 3037285 w 11269336"/>
              <a:gd name="connsiteY189" fmla="*/ 2139919 h 2323145"/>
              <a:gd name="connsiteX190" fmla="*/ 3036901 w 11269336"/>
              <a:gd name="connsiteY190" fmla="*/ 2138726 h 2323145"/>
              <a:gd name="connsiteX191" fmla="*/ 3026996 w 11269336"/>
              <a:gd name="connsiteY191" fmla="*/ 2134322 h 2323145"/>
              <a:gd name="connsiteX192" fmla="*/ 3007772 w 11269336"/>
              <a:gd name="connsiteY192" fmla="*/ 2128742 h 2323145"/>
              <a:gd name="connsiteX193" fmla="*/ 2965030 w 11269336"/>
              <a:gd name="connsiteY193" fmla="*/ 2100494 h 2323145"/>
              <a:gd name="connsiteX194" fmla="*/ 2926342 w 11269336"/>
              <a:gd name="connsiteY194" fmla="*/ 2104155 h 2323145"/>
              <a:gd name="connsiteX195" fmla="*/ 2918608 w 11269336"/>
              <a:gd name="connsiteY195" fmla="*/ 2104215 h 2323145"/>
              <a:gd name="connsiteX196" fmla="*/ 2918475 w 11269336"/>
              <a:gd name="connsiteY196" fmla="*/ 2103937 h 2323145"/>
              <a:gd name="connsiteX197" fmla="*/ 2910360 w 11269336"/>
              <a:gd name="connsiteY197" fmla="*/ 2103444 h 2323145"/>
              <a:gd name="connsiteX198" fmla="*/ 2904507 w 11269336"/>
              <a:gd name="connsiteY198" fmla="*/ 2104326 h 2323145"/>
              <a:gd name="connsiteX199" fmla="*/ 2889503 w 11269336"/>
              <a:gd name="connsiteY199" fmla="*/ 2104443 h 2323145"/>
              <a:gd name="connsiteX200" fmla="*/ 2884480 w 11269336"/>
              <a:gd name="connsiteY200" fmla="*/ 2102626 h 2323145"/>
              <a:gd name="connsiteX201" fmla="*/ 2882689 w 11269336"/>
              <a:gd name="connsiteY201" fmla="*/ 2099228 h 2323145"/>
              <a:gd name="connsiteX202" fmla="*/ 2881291 w 11269336"/>
              <a:gd name="connsiteY202" fmla="*/ 2099618 h 2323145"/>
              <a:gd name="connsiteX203" fmla="*/ 2853979 w 11269336"/>
              <a:gd name="connsiteY203" fmla="*/ 2090388 h 2323145"/>
              <a:gd name="connsiteX204" fmla="*/ 2791790 w 11269336"/>
              <a:gd name="connsiteY204" fmla="*/ 2080332 h 2323145"/>
              <a:gd name="connsiteX205" fmla="*/ 2755844 w 11269336"/>
              <a:gd name="connsiteY205" fmla="*/ 2078874 h 2323145"/>
              <a:gd name="connsiteX206" fmla="*/ 2657742 w 11269336"/>
              <a:gd name="connsiteY206" fmla="*/ 2070179 h 2323145"/>
              <a:gd name="connsiteX207" fmla="*/ 2559549 w 11269336"/>
              <a:gd name="connsiteY207" fmla="*/ 2057873 h 2323145"/>
              <a:gd name="connsiteX208" fmla="*/ 2512054 w 11269336"/>
              <a:gd name="connsiteY208" fmla="*/ 2031671 h 2323145"/>
              <a:gd name="connsiteX209" fmla="*/ 2506437 w 11269336"/>
              <a:gd name="connsiteY209" fmla="*/ 2030918 h 2323145"/>
              <a:gd name="connsiteX210" fmla="*/ 2491752 w 11269336"/>
              <a:gd name="connsiteY210" fmla="*/ 2033906 h 2323145"/>
              <a:gd name="connsiteX211" fmla="*/ 2486338 w 11269336"/>
              <a:gd name="connsiteY211" fmla="*/ 2035862 h 2323145"/>
              <a:gd name="connsiteX212" fmla="*/ 2478186 w 11269336"/>
              <a:gd name="connsiteY212" fmla="*/ 2036953 h 2323145"/>
              <a:gd name="connsiteX213" fmla="*/ 2477950 w 11269336"/>
              <a:gd name="connsiteY213" fmla="*/ 2036715 h 2323145"/>
              <a:gd name="connsiteX214" fmla="*/ 2470381 w 11269336"/>
              <a:gd name="connsiteY214" fmla="*/ 2038256 h 2323145"/>
              <a:gd name="connsiteX215" fmla="*/ 2433781 w 11269336"/>
              <a:gd name="connsiteY215" fmla="*/ 2049140 h 2323145"/>
              <a:gd name="connsiteX216" fmla="*/ 2381172 w 11269336"/>
              <a:gd name="connsiteY216" fmla="*/ 2030645 h 2323145"/>
              <a:gd name="connsiteX217" fmla="*/ 2360198 w 11269336"/>
              <a:gd name="connsiteY217" fmla="*/ 2029059 h 2323145"/>
              <a:gd name="connsiteX218" fmla="*/ 2348815 w 11269336"/>
              <a:gd name="connsiteY218" fmla="*/ 2026798 h 2323145"/>
              <a:gd name="connsiteX219" fmla="*/ 2347988 w 11269336"/>
              <a:gd name="connsiteY219" fmla="*/ 2025745 h 2323145"/>
              <a:gd name="connsiteX220" fmla="*/ 2312920 w 11269336"/>
              <a:gd name="connsiteY220" fmla="*/ 2036311 h 2323145"/>
              <a:gd name="connsiteX221" fmla="*/ 2307986 w 11269336"/>
              <a:gd name="connsiteY221" fmla="*/ 2035583 h 2323145"/>
              <a:gd name="connsiteX222" fmla="*/ 2285481 w 11269336"/>
              <a:gd name="connsiteY222" fmla="*/ 2045197 h 2323145"/>
              <a:gd name="connsiteX223" fmla="*/ 2273666 w 11269336"/>
              <a:gd name="connsiteY223" fmla="*/ 2048710 h 2323145"/>
              <a:gd name="connsiteX224" fmla="*/ 2270719 w 11269336"/>
              <a:gd name="connsiteY224" fmla="*/ 2052702 h 2323145"/>
              <a:gd name="connsiteX225" fmla="*/ 2253080 w 11269336"/>
              <a:gd name="connsiteY225" fmla="*/ 2056363 h 2323145"/>
              <a:gd name="connsiteX226" fmla="*/ 2250906 w 11269336"/>
              <a:gd name="connsiteY226" fmla="*/ 2055654 h 2323145"/>
              <a:gd name="connsiteX227" fmla="*/ 2236905 w 11269336"/>
              <a:gd name="connsiteY227" fmla="*/ 2062882 h 2323145"/>
              <a:gd name="connsiteX228" fmla="*/ 2225830 w 11269336"/>
              <a:gd name="connsiteY228" fmla="*/ 2074027 h 2323145"/>
              <a:gd name="connsiteX229" fmla="*/ 2073776 w 11269336"/>
              <a:gd name="connsiteY229" fmla="*/ 2089244 h 2323145"/>
              <a:gd name="connsiteX230" fmla="*/ 1948256 w 11269336"/>
              <a:gd name="connsiteY230" fmla="*/ 2146616 h 2323145"/>
              <a:gd name="connsiteX231" fmla="*/ 1865582 w 11269336"/>
              <a:gd name="connsiteY231" fmla="*/ 2153738 h 2323145"/>
              <a:gd name="connsiteX232" fmla="*/ 1835210 w 11269336"/>
              <a:gd name="connsiteY232" fmla="*/ 2134244 h 2323145"/>
              <a:gd name="connsiteX233" fmla="*/ 1632661 w 11269336"/>
              <a:gd name="connsiteY233" fmla="*/ 2173882 h 2323145"/>
              <a:gd name="connsiteX234" fmla="*/ 1579590 w 11269336"/>
              <a:gd name="connsiteY234" fmla="*/ 2173680 h 2323145"/>
              <a:gd name="connsiteX235" fmla="*/ 1535601 w 11269336"/>
              <a:gd name="connsiteY235" fmla="*/ 2194590 h 2323145"/>
              <a:gd name="connsiteX236" fmla="*/ 1515594 w 11269336"/>
              <a:gd name="connsiteY236" fmla="*/ 2189622 h 2323145"/>
              <a:gd name="connsiteX237" fmla="*/ 1512113 w 11269336"/>
              <a:gd name="connsiteY237" fmla="*/ 2188534 h 2323145"/>
              <a:gd name="connsiteX238" fmla="*/ 1498838 w 11269336"/>
              <a:gd name="connsiteY238" fmla="*/ 2189213 h 2323145"/>
              <a:gd name="connsiteX239" fmla="*/ 1494279 w 11269336"/>
              <a:gd name="connsiteY239" fmla="*/ 2183112 h 2323145"/>
              <a:gd name="connsiteX240" fmla="*/ 1473714 w 11269336"/>
              <a:gd name="connsiteY240" fmla="*/ 2179625 h 2323145"/>
              <a:gd name="connsiteX241" fmla="*/ 1449503 w 11269336"/>
              <a:gd name="connsiteY241" fmla="*/ 2182633 h 2323145"/>
              <a:gd name="connsiteX242" fmla="*/ 1266687 w 11269336"/>
              <a:gd name="connsiteY242" fmla="*/ 2212688 h 2323145"/>
              <a:gd name="connsiteX243" fmla="*/ 1239614 w 11269336"/>
              <a:gd name="connsiteY243" fmla="*/ 2209727 h 2323145"/>
              <a:gd name="connsiteX244" fmla="*/ 1202436 w 11269336"/>
              <a:gd name="connsiteY244" fmla="*/ 2209817 h 2323145"/>
              <a:gd name="connsiteX245" fmla="*/ 1136097 w 11269336"/>
              <a:gd name="connsiteY245" fmla="*/ 2205112 h 2323145"/>
              <a:gd name="connsiteX246" fmla="*/ 988232 w 11269336"/>
              <a:gd name="connsiteY246" fmla="*/ 2235635 h 2323145"/>
              <a:gd name="connsiteX247" fmla="*/ 981959 w 11269336"/>
              <a:gd name="connsiteY247" fmla="*/ 2231607 h 2323145"/>
              <a:gd name="connsiteX248" fmla="*/ 938600 w 11269336"/>
              <a:gd name="connsiteY248" fmla="*/ 2238113 h 2323145"/>
              <a:gd name="connsiteX249" fmla="*/ 791788 w 11269336"/>
              <a:gd name="connsiteY249" fmla="*/ 2293224 h 2323145"/>
              <a:gd name="connsiteX250" fmla="*/ 706914 w 11269336"/>
              <a:gd name="connsiteY250" fmla="*/ 2305046 h 2323145"/>
              <a:gd name="connsiteX251" fmla="*/ 675971 w 11269336"/>
              <a:gd name="connsiteY251" fmla="*/ 2304030 h 2323145"/>
              <a:gd name="connsiteX252" fmla="*/ 624180 w 11269336"/>
              <a:gd name="connsiteY252" fmla="*/ 2302650 h 2323145"/>
              <a:gd name="connsiteX253" fmla="*/ 583453 w 11269336"/>
              <a:gd name="connsiteY253" fmla="*/ 2288788 h 2323145"/>
              <a:gd name="connsiteX254" fmla="*/ 540946 w 11269336"/>
              <a:gd name="connsiteY254" fmla="*/ 2292721 h 2323145"/>
              <a:gd name="connsiteX255" fmla="*/ 533680 w 11269336"/>
              <a:gd name="connsiteY255" fmla="*/ 2310233 h 2323145"/>
              <a:gd name="connsiteX256" fmla="*/ 487366 w 11269336"/>
              <a:gd name="connsiteY256" fmla="*/ 2309053 h 2323145"/>
              <a:gd name="connsiteX257" fmla="*/ 416820 w 11269336"/>
              <a:gd name="connsiteY257" fmla="*/ 2305443 h 2323145"/>
              <a:gd name="connsiteX258" fmla="*/ 376805 w 11269336"/>
              <a:gd name="connsiteY258" fmla="*/ 2307647 h 2323145"/>
              <a:gd name="connsiteX259" fmla="*/ 266777 w 11269336"/>
              <a:gd name="connsiteY259" fmla="*/ 2309012 h 2323145"/>
              <a:gd name="connsiteX260" fmla="*/ 156013 w 11269336"/>
              <a:gd name="connsiteY260" fmla="*/ 2306832 h 2323145"/>
              <a:gd name="connsiteX261" fmla="*/ 87258 w 11269336"/>
              <a:gd name="connsiteY261" fmla="*/ 2285511 h 2323145"/>
              <a:gd name="connsiteX262" fmla="*/ 23798 w 11269336"/>
              <a:gd name="connsiteY262" fmla="*/ 2281822 h 2323145"/>
              <a:gd name="connsiteX263" fmla="*/ 0 w 11269336"/>
              <a:gd name="connsiteY263" fmla="*/ 2285369 h 2323145"/>
              <a:gd name="connsiteX264" fmla="*/ 0 w 11269336"/>
              <a:gd name="connsiteY264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8914746 w 11269336"/>
              <a:gd name="connsiteY23" fmla="*/ 826428 h 2323145"/>
              <a:gd name="connsiteX24" fmla="*/ 8917778 w 11269336"/>
              <a:gd name="connsiteY24" fmla="*/ 835198 h 2323145"/>
              <a:gd name="connsiteX25" fmla="*/ 8905560 w 11269336"/>
              <a:gd name="connsiteY25" fmla="*/ 838358 h 2323145"/>
              <a:gd name="connsiteX26" fmla="*/ 8897564 w 11269336"/>
              <a:gd name="connsiteY26" fmla="*/ 834287 h 2323145"/>
              <a:gd name="connsiteX27" fmla="*/ 8878040 w 11269336"/>
              <a:gd name="connsiteY27" fmla="*/ 844150 h 2323145"/>
              <a:gd name="connsiteX28" fmla="*/ 8795998 w 11269336"/>
              <a:gd name="connsiteY28" fmla="*/ 863337 h 2323145"/>
              <a:gd name="connsiteX29" fmla="*/ 8776970 w 11269336"/>
              <a:gd name="connsiteY29" fmla="*/ 885177 h 2323145"/>
              <a:gd name="connsiteX30" fmla="*/ 8755719 w 11269336"/>
              <a:gd name="connsiteY30" fmla="*/ 889754 h 2323145"/>
              <a:gd name="connsiteX31" fmla="*/ 8743257 w 11269336"/>
              <a:gd name="connsiteY31" fmla="*/ 904723 h 2323145"/>
              <a:gd name="connsiteX32" fmla="*/ 8721366 w 11269336"/>
              <a:gd name="connsiteY32" fmla="*/ 904711 h 2323145"/>
              <a:gd name="connsiteX33" fmla="*/ 8678353 w 11269336"/>
              <a:gd name="connsiteY33" fmla="*/ 926318 h 2323145"/>
              <a:gd name="connsiteX34" fmla="*/ 8636849 w 11269336"/>
              <a:gd name="connsiteY34" fmla="*/ 937900 h 2323145"/>
              <a:gd name="connsiteX35" fmla="*/ 8620213 w 11269336"/>
              <a:gd name="connsiteY35" fmla="*/ 943068 h 2323145"/>
              <a:gd name="connsiteX36" fmla="*/ 8612581 w 11269336"/>
              <a:gd name="connsiteY36" fmla="*/ 952695 h 2323145"/>
              <a:gd name="connsiteX37" fmla="*/ 8589038 w 11269336"/>
              <a:gd name="connsiteY37" fmla="*/ 963892 h 2323145"/>
              <a:gd name="connsiteX38" fmla="*/ 8579950 w 11269336"/>
              <a:gd name="connsiteY38" fmla="*/ 960899 h 2323145"/>
              <a:gd name="connsiteX39" fmla="*/ 8579319 w 11269336"/>
              <a:gd name="connsiteY39" fmla="*/ 965630 h 2323145"/>
              <a:gd name="connsiteX40" fmla="*/ 8547429 w 11269336"/>
              <a:gd name="connsiteY40" fmla="*/ 984506 h 2323145"/>
              <a:gd name="connsiteX41" fmla="*/ 8478704 w 11269336"/>
              <a:gd name="connsiteY41" fmla="*/ 1025490 h 2323145"/>
              <a:gd name="connsiteX42" fmla="*/ 8461421 w 11269336"/>
              <a:gd name="connsiteY42" fmla="*/ 1035512 h 2323145"/>
              <a:gd name="connsiteX43" fmla="*/ 8445003 w 11269336"/>
              <a:gd name="connsiteY43" fmla="*/ 1036851 h 2323145"/>
              <a:gd name="connsiteX44" fmla="*/ 8357350 w 11269336"/>
              <a:gd name="connsiteY44" fmla="*/ 1060213 h 2323145"/>
              <a:gd name="connsiteX45" fmla="*/ 8335565 w 11269336"/>
              <a:gd name="connsiteY45" fmla="*/ 1061151 h 2323145"/>
              <a:gd name="connsiteX46" fmla="*/ 8325267 w 11269336"/>
              <a:gd name="connsiteY46" fmla="*/ 1055919 h 2323145"/>
              <a:gd name="connsiteX47" fmla="*/ 8293586 w 11269336"/>
              <a:gd name="connsiteY47" fmla="*/ 1076144 h 2323145"/>
              <a:gd name="connsiteX48" fmla="*/ 8242405 w 11269336"/>
              <a:gd name="connsiteY48" fmla="*/ 1095960 h 2323145"/>
              <a:gd name="connsiteX49" fmla="*/ 8197391 w 11269336"/>
              <a:gd name="connsiteY49" fmla="*/ 1107746 h 2323145"/>
              <a:gd name="connsiteX50" fmla="*/ 8081474 w 11269336"/>
              <a:gd name="connsiteY50" fmla="*/ 1130125 h 2323145"/>
              <a:gd name="connsiteX51" fmla="*/ 8053585 w 11269336"/>
              <a:gd name="connsiteY51" fmla="*/ 1129169 h 2323145"/>
              <a:gd name="connsiteX52" fmla="*/ 8038422 w 11269336"/>
              <a:gd name="connsiteY52" fmla="*/ 1119092 h 2323145"/>
              <a:gd name="connsiteX53" fmla="*/ 8029450 w 11269336"/>
              <a:gd name="connsiteY53" fmla="*/ 1125592 h 2323145"/>
              <a:gd name="connsiteX54" fmla="*/ 7959552 w 11269336"/>
              <a:gd name="connsiteY54" fmla="*/ 1140188 h 2323145"/>
              <a:gd name="connsiteX55" fmla="*/ 7914188 w 11269336"/>
              <a:gd name="connsiteY55" fmla="*/ 1150862 h 2323145"/>
              <a:gd name="connsiteX56" fmla="*/ 7914918 w 11269336"/>
              <a:gd name="connsiteY56" fmla="*/ 1168758 h 2323145"/>
              <a:gd name="connsiteX57" fmla="*/ 7875510 w 11269336"/>
              <a:gd name="connsiteY57" fmla="*/ 1183153 h 2323145"/>
              <a:gd name="connsiteX58" fmla="*/ 7829932 w 11269336"/>
              <a:gd name="connsiteY58" fmla="*/ 1180782 h 2323145"/>
              <a:gd name="connsiteX59" fmla="*/ 7779182 w 11269336"/>
              <a:gd name="connsiteY59" fmla="*/ 1192665 h 2323145"/>
              <a:gd name="connsiteX60" fmla="*/ 7748774 w 11269336"/>
              <a:gd name="connsiteY60" fmla="*/ 1199586 h 2323145"/>
              <a:gd name="connsiteX61" fmla="*/ 7671846 w 11269336"/>
              <a:gd name="connsiteY61" fmla="*/ 1231966 h 2323145"/>
              <a:gd name="connsiteX62" fmla="*/ 7554146 w 11269336"/>
              <a:gd name="connsiteY62" fmla="*/ 1319748 h 2323145"/>
              <a:gd name="connsiteX63" fmla="*/ 7515052 w 11269336"/>
              <a:gd name="connsiteY63" fmla="*/ 1336718 h 2323145"/>
              <a:gd name="connsiteX64" fmla="*/ 7507193 w 11269336"/>
              <a:gd name="connsiteY64" fmla="*/ 1334617 h 2323145"/>
              <a:gd name="connsiteX65" fmla="*/ 7461694 w 11269336"/>
              <a:gd name="connsiteY65" fmla="*/ 1375866 h 2323145"/>
              <a:gd name="connsiteX66" fmla="*/ 7377571 w 11269336"/>
              <a:gd name="connsiteY66" fmla="*/ 1400128 h 2323145"/>
              <a:gd name="connsiteX67" fmla="*/ 7311261 w 11269336"/>
              <a:gd name="connsiteY67" fmla="*/ 1412652 h 2323145"/>
              <a:gd name="connsiteX68" fmla="*/ 7275307 w 11269336"/>
              <a:gd name="connsiteY68" fmla="*/ 1422171 h 2323145"/>
              <a:gd name="connsiteX69" fmla="*/ 7247783 w 11269336"/>
              <a:gd name="connsiteY69" fmla="*/ 1426330 h 2323145"/>
              <a:gd name="connsiteX70" fmla="*/ 7185047 w 11269336"/>
              <a:gd name="connsiteY70" fmla="*/ 1451812 h 2323145"/>
              <a:gd name="connsiteX71" fmla="*/ 7084117 w 11269336"/>
              <a:gd name="connsiteY71" fmla="*/ 1500281 h 2323145"/>
              <a:gd name="connsiteX72" fmla="*/ 7062011 w 11269336"/>
              <a:gd name="connsiteY72" fmla="*/ 1509183 h 2323145"/>
              <a:gd name="connsiteX73" fmla="*/ 7040555 w 11269336"/>
              <a:gd name="connsiteY73" fmla="*/ 1511207 h 2323145"/>
              <a:gd name="connsiteX74" fmla="*/ 7033438 w 11269336"/>
              <a:gd name="connsiteY74" fmla="*/ 1506772 h 2323145"/>
              <a:gd name="connsiteX75" fmla="*/ 7020886 w 11269336"/>
              <a:gd name="connsiteY75" fmla="*/ 1510764 h 2323145"/>
              <a:gd name="connsiteX76" fmla="*/ 7017033 w 11269336"/>
              <a:gd name="connsiteY76" fmla="*/ 1510650 h 2323145"/>
              <a:gd name="connsiteX77" fmla="*/ 6995460 w 11269336"/>
              <a:gd name="connsiteY77" fmla="*/ 1511173 h 2323145"/>
              <a:gd name="connsiteX78" fmla="*/ 6962144 w 11269336"/>
              <a:gd name="connsiteY78" fmla="*/ 1541508 h 2323145"/>
              <a:gd name="connsiteX79" fmla="*/ 6910674 w 11269336"/>
              <a:gd name="connsiteY79" fmla="*/ 1554793 h 2323145"/>
              <a:gd name="connsiteX80" fmla="*/ 6732152 w 11269336"/>
              <a:gd name="connsiteY80" fmla="*/ 1642538 h 2323145"/>
              <a:gd name="connsiteX81" fmla="*/ 6694106 w 11269336"/>
              <a:gd name="connsiteY81" fmla="*/ 1632377 h 2323145"/>
              <a:gd name="connsiteX82" fmla="*/ 6617223 w 11269336"/>
              <a:gd name="connsiteY82" fmla="*/ 1659889 h 2323145"/>
              <a:gd name="connsiteX83" fmla="*/ 6521138 w 11269336"/>
              <a:gd name="connsiteY83" fmla="*/ 1744340 h 2323145"/>
              <a:gd name="connsiteX84" fmla="*/ 6380677 w 11269336"/>
              <a:gd name="connsiteY84" fmla="*/ 1796883 h 2323145"/>
              <a:gd name="connsiteX85" fmla="*/ 6374897 w 11269336"/>
              <a:gd name="connsiteY85" fmla="*/ 1809910 h 2323145"/>
              <a:gd name="connsiteX86" fmla="*/ 6364545 w 11269336"/>
              <a:gd name="connsiteY86" fmla="*/ 1820090 h 2323145"/>
              <a:gd name="connsiteX87" fmla="*/ 6362126 w 11269336"/>
              <a:gd name="connsiteY87" fmla="*/ 1819991 h 2323145"/>
              <a:gd name="connsiteX88" fmla="*/ 6346673 w 11269336"/>
              <a:gd name="connsiteY88" fmla="*/ 1827824 h 2323145"/>
              <a:gd name="connsiteX89" fmla="*/ 6345588 w 11269336"/>
              <a:gd name="connsiteY89" fmla="*/ 1832232 h 2323145"/>
              <a:gd name="connsiteX90" fmla="*/ 6335708 w 11269336"/>
              <a:gd name="connsiteY90" fmla="*/ 1838451 h 2323145"/>
              <a:gd name="connsiteX91" fmla="*/ 6318182 w 11269336"/>
              <a:gd name="connsiteY91" fmla="*/ 1852975 h 2323145"/>
              <a:gd name="connsiteX92" fmla="*/ 6313084 w 11269336"/>
              <a:gd name="connsiteY92" fmla="*/ 1853561 h 2323145"/>
              <a:gd name="connsiteX93" fmla="*/ 6283816 w 11269336"/>
              <a:gd name="connsiteY93" fmla="*/ 1872148 h 2323145"/>
              <a:gd name="connsiteX94" fmla="*/ 6282550 w 11269336"/>
              <a:gd name="connsiteY94" fmla="*/ 1871392 h 2323145"/>
              <a:gd name="connsiteX95" fmla="*/ 6270527 w 11269336"/>
              <a:gd name="connsiteY95" fmla="*/ 1872208 h 2323145"/>
              <a:gd name="connsiteX96" fmla="*/ 6249518 w 11269336"/>
              <a:gd name="connsiteY96" fmla="*/ 1876079 h 2323145"/>
              <a:gd name="connsiteX97" fmla="*/ 6190386 w 11269336"/>
              <a:gd name="connsiteY97" fmla="*/ 1872478 h 2323145"/>
              <a:gd name="connsiteX98" fmla="*/ 6159777 w 11269336"/>
              <a:gd name="connsiteY98" fmla="*/ 1891745 h 2323145"/>
              <a:gd name="connsiteX99" fmla="*/ 6153131 w 11269336"/>
              <a:gd name="connsiteY99" fmla="*/ 1895079 h 2323145"/>
              <a:gd name="connsiteX100" fmla="*/ 6152798 w 11269336"/>
              <a:gd name="connsiteY100" fmla="*/ 1894920 h 2323145"/>
              <a:gd name="connsiteX101" fmla="*/ 6145388 w 11269336"/>
              <a:gd name="connsiteY101" fmla="*/ 1897990 h 2323145"/>
              <a:gd name="connsiteX102" fmla="*/ 6141014 w 11269336"/>
              <a:gd name="connsiteY102" fmla="*/ 1901155 h 2323145"/>
              <a:gd name="connsiteX103" fmla="*/ 6128122 w 11269336"/>
              <a:gd name="connsiteY103" fmla="*/ 1907623 h 2323145"/>
              <a:gd name="connsiteX104" fmla="*/ 6122351 w 11269336"/>
              <a:gd name="connsiteY104" fmla="*/ 1908359 h 2323145"/>
              <a:gd name="connsiteX105" fmla="*/ 6064750 w 11269336"/>
              <a:gd name="connsiteY105" fmla="*/ 1896394 h 2323145"/>
              <a:gd name="connsiteX106" fmla="*/ 5964230 w 11269336"/>
              <a:gd name="connsiteY106" fmla="*/ 1910038 h 2323145"/>
              <a:gd name="connsiteX107" fmla="*/ 5865399 w 11269336"/>
              <a:gd name="connsiteY107" fmla="*/ 1926966 h 2323145"/>
              <a:gd name="connsiteX108" fmla="*/ 5829951 w 11269336"/>
              <a:gd name="connsiteY108" fmla="*/ 1934755 h 2323145"/>
              <a:gd name="connsiteX109" fmla="*/ 5765285 w 11269336"/>
              <a:gd name="connsiteY109" fmla="*/ 1941322 h 2323145"/>
              <a:gd name="connsiteX110" fmla="*/ 5734750 w 11269336"/>
              <a:gd name="connsiteY110" fmla="*/ 1939793 h 2323145"/>
              <a:gd name="connsiteX111" fmla="*/ 5733569 w 11269336"/>
              <a:gd name="connsiteY111" fmla="*/ 1940505 h 2323145"/>
              <a:gd name="connsiteX112" fmla="*/ 5730329 w 11269336"/>
              <a:gd name="connsiteY112" fmla="*/ 1937845 h 2323145"/>
              <a:gd name="connsiteX113" fmla="*/ 5724661 w 11269336"/>
              <a:gd name="connsiteY113" fmla="*/ 1937455 h 2323145"/>
              <a:gd name="connsiteX114" fmla="*/ 5710186 w 11269336"/>
              <a:gd name="connsiteY114" fmla="*/ 1941370 h 2323145"/>
              <a:gd name="connsiteX115" fmla="*/ 5704910 w 11269336"/>
              <a:gd name="connsiteY115" fmla="*/ 1943663 h 2323145"/>
              <a:gd name="connsiteX116" fmla="*/ 5696836 w 11269336"/>
              <a:gd name="connsiteY116" fmla="*/ 1945271 h 2323145"/>
              <a:gd name="connsiteX117" fmla="*/ 5696583 w 11269336"/>
              <a:gd name="connsiteY117" fmla="*/ 1945050 h 2323145"/>
              <a:gd name="connsiteX118" fmla="*/ 5689123 w 11269336"/>
              <a:gd name="connsiteY118" fmla="*/ 1947067 h 2323145"/>
              <a:gd name="connsiteX119" fmla="*/ 5653291 w 11269336"/>
              <a:gd name="connsiteY119" fmla="*/ 1960245 h 2323145"/>
              <a:gd name="connsiteX120" fmla="*/ 5599385 w 11269336"/>
              <a:gd name="connsiteY120" fmla="*/ 1945198 h 2323145"/>
              <a:gd name="connsiteX121" fmla="*/ 5578300 w 11269336"/>
              <a:gd name="connsiteY121" fmla="*/ 1944963 h 2323145"/>
              <a:gd name="connsiteX122" fmla="*/ 5566758 w 11269336"/>
              <a:gd name="connsiteY122" fmla="*/ 1943441 h 2323145"/>
              <a:gd name="connsiteX123" fmla="*/ 5565857 w 11269336"/>
              <a:gd name="connsiteY123" fmla="*/ 1942445 h 2323145"/>
              <a:gd name="connsiteX124" fmla="*/ 5531534 w 11269336"/>
              <a:gd name="connsiteY124" fmla="*/ 1955208 h 2323145"/>
              <a:gd name="connsiteX125" fmla="*/ 5526552 w 11269336"/>
              <a:gd name="connsiteY125" fmla="*/ 1954799 h 2323145"/>
              <a:gd name="connsiteX126" fmla="*/ 5504723 w 11269336"/>
              <a:gd name="connsiteY126" fmla="*/ 1965811 h 2323145"/>
              <a:gd name="connsiteX127" fmla="*/ 5493156 w 11269336"/>
              <a:gd name="connsiteY127" fmla="*/ 1970063 h 2323145"/>
              <a:gd name="connsiteX128" fmla="*/ 5490486 w 11269336"/>
              <a:gd name="connsiteY128" fmla="*/ 1974227 h 2323145"/>
              <a:gd name="connsiteX129" fmla="*/ 5473107 w 11269336"/>
              <a:gd name="connsiteY129" fmla="*/ 1979001 h 2323145"/>
              <a:gd name="connsiteX130" fmla="*/ 5470885 w 11269336"/>
              <a:gd name="connsiteY130" fmla="*/ 1978432 h 2323145"/>
              <a:gd name="connsiteX131" fmla="*/ 5457393 w 11269336"/>
              <a:gd name="connsiteY131" fmla="*/ 1986525 h 2323145"/>
              <a:gd name="connsiteX132" fmla="*/ 5447102 w 11269336"/>
              <a:gd name="connsiteY132" fmla="*/ 1998329 h 2323145"/>
              <a:gd name="connsiteX133" fmla="*/ 5159151 w 11269336"/>
              <a:gd name="connsiteY133" fmla="*/ 2029640 h 2323145"/>
              <a:gd name="connsiteX134" fmla="*/ 5041688 w 11269336"/>
              <a:gd name="connsiteY134" fmla="*/ 2022334 h 2323145"/>
              <a:gd name="connsiteX135" fmla="*/ 4860988 w 11269336"/>
              <a:gd name="connsiteY135" fmla="*/ 2135698 h 2323145"/>
              <a:gd name="connsiteX136" fmla="*/ 4807902 w 11269336"/>
              <a:gd name="connsiteY136" fmla="*/ 2138894 h 2323145"/>
              <a:gd name="connsiteX137" fmla="*/ 4765388 w 11269336"/>
              <a:gd name="connsiteY137" fmla="*/ 2162525 h 2323145"/>
              <a:gd name="connsiteX138" fmla="*/ 4745033 w 11269336"/>
              <a:gd name="connsiteY138" fmla="*/ 2158859 h 2323145"/>
              <a:gd name="connsiteX139" fmla="*/ 4741475 w 11269336"/>
              <a:gd name="connsiteY139" fmla="*/ 2157998 h 2323145"/>
              <a:gd name="connsiteX140" fmla="*/ 4728247 w 11269336"/>
              <a:gd name="connsiteY140" fmla="*/ 2159526 h 2323145"/>
              <a:gd name="connsiteX141" fmla="*/ 4723263 w 11269336"/>
              <a:gd name="connsiteY141" fmla="*/ 2153742 h 2323145"/>
              <a:gd name="connsiteX142" fmla="*/ 4702453 w 11269336"/>
              <a:gd name="connsiteY142" fmla="*/ 2151586 h 2323145"/>
              <a:gd name="connsiteX143" fmla="*/ 4678455 w 11269336"/>
              <a:gd name="connsiteY143" fmla="*/ 2156131 h 2323145"/>
              <a:gd name="connsiteX144" fmla="*/ 4593061 w 11269336"/>
              <a:gd name="connsiteY144" fmla="*/ 2171597 h 2323145"/>
              <a:gd name="connsiteX145" fmla="*/ 4579902 w 11269336"/>
              <a:gd name="connsiteY145" fmla="*/ 2177927 h 2323145"/>
              <a:gd name="connsiteX146" fmla="*/ 4533444 w 11269336"/>
              <a:gd name="connsiteY146" fmla="*/ 2181200 h 2323145"/>
              <a:gd name="connsiteX147" fmla="*/ 4492832 w 11269336"/>
              <a:gd name="connsiteY147" fmla="*/ 2188033 h 2323145"/>
              <a:gd name="connsiteX148" fmla="*/ 4467257 w 11269336"/>
              <a:gd name="connsiteY148" fmla="*/ 2196121 h 2323145"/>
              <a:gd name="connsiteX149" fmla="*/ 4459937 w 11269336"/>
              <a:gd name="connsiteY149" fmla="*/ 2195182 h 2323145"/>
              <a:gd name="connsiteX150" fmla="*/ 4433312 w 11269336"/>
              <a:gd name="connsiteY150" fmla="*/ 2199004 h 2323145"/>
              <a:gd name="connsiteX151" fmla="*/ 4420601 w 11269336"/>
              <a:gd name="connsiteY151" fmla="*/ 2205158 h 2323145"/>
              <a:gd name="connsiteX152" fmla="*/ 4405765 w 11269336"/>
              <a:gd name="connsiteY152" fmla="*/ 2199902 h 2323145"/>
              <a:gd name="connsiteX153" fmla="*/ 4401354 w 11269336"/>
              <a:gd name="connsiteY153" fmla="*/ 2194745 h 2323145"/>
              <a:gd name="connsiteX154" fmla="*/ 4383151 w 11269336"/>
              <a:gd name="connsiteY154" fmla="*/ 2201140 h 2323145"/>
              <a:gd name="connsiteX155" fmla="*/ 4366646 w 11269336"/>
              <a:gd name="connsiteY155" fmla="*/ 2198564 h 2323145"/>
              <a:gd name="connsiteX156" fmla="*/ 4354009 w 11269336"/>
              <a:gd name="connsiteY156" fmla="*/ 2204984 h 2323145"/>
              <a:gd name="connsiteX157" fmla="*/ 4348284 w 11269336"/>
              <a:gd name="connsiteY157" fmla="*/ 2205270 h 2323145"/>
              <a:gd name="connsiteX158" fmla="*/ 4333906 w 11269336"/>
              <a:gd name="connsiteY158" fmla="*/ 2205251 h 2323145"/>
              <a:gd name="connsiteX159" fmla="*/ 4308819 w 11269336"/>
              <a:gd name="connsiteY159" fmla="*/ 2203822 h 2323145"/>
              <a:gd name="connsiteX160" fmla="*/ 4301210 w 11269336"/>
              <a:gd name="connsiteY160" fmla="*/ 2204456 h 2323145"/>
              <a:gd name="connsiteX161" fmla="*/ 4283095 w 11269336"/>
              <a:gd name="connsiteY161" fmla="*/ 2198177 h 2323145"/>
              <a:gd name="connsiteX162" fmla="*/ 4250119 w 11269336"/>
              <a:gd name="connsiteY162" fmla="*/ 2196342 h 2323145"/>
              <a:gd name="connsiteX163" fmla="*/ 4189203 w 11269336"/>
              <a:gd name="connsiteY163" fmla="*/ 2178994 h 2323145"/>
              <a:gd name="connsiteX164" fmla="*/ 4154035 w 11269336"/>
              <a:gd name="connsiteY164" fmla="*/ 2171950 h 2323145"/>
              <a:gd name="connsiteX165" fmla="*/ 4129569 w 11269336"/>
              <a:gd name="connsiteY165" fmla="*/ 2163850 h 2323145"/>
              <a:gd name="connsiteX166" fmla="*/ 4061250 w 11269336"/>
              <a:gd name="connsiteY166" fmla="*/ 2159236 h 2323145"/>
              <a:gd name="connsiteX167" fmla="*/ 3945480 w 11269336"/>
              <a:gd name="connsiteY167" fmla="*/ 2158279 h 2323145"/>
              <a:gd name="connsiteX168" fmla="*/ 3921468 w 11269336"/>
              <a:gd name="connsiteY168" fmla="*/ 2156588 h 2323145"/>
              <a:gd name="connsiteX169" fmla="*/ 3903348 w 11269336"/>
              <a:gd name="connsiteY169" fmla="*/ 2149220 h 2323145"/>
              <a:gd name="connsiteX170" fmla="*/ 3901342 w 11269336"/>
              <a:gd name="connsiteY170" fmla="*/ 2142355 h 2323145"/>
              <a:gd name="connsiteX171" fmla="*/ 3888539 w 11269336"/>
              <a:gd name="connsiteY171" fmla="*/ 2140476 h 2323145"/>
              <a:gd name="connsiteX172" fmla="*/ 3885662 w 11269336"/>
              <a:gd name="connsiteY172" fmla="*/ 2138740 h 2323145"/>
              <a:gd name="connsiteX173" fmla="*/ 3868627 w 11269336"/>
              <a:gd name="connsiteY173" fmla="*/ 2130023 h 2323145"/>
              <a:gd name="connsiteX174" fmla="*/ 3819177 w 11269336"/>
              <a:gd name="connsiteY174" fmla="*/ 2142111 h 2323145"/>
              <a:gd name="connsiteX175" fmla="*/ 3769100 w 11269336"/>
              <a:gd name="connsiteY175" fmla="*/ 2131731 h 2323145"/>
              <a:gd name="connsiteX176" fmla="*/ 3562752 w 11269336"/>
              <a:gd name="connsiteY176" fmla="*/ 2131785 h 2323145"/>
              <a:gd name="connsiteX177" fmla="*/ 3541402 w 11269336"/>
              <a:gd name="connsiteY177" fmla="*/ 2106821 h 2323145"/>
              <a:gd name="connsiteX178" fmla="*/ 3365341 w 11269336"/>
              <a:gd name="connsiteY178" fmla="*/ 2077638 h 2323145"/>
              <a:gd name="connsiteX179" fmla="*/ 3170922 w 11269336"/>
              <a:gd name="connsiteY179" fmla="*/ 2115957 h 2323145"/>
              <a:gd name="connsiteX180" fmla="*/ 3156256 w 11269336"/>
              <a:gd name="connsiteY180" fmla="*/ 2124773 h 2323145"/>
              <a:gd name="connsiteX181" fmla="*/ 3140298 w 11269336"/>
              <a:gd name="connsiteY181" fmla="*/ 2129182 h 2323145"/>
              <a:gd name="connsiteX182" fmla="*/ 3138514 w 11269336"/>
              <a:gd name="connsiteY182" fmla="*/ 2128069 h 2323145"/>
              <a:gd name="connsiteX183" fmla="*/ 3120467 w 11269336"/>
              <a:gd name="connsiteY183" fmla="*/ 2128281 h 2323145"/>
              <a:gd name="connsiteX184" fmla="*/ 3116175 w 11269336"/>
              <a:gd name="connsiteY184" fmla="*/ 2131633 h 2323145"/>
              <a:gd name="connsiteX185" fmla="*/ 3103685 w 11269336"/>
              <a:gd name="connsiteY185" fmla="*/ 2132814 h 2323145"/>
              <a:gd name="connsiteX186" fmla="*/ 3078794 w 11269336"/>
              <a:gd name="connsiteY186" fmla="*/ 2137935 h 2323145"/>
              <a:gd name="connsiteX187" fmla="*/ 3074407 w 11269336"/>
              <a:gd name="connsiteY187" fmla="*/ 2136274 h 2323145"/>
              <a:gd name="connsiteX188" fmla="*/ 3037285 w 11269336"/>
              <a:gd name="connsiteY188" fmla="*/ 2139919 h 2323145"/>
              <a:gd name="connsiteX189" fmla="*/ 3036901 w 11269336"/>
              <a:gd name="connsiteY189" fmla="*/ 2138726 h 2323145"/>
              <a:gd name="connsiteX190" fmla="*/ 3026996 w 11269336"/>
              <a:gd name="connsiteY190" fmla="*/ 2134322 h 2323145"/>
              <a:gd name="connsiteX191" fmla="*/ 3007772 w 11269336"/>
              <a:gd name="connsiteY191" fmla="*/ 2128742 h 2323145"/>
              <a:gd name="connsiteX192" fmla="*/ 2965030 w 11269336"/>
              <a:gd name="connsiteY192" fmla="*/ 2100494 h 2323145"/>
              <a:gd name="connsiteX193" fmla="*/ 2926342 w 11269336"/>
              <a:gd name="connsiteY193" fmla="*/ 2104155 h 2323145"/>
              <a:gd name="connsiteX194" fmla="*/ 2918608 w 11269336"/>
              <a:gd name="connsiteY194" fmla="*/ 2104215 h 2323145"/>
              <a:gd name="connsiteX195" fmla="*/ 2918475 w 11269336"/>
              <a:gd name="connsiteY195" fmla="*/ 2103937 h 2323145"/>
              <a:gd name="connsiteX196" fmla="*/ 2910360 w 11269336"/>
              <a:gd name="connsiteY196" fmla="*/ 2103444 h 2323145"/>
              <a:gd name="connsiteX197" fmla="*/ 2904507 w 11269336"/>
              <a:gd name="connsiteY197" fmla="*/ 2104326 h 2323145"/>
              <a:gd name="connsiteX198" fmla="*/ 2889503 w 11269336"/>
              <a:gd name="connsiteY198" fmla="*/ 2104443 h 2323145"/>
              <a:gd name="connsiteX199" fmla="*/ 2884480 w 11269336"/>
              <a:gd name="connsiteY199" fmla="*/ 2102626 h 2323145"/>
              <a:gd name="connsiteX200" fmla="*/ 2882689 w 11269336"/>
              <a:gd name="connsiteY200" fmla="*/ 2099228 h 2323145"/>
              <a:gd name="connsiteX201" fmla="*/ 2881291 w 11269336"/>
              <a:gd name="connsiteY201" fmla="*/ 2099618 h 2323145"/>
              <a:gd name="connsiteX202" fmla="*/ 2853979 w 11269336"/>
              <a:gd name="connsiteY202" fmla="*/ 2090388 h 2323145"/>
              <a:gd name="connsiteX203" fmla="*/ 2791790 w 11269336"/>
              <a:gd name="connsiteY203" fmla="*/ 2080332 h 2323145"/>
              <a:gd name="connsiteX204" fmla="*/ 2755844 w 11269336"/>
              <a:gd name="connsiteY204" fmla="*/ 2078874 h 2323145"/>
              <a:gd name="connsiteX205" fmla="*/ 2657742 w 11269336"/>
              <a:gd name="connsiteY205" fmla="*/ 2070179 h 2323145"/>
              <a:gd name="connsiteX206" fmla="*/ 2559549 w 11269336"/>
              <a:gd name="connsiteY206" fmla="*/ 2057873 h 2323145"/>
              <a:gd name="connsiteX207" fmla="*/ 2512054 w 11269336"/>
              <a:gd name="connsiteY207" fmla="*/ 2031671 h 2323145"/>
              <a:gd name="connsiteX208" fmla="*/ 2506437 w 11269336"/>
              <a:gd name="connsiteY208" fmla="*/ 2030918 h 2323145"/>
              <a:gd name="connsiteX209" fmla="*/ 2491752 w 11269336"/>
              <a:gd name="connsiteY209" fmla="*/ 2033906 h 2323145"/>
              <a:gd name="connsiteX210" fmla="*/ 2486338 w 11269336"/>
              <a:gd name="connsiteY210" fmla="*/ 2035862 h 2323145"/>
              <a:gd name="connsiteX211" fmla="*/ 2478186 w 11269336"/>
              <a:gd name="connsiteY211" fmla="*/ 2036953 h 2323145"/>
              <a:gd name="connsiteX212" fmla="*/ 2477950 w 11269336"/>
              <a:gd name="connsiteY212" fmla="*/ 2036715 h 2323145"/>
              <a:gd name="connsiteX213" fmla="*/ 2470381 w 11269336"/>
              <a:gd name="connsiteY213" fmla="*/ 2038256 h 2323145"/>
              <a:gd name="connsiteX214" fmla="*/ 2433781 w 11269336"/>
              <a:gd name="connsiteY214" fmla="*/ 2049140 h 2323145"/>
              <a:gd name="connsiteX215" fmla="*/ 2381172 w 11269336"/>
              <a:gd name="connsiteY215" fmla="*/ 2030645 h 2323145"/>
              <a:gd name="connsiteX216" fmla="*/ 2360198 w 11269336"/>
              <a:gd name="connsiteY216" fmla="*/ 2029059 h 2323145"/>
              <a:gd name="connsiteX217" fmla="*/ 2348815 w 11269336"/>
              <a:gd name="connsiteY217" fmla="*/ 2026798 h 2323145"/>
              <a:gd name="connsiteX218" fmla="*/ 2347988 w 11269336"/>
              <a:gd name="connsiteY218" fmla="*/ 2025745 h 2323145"/>
              <a:gd name="connsiteX219" fmla="*/ 2312920 w 11269336"/>
              <a:gd name="connsiteY219" fmla="*/ 2036311 h 2323145"/>
              <a:gd name="connsiteX220" fmla="*/ 2307986 w 11269336"/>
              <a:gd name="connsiteY220" fmla="*/ 2035583 h 2323145"/>
              <a:gd name="connsiteX221" fmla="*/ 2285481 w 11269336"/>
              <a:gd name="connsiteY221" fmla="*/ 2045197 h 2323145"/>
              <a:gd name="connsiteX222" fmla="*/ 2273666 w 11269336"/>
              <a:gd name="connsiteY222" fmla="*/ 2048710 h 2323145"/>
              <a:gd name="connsiteX223" fmla="*/ 2270719 w 11269336"/>
              <a:gd name="connsiteY223" fmla="*/ 2052702 h 2323145"/>
              <a:gd name="connsiteX224" fmla="*/ 2253080 w 11269336"/>
              <a:gd name="connsiteY224" fmla="*/ 2056363 h 2323145"/>
              <a:gd name="connsiteX225" fmla="*/ 2250906 w 11269336"/>
              <a:gd name="connsiteY225" fmla="*/ 2055654 h 2323145"/>
              <a:gd name="connsiteX226" fmla="*/ 2236905 w 11269336"/>
              <a:gd name="connsiteY226" fmla="*/ 2062882 h 2323145"/>
              <a:gd name="connsiteX227" fmla="*/ 2225830 w 11269336"/>
              <a:gd name="connsiteY227" fmla="*/ 2074027 h 2323145"/>
              <a:gd name="connsiteX228" fmla="*/ 2073776 w 11269336"/>
              <a:gd name="connsiteY228" fmla="*/ 2089244 h 2323145"/>
              <a:gd name="connsiteX229" fmla="*/ 1948256 w 11269336"/>
              <a:gd name="connsiteY229" fmla="*/ 2146616 h 2323145"/>
              <a:gd name="connsiteX230" fmla="*/ 1865582 w 11269336"/>
              <a:gd name="connsiteY230" fmla="*/ 2153738 h 2323145"/>
              <a:gd name="connsiteX231" fmla="*/ 1835210 w 11269336"/>
              <a:gd name="connsiteY231" fmla="*/ 2134244 h 2323145"/>
              <a:gd name="connsiteX232" fmla="*/ 1632661 w 11269336"/>
              <a:gd name="connsiteY232" fmla="*/ 2173882 h 2323145"/>
              <a:gd name="connsiteX233" fmla="*/ 1579590 w 11269336"/>
              <a:gd name="connsiteY233" fmla="*/ 2173680 h 2323145"/>
              <a:gd name="connsiteX234" fmla="*/ 1535601 w 11269336"/>
              <a:gd name="connsiteY234" fmla="*/ 2194590 h 2323145"/>
              <a:gd name="connsiteX235" fmla="*/ 1515594 w 11269336"/>
              <a:gd name="connsiteY235" fmla="*/ 2189622 h 2323145"/>
              <a:gd name="connsiteX236" fmla="*/ 1512113 w 11269336"/>
              <a:gd name="connsiteY236" fmla="*/ 2188534 h 2323145"/>
              <a:gd name="connsiteX237" fmla="*/ 1498838 w 11269336"/>
              <a:gd name="connsiteY237" fmla="*/ 2189213 h 2323145"/>
              <a:gd name="connsiteX238" fmla="*/ 1494279 w 11269336"/>
              <a:gd name="connsiteY238" fmla="*/ 2183112 h 2323145"/>
              <a:gd name="connsiteX239" fmla="*/ 1473714 w 11269336"/>
              <a:gd name="connsiteY239" fmla="*/ 2179625 h 2323145"/>
              <a:gd name="connsiteX240" fmla="*/ 1449503 w 11269336"/>
              <a:gd name="connsiteY240" fmla="*/ 2182633 h 2323145"/>
              <a:gd name="connsiteX241" fmla="*/ 1266687 w 11269336"/>
              <a:gd name="connsiteY241" fmla="*/ 2212688 h 2323145"/>
              <a:gd name="connsiteX242" fmla="*/ 1239614 w 11269336"/>
              <a:gd name="connsiteY242" fmla="*/ 2209727 h 2323145"/>
              <a:gd name="connsiteX243" fmla="*/ 1202436 w 11269336"/>
              <a:gd name="connsiteY243" fmla="*/ 2209817 h 2323145"/>
              <a:gd name="connsiteX244" fmla="*/ 1136097 w 11269336"/>
              <a:gd name="connsiteY244" fmla="*/ 2205112 h 2323145"/>
              <a:gd name="connsiteX245" fmla="*/ 988232 w 11269336"/>
              <a:gd name="connsiteY245" fmla="*/ 2235635 h 2323145"/>
              <a:gd name="connsiteX246" fmla="*/ 981959 w 11269336"/>
              <a:gd name="connsiteY246" fmla="*/ 2231607 h 2323145"/>
              <a:gd name="connsiteX247" fmla="*/ 938600 w 11269336"/>
              <a:gd name="connsiteY247" fmla="*/ 2238113 h 2323145"/>
              <a:gd name="connsiteX248" fmla="*/ 791788 w 11269336"/>
              <a:gd name="connsiteY248" fmla="*/ 2293224 h 2323145"/>
              <a:gd name="connsiteX249" fmla="*/ 706914 w 11269336"/>
              <a:gd name="connsiteY249" fmla="*/ 2305046 h 2323145"/>
              <a:gd name="connsiteX250" fmla="*/ 675971 w 11269336"/>
              <a:gd name="connsiteY250" fmla="*/ 2304030 h 2323145"/>
              <a:gd name="connsiteX251" fmla="*/ 624180 w 11269336"/>
              <a:gd name="connsiteY251" fmla="*/ 2302650 h 2323145"/>
              <a:gd name="connsiteX252" fmla="*/ 583453 w 11269336"/>
              <a:gd name="connsiteY252" fmla="*/ 2288788 h 2323145"/>
              <a:gd name="connsiteX253" fmla="*/ 540946 w 11269336"/>
              <a:gd name="connsiteY253" fmla="*/ 2292721 h 2323145"/>
              <a:gd name="connsiteX254" fmla="*/ 533680 w 11269336"/>
              <a:gd name="connsiteY254" fmla="*/ 2310233 h 2323145"/>
              <a:gd name="connsiteX255" fmla="*/ 487366 w 11269336"/>
              <a:gd name="connsiteY255" fmla="*/ 2309053 h 2323145"/>
              <a:gd name="connsiteX256" fmla="*/ 416820 w 11269336"/>
              <a:gd name="connsiteY256" fmla="*/ 2305443 h 2323145"/>
              <a:gd name="connsiteX257" fmla="*/ 376805 w 11269336"/>
              <a:gd name="connsiteY257" fmla="*/ 2307647 h 2323145"/>
              <a:gd name="connsiteX258" fmla="*/ 266777 w 11269336"/>
              <a:gd name="connsiteY258" fmla="*/ 2309012 h 2323145"/>
              <a:gd name="connsiteX259" fmla="*/ 156013 w 11269336"/>
              <a:gd name="connsiteY259" fmla="*/ 2306832 h 2323145"/>
              <a:gd name="connsiteX260" fmla="*/ 87258 w 11269336"/>
              <a:gd name="connsiteY260" fmla="*/ 2285511 h 2323145"/>
              <a:gd name="connsiteX261" fmla="*/ 23798 w 11269336"/>
              <a:gd name="connsiteY261" fmla="*/ 2281822 h 2323145"/>
              <a:gd name="connsiteX262" fmla="*/ 0 w 11269336"/>
              <a:gd name="connsiteY262" fmla="*/ 2285369 h 2323145"/>
              <a:gd name="connsiteX263" fmla="*/ 0 w 11269336"/>
              <a:gd name="connsiteY26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9062863 w 11269336"/>
              <a:gd name="connsiteY22" fmla="*/ 754656 h 2323145"/>
              <a:gd name="connsiteX23" fmla="*/ 8914746 w 11269336"/>
              <a:gd name="connsiteY23" fmla="*/ 826428 h 2323145"/>
              <a:gd name="connsiteX24" fmla="*/ 8917778 w 11269336"/>
              <a:gd name="connsiteY24" fmla="*/ 835198 h 2323145"/>
              <a:gd name="connsiteX25" fmla="*/ 8905560 w 11269336"/>
              <a:gd name="connsiteY25" fmla="*/ 838358 h 2323145"/>
              <a:gd name="connsiteX26" fmla="*/ 8897564 w 11269336"/>
              <a:gd name="connsiteY26" fmla="*/ 834287 h 2323145"/>
              <a:gd name="connsiteX27" fmla="*/ 8878040 w 11269336"/>
              <a:gd name="connsiteY27" fmla="*/ 844150 h 2323145"/>
              <a:gd name="connsiteX28" fmla="*/ 8795998 w 11269336"/>
              <a:gd name="connsiteY28" fmla="*/ 863337 h 2323145"/>
              <a:gd name="connsiteX29" fmla="*/ 8776970 w 11269336"/>
              <a:gd name="connsiteY29" fmla="*/ 885177 h 2323145"/>
              <a:gd name="connsiteX30" fmla="*/ 8755719 w 11269336"/>
              <a:gd name="connsiteY30" fmla="*/ 889754 h 2323145"/>
              <a:gd name="connsiteX31" fmla="*/ 8743257 w 11269336"/>
              <a:gd name="connsiteY31" fmla="*/ 904723 h 2323145"/>
              <a:gd name="connsiteX32" fmla="*/ 8721366 w 11269336"/>
              <a:gd name="connsiteY32" fmla="*/ 904711 h 2323145"/>
              <a:gd name="connsiteX33" fmla="*/ 8678353 w 11269336"/>
              <a:gd name="connsiteY33" fmla="*/ 926318 h 2323145"/>
              <a:gd name="connsiteX34" fmla="*/ 8636849 w 11269336"/>
              <a:gd name="connsiteY34" fmla="*/ 937900 h 2323145"/>
              <a:gd name="connsiteX35" fmla="*/ 8620213 w 11269336"/>
              <a:gd name="connsiteY35" fmla="*/ 943068 h 2323145"/>
              <a:gd name="connsiteX36" fmla="*/ 8612581 w 11269336"/>
              <a:gd name="connsiteY36" fmla="*/ 952695 h 2323145"/>
              <a:gd name="connsiteX37" fmla="*/ 8589038 w 11269336"/>
              <a:gd name="connsiteY37" fmla="*/ 963892 h 2323145"/>
              <a:gd name="connsiteX38" fmla="*/ 8579950 w 11269336"/>
              <a:gd name="connsiteY38" fmla="*/ 960899 h 2323145"/>
              <a:gd name="connsiteX39" fmla="*/ 8579319 w 11269336"/>
              <a:gd name="connsiteY39" fmla="*/ 965630 h 2323145"/>
              <a:gd name="connsiteX40" fmla="*/ 8547429 w 11269336"/>
              <a:gd name="connsiteY40" fmla="*/ 984506 h 2323145"/>
              <a:gd name="connsiteX41" fmla="*/ 8478704 w 11269336"/>
              <a:gd name="connsiteY41" fmla="*/ 1025490 h 2323145"/>
              <a:gd name="connsiteX42" fmla="*/ 8461421 w 11269336"/>
              <a:gd name="connsiteY42" fmla="*/ 1035512 h 2323145"/>
              <a:gd name="connsiteX43" fmla="*/ 8445003 w 11269336"/>
              <a:gd name="connsiteY43" fmla="*/ 1036851 h 2323145"/>
              <a:gd name="connsiteX44" fmla="*/ 8357350 w 11269336"/>
              <a:gd name="connsiteY44" fmla="*/ 1060213 h 2323145"/>
              <a:gd name="connsiteX45" fmla="*/ 8335565 w 11269336"/>
              <a:gd name="connsiteY45" fmla="*/ 1061151 h 2323145"/>
              <a:gd name="connsiteX46" fmla="*/ 8325267 w 11269336"/>
              <a:gd name="connsiteY46" fmla="*/ 1055919 h 2323145"/>
              <a:gd name="connsiteX47" fmla="*/ 8293586 w 11269336"/>
              <a:gd name="connsiteY47" fmla="*/ 1076144 h 2323145"/>
              <a:gd name="connsiteX48" fmla="*/ 8242405 w 11269336"/>
              <a:gd name="connsiteY48" fmla="*/ 1095960 h 2323145"/>
              <a:gd name="connsiteX49" fmla="*/ 8197391 w 11269336"/>
              <a:gd name="connsiteY49" fmla="*/ 1107746 h 2323145"/>
              <a:gd name="connsiteX50" fmla="*/ 8081474 w 11269336"/>
              <a:gd name="connsiteY50" fmla="*/ 1130125 h 2323145"/>
              <a:gd name="connsiteX51" fmla="*/ 8053585 w 11269336"/>
              <a:gd name="connsiteY51" fmla="*/ 1129169 h 2323145"/>
              <a:gd name="connsiteX52" fmla="*/ 8038422 w 11269336"/>
              <a:gd name="connsiteY52" fmla="*/ 1119092 h 2323145"/>
              <a:gd name="connsiteX53" fmla="*/ 8029450 w 11269336"/>
              <a:gd name="connsiteY53" fmla="*/ 1125592 h 2323145"/>
              <a:gd name="connsiteX54" fmla="*/ 7959552 w 11269336"/>
              <a:gd name="connsiteY54" fmla="*/ 1140188 h 2323145"/>
              <a:gd name="connsiteX55" fmla="*/ 7914188 w 11269336"/>
              <a:gd name="connsiteY55" fmla="*/ 1150862 h 2323145"/>
              <a:gd name="connsiteX56" fmla="*/ 7914918 w 11269336"/>
              <a:gd name="connsiteY56" fmla="*/ 1168758 h 2323145"/>
              <a:gd name="connsiteX57" fmla="*/ 7875510 w 11269336"/>
              <a:gd name="connsiteY57" fmla="*/ 1183153 h 2323145"/>
              <a:gd name="connsiteX58" fmla="*/ 7829932 w 11269336"/>
              <a:gd name="connsiteY58" fmla="*/ 1180782 h 2323145"/>
              <a:gd name="connsiteX59" fmla="*/ 7779182 w 11269336"/>
              <a:gd name="connsiteY59" fmla="*/ 1192665 h 2323145"/>
              <a:gd name="connsiteX60" fmla="*/ 7748774 w 11269336"/>
              <a:gd name="connsiteY60" fmla="*/ 1199586 h 2323145"/>
              <a:gd name="connsiteX61" fmla="*/ 7671846 w 11269336"/>
              <a:gd name="connsiteY61" fmla="*/ 1231966 h 2323145"/>
              <a:gd name="connsiteX62" fmla="*/ 7554146 w 11269336"/>
              <a:gd name="connsiteY62" fmla="*/ 1319748 h 2323145"/>
              <a:gd name="connsiteX63" fmla="*/ 7515052 w 11269336"/>
              <a:gd name="connsiteY63" fmla="*/ 1336718 h 2323145"/>
              <a:gd name="connsiteX64" fmla="*/ 7507193 w 11269336"/>
              <a:gd name="connsiteY64" fmla="*/ 1334617 h 2323145"/>
              <a:gd name="connsiteX65" fmla="*/ 7461694 w 11269336"/>
              <a:gd name="connsiteY65" fmla="*/ 1375866 h 2323145"/>
              <a:gd name="connsiteX66" fmla="*/ 7377571 w 11269336"/>
              <a:gd name="connsiteY66" fmla="*/ 1400128 h 2323145"/>
              <a:gd name="connsiteX67" fmla="*/ 7311261 w 11269336"/>
              <a:gd name="connsiteY67" fmla="*/ 1412652 h 2323145"/>
              <a:gd name="connsiteX68" fmla="*/ 7275307 w 11269336"/>
              <a:gd name="connsiteY68" fmla="*/ 1422171 h 2323145"/>
              <a:gd name="connsiteX69" fmla="*/ 7247783 w 11269336"/>
              <a:gd name="connsiteY69" fmla="*/ 1426330 h 2323145"/>
              <a:gd name="connsiteX70" fmla="*/ 7185047 w 11269336"/>
              <a:gd name="connsiteY70" fmla="*/ 1451812 h 2323145"/>
              <a:gd name="connsiteX71" fmla="*/ 7084117 w 11269336"/>
              <a:gd name="connsiteY71" fmla="*/ 1500281 h 2323145"/>
              <a:gd name="connsiteX72" fmla="*/ 7062011 w 11269336"/>
              <a:gd name="connsiteY72" fmla="*/ 1509183 h 2323145"/>
              <a:gd name="connsiteX73" fmla="*/ 7040555 w 11269336"/>
              <a:gd name="connsiteY73" fmla="*/ 1511207 h 2323145"/>
              <a:gd name="connsiteX74" fmla="*/ 7033438 w 11269336"/>
              <a:gd name="connsiteY74" fmla="*/ 1506772 h 2323145"/>
              <a:gd name="connsiteX75" fmla="*/ 7020886 w 11269336"/>
              <a:gd name="connsiteY75" fmla="*/ 1510764 h 2323145"/>
              <a:gd name="connsiteX76" fmla="*/ 7017033 w 11269336"/>
              <a:gd name="connsiteY76" fmla="*/ 1510650 h 2323145"/>
              <a:gd name="connsiteX77" fmla="*/ 6995460 w 11269336"/>
              <a:gd name="connsiteY77" fmla="*/ 1511173 h 2323145"/>
              <a:gd name="connsiteX78" fmla="*/ 6962144 w 11269336"/>
              <a:gd name="connsiteY78" fmla="*/ 1541508 h 2323145"/>
              <a:gd name="connsiteX79" fmla="*/ 6910674 w 11269336"/>
              <a:gd name="connsiteY79" fmla="*/ 1554793 h 2323145"/>
              <a:gd name="connsiteX80" fmla="*/ 6732152 w 11269336"/>
              <a:gd name="connsiteY80" fmla="*/ 1642538 h 2323145"/>
              <a:gd name="connsiteX81" fmla="*/ 6694106 w 11269336"/>
              <a:gd name="connsiteY81" fmla="*/ 1632377 h 2323145"/>
              <a:gd name="connsiteX82" fmla="*/ 6617223 w 11269336"/>
              <a:gd name="connsiteY82" fmla="*/ 1659889 h 2323145"/>
              <a:gd name="connsiteX83" fmla="*/ 6521138 w 11269336"/>
              <a:gd name="connsiteY83" fmla="*/ 1744340 h 2323145"/>
              <a:gd name="connsiteX84" fmla="*/ 6380677 w 11269336"/>
              <a:gd name="connsiteY84" fmla="*/ 1796883 h 2323145"/>
              <a:gd name="connsiteX85" fmla="*/ 6374897 w 11269336"/>
              <a:gd name="connsiteY85" fmla="*/ 1809910 h 2323145"/>
              <a:gd name="connsiteX86" fmla="*/ 6364545 w 11269336"/>
              <a:gd name="connsiteY86" fmla="*/ 1820090 h 2323145"/>
              <a:gd name="connsiteX87" fmla="*/ 6362126 w 11269336"/>
              <a:gd name="connsiteY87" fmla="*/ 1819991 h 2323145"/>
              <a:gd name="connsiteX88" fmla="*/ 6346673 w 11269336"/>
              <a:gd name="connsiteY88" fmla="*/ 1827824 h 2323145"/>
              <a:gd name="connsiteX89" fmla="*/ 6345588 w 11269336"/>
              <a:gd name="connsiteY89" fmla="*/ 1832232 h 2323145"/>
              <a:gd name="connsiteX90" fmla="*/ 6335708 w 11269336"/>
              <a:gd name="connsiteY90" fmla="*/ 1838451 h 2323145"/>
              <a:gd name="connsiteX91" fmla="*/ 6318182 w 11269336"/>
              <a:gd name="connsiteY91" fmla="*/ 1852975 h 2323145"/>
              <a:gd name="connsiteX92" fmla="*/ 6313084 w 11269336"/>
              <a:gd name="connsiteY92" fmla="*/ 1853561 h 2323145"/>
              <a:gd name="connsiteX93" fmla="*/ 6283816 w 11269336"/>
              <a:gd name="connsiteY93" fmla="*/ 1872148 h 2323145"/>
              <a:gd name="connsiteX94" fmla="*/ 6282550 w 11269336"/>
              <a:gd name="connsiteY94" fmla="*/ 1871392 h 2323145"/>
              <a:gd name="connsiteX95" fmla="*/ 6270527 w 11269336"/>
              <a:gd name="connsiteY95" fmla="*/ 1872208 h 2323145"/>
              <a:gd name="connsiteX96" fmla="*/ 6249518 w 11269336"/>
              <a:gd name="connsiteY96" fmla="*/ 1876079 h 2323145"/>
              <a:gd name="connsiteX97" fmla="*/ 6190386 w 11269336"/>
              <a:gd name="connsiteY97" fmla="*/ 1872478 h 2323145"/>
              <a:gd name="connsiteX98" fmla="*/ 6159777 w 11269336"/>
              <a:gd name="connsiteY98" fmla="*/ 1891745 h 2323145"/>
              <a:gd name="connsiteX99" fmla="*/ 6153131 w 11269336"/>
              <a:gd name="connsiteY99" fmla="*/ 1895079 h 2323145"/>
              <a:gd name="connsiteX100" fmla="*/ 6152798 w 11269336"/>
              <a:gd name="connsiteY100" fmla="*/ 1894920 h 2323145"/>
              <a:gd name="connsiteX101" fmla="*/ 6145388 w 11269336"/>
              <a:gd name="connsiteY101" fmla="*/ 1897990 h 2323145"/>
              <a:gd name="connsiteX102" fmla="*/ 6141014 w 11269336"/>
              <a:gd name="connsiteY102" fmla="*/ 1901155 h 2323145"/>
              <a:gd name="connsiteX103" fmla="*/ 6128122 w 11269336"/>
              <a:gd name="connsiteY103" fmla="*/ 1907623 h 2323145"/>
              <a:gd name="connsiteX104" fmla="*/ 6122351 w 11269336"/>
              <a:gd name="connsiteY104" fmla="*/ 1908359 h 2323145"/>
              <a:gd name="connsiteX105" fmla="*/ 6064750 w 11269336"/>
              <a:gd name="connsiteY105" fmla="*/ 1896394 h 2323145"/>
              <a:gd name="connsiteX106" fmla="*/ 5964230 w 11269336"/>
              <a:gd name="connsiteY106" fmla="*/ 1910038 h 2323145"/>
              <a:gd name="connsiteX107" fmla="*/ 5865399 w 11269336"/>
              <a:gd name="connsiteY107" fmla="*/ 1926966 h 2323145"/>
              <a:gd name="connsiteX108" fmla="*/ 5829951 w 11269336"/>
              <a:gd name="connsiteY108" fmla="*/ 1934755 h 2323145"/>
              <a:gd name="connsiteX109" fmla="*/ 5765285 w 11269336"/>
              <a:gd name="connsiteY109" fmla="*/ 1941322 h 2323145"/>
              <a:gd name="connsiteX110" fmla="*/ 5734750 w 11269336"/>
              <a:gd name="connsiteY110" fmla="*/ 1939793 h 2323145"/>
              <a:gd name="connsiteX111" fmla="*/ 5733569 w 11269336"/>
              <a:gd name="connsiteY111" fmla="*/ 1940505 h 2323145"/>
              <a:gd name="connsiteX112" fmla="*/ 5730329 w 11269336"/>
              <a:gd name="connsiteY112" fmla="*/ 1937845 h 2323145"/>
              <a:gd name="connsiteX113" fmla="*/ 5724661 w 11269336"/>
              <a:gd name="connsiteY113" fmla="*/ 1937455 h 2323145"/>
              <a:gd name="connsiteX114" fmla="*/ 5710186 w 11269336"/>
              <a:gd name="connsiteY114" fmla="*/ 1941370 h 2323145"/>
              <a:gd name="connsiteX115" fmla="*/ 5704910 w 11269336"/>
              <a:gd name="connsiteY115" fmla="*/ 1943663 h 2323145"/>
              <a:gd name="connsiteX116" fmla="*/ 5696836 w 11269336"/>
              <a:gd name="connsiteY116" fmla="*/ 1945271 h 2323145"/>
              <a:gd name="connsiteX117" fmla="*/ 5696583 w 11269336"/>
              <a:gd name="connsiteY117" fmla="*/ 1945050 h 2323145"/>
              <a:gd name="connsiteX118" fmla="*/ 5689123 w 11269336"/>
              <a:gd name="connsiteY118" fmla="*/ 1947067 h 2323145"/>
              <a:gd name="connsiteX119" fmla="*/ 5653291 w 11269336"/>
              <a:gd name="connsiteY119" fmla="*/ 1960245 h 2323145"/>
              <a:gd name="connsiteX120" fmla="*/ 5599385 w 11269336"/>
              <a:gd name="connsiteY120" fmla="*/ 1945198 h 2323145"/>
              <a:gd name="connsiteX121" fmla="*/ 5578300 w 11269336"/>
              <a:gd name="connsiteY121" fmla="*/ 1944963 h 2323145"/>
              <a:gd name="connsiteX122" fmla="*/ 5566758 w 11269336"/>
              <a:gd name="connsiteY122" fmla="*/ 1943441 h 2323145"/>
              <a:gd name="connsiteX123" fmla="*/ 5565857 w 11269336"/>
              <a:gd name="connsiteY123" fmla="*/ 1942445 h 2323145"/>
              <a:gd name="connsiteX124" fmla="*/ 5531534 w 11269336"/>
              <a:gd name="connsiteY124" fmla="*/ 1955208 h 2323145"/>
              <a:gd name="connsiteX125" fmla="*/ 5526552 w 11269336"/>
              <a:gd name="connsiteY125" fmla="*/ 1954799 h 2323145"/>
              <a:gd name="connsiteX126" fmla="*/ 5504723 w 11269336"/>
              <a:gd name="connsiteY126" fmla="*/ 1965811 h 2323145"/>
              <a:gd name="connsiteX127" fmla="*/ 5493156 w 11269336"/>
              <a:gd name="connsiteY127" fmla="*/ 1970063 h 2323145"/>
              <a:gd name="connsiteX128" fmla="*/ 5490486 w 11269336"/>
              <a:gd name="connsiteY128" fmla="*/ 1974227 h 2323145"/>
              <a:gd name="connsiteX129" fmla="*/ 5473107 w 11269336"/>
              <a:gd name="connsiteY129" fmla="*/ 1979001 h 2323145"/>
              <a:gd name="connsiteX130" fmla="*/ 5470885 w 11269336"/>
              <a:gd name="connsiteY130" fmla="*/ 1978432 h 2323145"/>
              <a:gd name="connsiteX131" fmla="*/ 5457393 w 11269336"/>
              <a:gd name="connsiteY131" fmla="*/ 1986525 h 2323145"/>
              <a:gd name="connsiteX132" fmla="*/ 5447102 w 11269336"/>
              <a:gd name="connsiteY132" fmla="*/ 1998329 h 2323145"/>
              <a:gd name="connsiteX133" fmla="*/ 5159151 w 11269336"/>
              <a:gd name="connsiteY133" fmla="*/ 2029640 h 2323145"/>
              <a:gd name="connsiteX134" fmla="*/ 5041688 w 11269336"/>
              <a:gd name="connsiteY134" fmla="*/ 2022334 h 2323145"/>
              <a:gd name="connsiteX135" fmla="*/ 4860988 w 11269336"/>
              <a:gd name="connsiteY135" fmla="*/ 2135698 h 2323145"/>
              <a:gd name="connsiteX136" fmla="*/ 4807902 w 11269336"/>
              <a:gd name="connsiteY136" fmla="*/ 2138894 h 2323145"/>
              <a:gd name="connsiteX137" fmla="*/ 4765388 w 11269336"/>
              <a:gd name="connsiteY137" fmla="*/ 2162525 h 2323145"/>
              <a:gd name="connsiteX138" fmla="*/ 4745033 w 11269336"/>
              <a:gd name="connsiteY138" fmla="*/ 2158859 h 2323145"/>
              <a:gd name="connsiteX139" fmla="*/ 4741475 w 11269336"/>
              <a:gd name="connsiteY139" fmla="*/ 2157998 h 2323145"/>
              <a:gd name="connsiteX140" fmla="*/ 4728247 w 11269336"/>
              <a:gd name="connsiteY140" fmla="*/ 2159526 h 2323145"/>
              <a:gd name="connsiteX141" fmla="*/ 4723263 w 11269336"/>
              <a:gd name="connsiteY141" fmla="*/ 2153742 h 2323145"/>
              <a:gd name="connsiteX142" fmla="*/ 4702453 w 11269336"/>
              <a:gd name="connsiteY142" fmla="*/ 2151586 h 2323145"/>
              <a:gd name="connsiteX143" fmla="*/ 4678455 w 11269336"/>
              <a:gd name="connsiteY143" fmla="*/ 2156131 h 2323145"/>
              <a:gd name="connsiteX144" fmla="*/ 4593061 w 11269336"/>
              <a:gd name="connsiteY144" fmla="*/ 2171597 h 2323145"/>
              <a:gd name="connsiteX145" fmla="*/ 4579902 w 11269336"/>
              <a:gd name="connsiteY145" fmla="*/ 2177927 h 2323145"/>
              <a:gd name="connsiteX146" fmla="*/ 4533444 w 11269336"/>
              <a:gd name="connsiteY146" fmla="*/ 2181200 h 2323145"/>
              <a:gd name="connsiteX147" fmla="*/ 4492832 w 11269336"/>
              <a:gd name="connsiteY147" fmla="*/ 2188033 h 2323145"/>
              <a:gd name="connsiteX148" fmla="*/ 4467257 w 11269336"/>
              <a:gd name="connsiteY148" fmla="*/ 2196121 h 2323145"/>
              <a:gd name="connsiteX149" fmla="*/ 4459937 w 11269336"/>
              <a:gd name="connsiteY149" fmla="*/ 2195182 h 2323145"/>
              <a:gd name="connsiteX150" fmla="*/ 4433312 w 11269336"/>
              <a:gd name="connsiteY150" fmla="*/ 2199004 h 2323145"/>
              <a:gd name="connsiteX151" fmla="*/ 4420601 w 11269336"/>
              <a:gd name="connsiteY151" fmla="*/ 2205158 h 2323145"/>
              <a:gd name="connsiteX152" fmla="*/ 4405765 w 11269336"/>
              <a:gd name="connsiteY152" fmla="*/ 2199902 h 2323145"/>
              <a:gd name="connsiteX153" fmla="*/ 4401354 w 11269336"/>
              <a:gd name="connsiteY153" fmla="*/ 2194745 h 2323145"/>
              <a:gd name="connsiteX154" fmla="*/ 4383151 w 11269336"/>
              <a:gd name="connsiteY154" fmla="*/ 2201140 h 2323145"/>
              <a:gd name="connsiteX155" fmla="*/ 4366646 w 11269336"/>
              <a:gd name="connsiteY155" fmla="*/ 2198564 h 2323145"/>
              <a:gd name="connsiteX156" fmla="*/ 4354009 w 11269336"/>
              <a:gd name="connsiteY156" fmla="*/ 2204984 h 2323145"/>
              <a:gd name="connsiteX157" fmla="*/ 4348284 w 11269336"/>
              <a:gd name="connsiteY157" fmla="*/ 2205270 h 2323145"/>
              <a:gd name="connsiteX158" fmla="*/ 4333906 w 11269336"/>
              <a:gd name="connsiteY158" fmla="*/ 2205251 h 2323145"/>
              <a:gd name="connsiteX159" fmla="*/ 4308819 w 11269336"/>
              <a:gd name="connsiteY159" fmla="*/ 2203822 h 2323145"/>
              <a:gd name="connsiteX160" fmla="*/ 4301210 w 11269336"/>
              <a:gd name="connsiteY160" fmla="*/ 2204456 h 2323145"/>
              <a:gd name="connsiteX161" fmla="*/ 4283095 w 11269336"/>
              <a:gd name="connsiteY161" fmla="*/ 2198177 h 2323145"/>
              <a:gd name="connsiteX162" fmla="*/ 4250119 w 11269336"/>
              <a:gd name="connsiteY162" fmla="*/ 2196342 h 2323145"/>
              <a:gd name="connsiteX163" fmla="*/ 4189203 w 11269336"/>
              <a:gd name="connsiteY163" fmla="*/ 2178994 h 2323145"/>
              <a:gd name="connsiteX164" fmla="*/ 4154035 w 11269336"/>
              <a:gd name="connsiteY164" fmla="*/ 2171950 h 2323145"/>
              <a:gd name="connsiteX165" fmla="*/ 4129569 w 11269336"/>
              <a:gd name="connsiteY165" fmla="*/ 2163850 h 2323145"/>
              <a:gd name="connsiteX166" fmla="*/ 4061250 w 11269336"/>
              <a:gd name="connsiteY166" fmla="*/ 2159236 h 2323145"/>
              <a:gd name="connsiteX167" fmla="*/ 3945480 w 11269336"/>
              <a:gd name="connsiteY167" fmla="*/ 2158279 h 2323145"/>
              <a:gd name="connsiteX168" fmla="*/ 3921468 w 11269336"/>
              <a:gd name="connsiteY168" fmla="*/ 2156588 h 2323145"/>
              <a:gd name="connsiteX169" fmla="*/ 3903348 w 11269336"/>
              <a:gd name="connsiteY169" fmla="*/ 2149220 h 2323145"/>
              <a:gd name="connsiteX170" fmla="*/ 3901342 w 11269336"/>
              <a:gd name="connsiteY170" fmla="*/ 2142355 h 2323145"/>
              <a:gd name="connsiteX171" fmla="*/ 3888539 w 11269336"/>
              <a:gd name="connsiteY171" fmla="*/ 2140476 h 2323145"/>
              <a:gd name="connsiteX172" fmla="*/ 3885662 w 11269336"/>
              <a:gd name="connsiteY172" fmla="*/ 2138740 h 2323145"/>
              <a:gd name="connsiteX173" fmla="*/ 3868627 w 11269336"/>
              <a:gd name="connsiteY173" fmla="*/ 2130023 h 2323145"/>
              <a:gd name="connsiteX174" fmla="*/ 3819177 w 11269336"/>
              <a:gd name="connsiteY174" fmla="*/ 2142111 h 2323145"/>
              <a:gd name="connsiteX175" fmla="*/ 3769100 w 11269336"/>
              <a:gd name="connsiteY175" fmla="*/ 2131731 h 2323145"/>
              <a:gd name="connsiteX176" fmla="*/ 3562752 w 11269336"/>
              <a:gd name="connsiteY176" fmla="*/ 2131785 h 2323145"/>
              <a:gd name="connsiteX177" fmla="*/ 3541402 w 11269336"/>
              <a:gd name="connsiteY177" fmla="*/ 2106821 h 2323145"/>
              <a:gd name="connsiteX178" fmla="*/ 3365341 w 11269336"/>
              <a:gd name="connsiteY178" fmla="*/ 2077638 h 2323145"/>
              <a:gd name="connsiteX179" fmla="*/ 3170922 w 11269336"/>
              <a:gd name="connsiteY179" fmla="*/ 2115957 h 2323145"/>
              <a:gd name="connsiteX180" fmla="*/ 3156256 w 11269336"/>
              <a:gd name="connsiteY180" fmla="*/ 2124773 h 2323145"/>
              <a:gd name="connsiteX181" fmla="*/ 3140298 w 11269336"/>
              <a:gd name="connsiteY181" fmla="*/ 2129182 h 2323145"/>
              <a:gd name="connsiteX182" fmla="*/ 3138514 w 11269336"/>
              <a:gd name="connsiteY182" fmla="*/ 2128069 h 2323145"/>
              <a:gd name="connsiteX183" fmla="*/ 3120467 w 11269336"/>
              <a:gd name="connsiteY183" fmla="*/ 2128281 h 2323145"/>
              <a:gd name="connsiteX184" fmla="*/ 3116175 w 11269336"/>
              <a:gd name="connsiteY184" fmla="*/ 2131633 h 2323145"/>
              <a:gd name="connsiteX185" fmla="*/ 3103685 w 11269336"/>
              <a:gd name="connsiteY185" fmla="*/ 2132814 h 2323145"/>
              <a:gd name="connsiteX186" fmla="*/ 3078794 w 11269336"/>
              <a:gd name="connsiteY186" fmla="*/ 2137935 h 2323145"/>
              <a:gd name="connsiteX187" fmla="*/ 3074407 w 11269336"/>
              <a:gd name="connsiteY187" fmla="*/ 2136274 h 2323145"/>
              <a:gd name="connsiteX188" fmla="*/ 3037285 w 11269336"/>
              <a:gd name="connsiteY188" fmla="*/ 2139919 h 2323145"/>
              <a:gd name="connsiteX189" fmla="*/ 3036901 w 11269336"/>
              <a:gd name="connsiteY189" fmla="*/ 2138726 h 2323145"/>
              <a:gd name="connsiteX190" fmla="*/ 3026996 w 11269336"/>
              <a:gd name="connsiteY190" fmla="*/ 2134322 h 2323145"/>
              <a:gd name="connsiteX191" fmla="*/ 3007772 w 11269336"/>
              <a:gd name="connsiteY191" fmla="*/ 2128742 h 2323145"/>
              <a:gd name="connsiteX192" fmla="*/ 2965030 w 11269336"/>
              <a:gd name="connsiteY192" fmla="*/ 2100494 h 2323145"/>
              <a:gd name="connsiteX193" fmla="*/ 2926342 w 11269336"/>
              <a:gd name="connsiteY193" fmla="*/ 2104155 h 2323145"/>
              <a:gd name="connsiteX194" fmla="*/ 2918608 w 11269336"/>
              <a:gd name="connsiteY194" fmla="*/ 2104215 h 2323145"/>
              <a:gd name="connsiteX195" fmla="*/ 2918475 w 11269336"/>
              <a:gd name="connsiteY195" fmla="*/ 2103937 h 2323145"/>
              <a:gd name="connsiteX196" fmla="*/ 2910360 w 11269336"/>
              <a:gd name="connsiteY196" fmla="*/ 2103444 h 2323145"/>
              <a:gd name="connsiteX197" fmla="*/ 2904507 w 11269336"/>
              <a:gd name="connsiteY197" fmla="*/ 2104326 h 2323145"/>
              <a:gd name="connsiteX198" fmla="*/ 2889503 w 11269336"/>
              <a:gd name="connsiteY198" fmla="*/ 2104443 h 2323145"/>
              <a:gd name="connsiteX199" fmla="*/ 2884480 w 11269336"/>
              <a:gd name="connsiteY199" fmla="*/ 2102626 h 2323145"/>
              <a:gd name="connsiteX200" fmla="*/ 2882689 w 11269336"/>
              <a:gd name="connsiteY200" fmla="*/ 2099228 h 2323145"/>
              <a:gd name="connsiteX201" fmla="*/ 2881291 w 11269336"/>
              <a:gd name="connsiteY201" fmla="*/ 2099618 h 2323145"/>
              <a:gd name="connsiteX202" fmla="*/ 2853979 w 11269336"/>
              <a:gd name="connsiteY202" fmla="*/ 2090388 h 2323145"/>
              <a:gd name="connsiteX203" fmla="*/ 2791790 w 11269336"/>
              <a:gd name="connsiteY203" fmla="*/ 2080332 h 2323145"/>
              <a:gd name="connsiteX204" fmla="*/ 2755844 w 11269336"/>
              <a:gd name="connsiteY204" fmla="*/ 2078874 h 2323145"/>
              <a:gd name="connsiteX205" fmla="*/ 2657742 w 11269336"/>
              <a:gd name="connsiteY205" fmla="*/ 2070179 h 2323145"/>
              <a:gd name="connsiteX206" fmla="*/ 2559549 w 11269336"/>
              <a:gd name="connsiteY206" fmla="*/ 2057873 h 2323145"/>
              <a:gd name="connsiteX207" fmla="*/ 2512054 w 11269336"/>
              <a:gd name="connsiteY207" fmla="*/ 2031671 h 2323145"/>
              <a:gd name="connsiteX208" fmla="*/ 2506437 w 11269336"/>
              <a:gd name="connsiteY208" fmla="*/ 2030918 h 2323145"/>
              <a:gd name="connsiteX209" fmla="*/ 2491752 w 11269336"/>
              <a:gd name="connsiteY209" fmla="*/ 2033906 h 2323145"/>
              <a:gd name="connsiteX210" fmla="*/ 2486338 w 11269336"/>
              <a:gd name="connsiteY210" fmla="*/ 2035862 h 2323145"/>
              <a:gd name="connsiteX211" fmla="*/ 2478186 w 11269336"/>
              <a:gd name="connsiteY211" fmla="*/ 2036953 h 2323145"/>
              <a:gd name="connsiteX212" fmla="*/ 2477950 w 11269336"/>
              <a:gd name="connsiteY212" fmla="*/ 2036715 h 2323145"/>
              <a:gd name="connsiteX213" fmla="*/ 2470381 w 11269336"/>
              <a:gd name="connsiteY213" fmla="*/ 2038256 h 2323145"/>
              <a:gd name="connsiteX214" fmla="*/ 2433781 w 11269336"/>
              <a:gd name="connsiteY214" fmla="*/ 2049140 h 2323145"/>
              <a:gd name="connsiteX215" fmla="*/ 2381172 w 11269336"/>
              <a:gd name="connsiteY215" fmla="*/ 2030645 h 2323145"/>
              <a:gd name="connsiteX216" fmla="*/ 2360198 w 11269336"/>
              <a:gd name="connsiteY216" fmla="*/ 2029059 h 2323145"/>
              <a:gd name="connsiteX217" fmla="*/ 2348815 w 11269336"/>
              <a:gd name="connsiteY217" fmla="*/ 2026798 h 2323145"/>
              <a:gd name="connsiteX218" fmla="*/ 2347988 w 11269336"/>
              <a:gd name="connsiteY218" fmla="*/ 2025745 h 2323145"/>
              <a:gd name="connsiteX219" fmla="*/ 2312920 w 11269336"/>
              <a:gd name="connsiteY219" fmla="*/ 2036311 h 2323145"/>
              <a:gd name="connsiteX220" fmla="*/ 2307986 w 11269336"/>
              <a:gd name="connsiteY220" fmla="*/ 2035583 h 2323145"/>
              <a:gd name="connsiteX221" fmla="*/ 2285481 w 11269336"/>
              <a:gd name="connsiteY221" fmla="*/ 2045197 h 2323145"/>
              <a:gd name="connsiteX222" fmla="*/ 2273666 w 11269336"/>
              <a:gd name="connsiteY222" fmla="*/ 2048710 h 2323145"/>
              <a:gd name="connsiteX223" fmla="*/ 2270719 w 11269336"/>
              <a:gd name="connsiteY223" fmla="*/ 2052702 h 2323145"/>
              <a:gd name="connsiteX224" fmla="*/ 2253080 w 11269336"/>
              <a:gd name="connsiteY224" fmla="*/ 2056363 h 2323145"/>
              <a:gd name="connsiteX225" fmla="*/ 2250906 w 11269336"/>
              <a:gd name="connsiteY225" fmla="*/ 2055654 h 2323145"/>
              <a:gd name="connsiteX226" fmla="*/ 2236905 w 11269336"/>
              <a:gd name="connsiteY226" fmla="*/ 2062882 h 2323145"/>
              <a:gd name="connsiteX227" fmla="*/ 2225830 w 11269336"/>
              <a:gd name="connsiteY227" fmla="*/ 2074027 h 2323145"/>
              <a:gd name="connsiteX228" fmla="*/ 2073776 w 11269336"/>
              <a:gd name="connsiteY228" fmla="*/ 2089244 h 2323145"/>
              <a:gd name="connsiteX229" fmla="*/ 1948256 w 11269336"/>
              <a:gd name="connsiteY229" fmla="*/ 2146616 h 2323145"/>
              <a:gd name="connsiteX230" fmla="*/ 1865582 w 11269336"/>
              <a:gd name="connsiteY230" fmla="*/ 2153738 h 2323145"/>
              <a:gd name="connsiteX231" fmla="*/ 1835210 w 11269336"/>
              <a:gd name="connsiteY231" fmla="*/ 2134244 h 2323145"/>
              <a:gd name="connsiteX232" fmla="*/ 1632661 w 11269336"/>
              <a:gd name="connsiteY232" fmla="*/ 2173882 h 2323145"/>
              <a:gd name="connsiteX233" fmla="*/ 1579590 w 11269336"/>
              <a:gd name="connsiteY233" fmla="*/ 2173680 h 2323145"/>
              <a:gd name="connsiteX234" fmla="*/ 1535601 w 11269336"/>
              <a:gd name="connsiteY234" fmla="*/ 2194590 h 2323145"/>
              <a:gd name="connsiteX235" fmla="*/ 1515594 w 11269336"/>
              <a:gd name="connsiteY235" fmla="*/ 2189622 h 2323145"/>
              <a:gd name="connsiteX236" fmla="*/ 1512113 w 11269336"/>
              <a:gd name="connsiteY236" fmla="*/ 2188534 h 2323145"/>
              <a:gd name="connsiteX237" fmla="*/ 1498838 w 11269336"/>
              <a:gd name="connsiteY237" fmla="*/ 2189213 h 2323145"/>
              <a:gd name="connsiteX238" fmla="*/ 1494279 w 11269336"/>
              <a:gd name="connsiteY238" fmla="*/ 2183112 h 2323145"/>
              <a:gd name="connsiteX239" fmla="*/ 1473714 w 11269336"/>
              <a:gd name="connsiteY239" fmla="*/ 2179625 h 2323145"/>
              <a:gd name="connsiteX240" fmla="*/ 1449503 w 11269336"/>
              <a:gd name="connsiteY240" fmla="*/ 2182633 h 2323145"/>
              <a:gd name="connsiteX241" fmla="*/ 1266687 w 11269336"/>
              <a:gd name="connsiteY241" fmla="*/ 2212688 h 2323145"/>
              <a:gd name="connsiteX242" fmla="*/ 1239614 w 11269336"/>
              <a:gd name="connsiteY242" fmla="*/ 2209727 h 2323145"/>
              <a:gd name="connsiteX243" fmla="*/ 1202436 w 11269336"/>
              <a:gd name="connsiteY243" fmla="*/ 2209817 h 2323145"/>
              <a:gd name="connsiteX244" fmla="*/ 1136097 w 11269336"/>
              <a:gd name="connsiteY244" fmla="*/ 2205112 h 2323145"/>
              <a:gd name="connsiteX245" fmla="*/ 988232 w 11269336"/>
              <a:gd name="connsiteY245" fmla="*/ 2235635 h 2323145"/>
              <a:gd name="connsiteX246" fmla="*/ 981959 w 11269336"/>
              <a:gd name="connsiteY246" fmla="*/ 2231607 h 2323145"/>
              <a:gd name="connsiteX247" fmla="*/ 938600 w 11269336"/>
              <a:gd name="connsiteY247" fmla="*/ 2238113 h 2323145"/>
              <a:gd name="connsiteX248" fmla="*/ 791788 w 11269336"/>
              <a:gd name="connsiteY248" fmla="*/ 2293224 h 2323145"/>
              <a:gd name="connsiteX249" fmla="*/ 706914 w 11269336"/>
              <a:gd name="connsiteY249" fmla="*/ 2305046 h 2323145"/>
              <a:gd name="connsiteX250" fmla="*/ 675971 w 11269336"/>
              <a:gd name="connsiteY250" fmla="*/ 2304030 h 2323145"/>
              <a:gd name="connsiteX251" fmla="*/ 624180 w 11269336"/>
              <a:gd name="connsiteY251" fmla="*/ 2302650 h 2323145"/>
              <a:gd name="connsiteX252" fmla="*/ 583453 w 11269336"/>
              <a:gd name="connsiteY252" fmla="*/ 2288788 h 2323145"/>
              <a:gd name="connsiteX253" fmla="*/ 540946 w 11269336"/>
              <a:gd name="connsiteY253" fmla="*/ 2292721 h 2323145"/>
              <a:gd name="connsiteX254" fmla="*/ 533680 w 11269336"/>
              <a:gd name="connsiteY254" fmla="*/ 2310233 h 2323145"/>
              <a:gd name="connsiteX255" fmla="*/ 487366 w 11269336"/>
              <a:gd name="connsiteY255" fmla="*/ 2309053 h 2323145"/>
              <a:gd name="connsiteX256" fmla="*/ 416820 w 11269336"/>
              <a:gd name="connsiteY256" fmla="*/ 2305443 h 2323145"/>
              <a:gd name="connsiteX257" fmla="*/ 376805 w 11269336"/>
              <a:gd name="connsiteY257" fmla="*/ 2307647 h 2323145"/>
              <a:gd name="connsiteX258" fmla="*/ 266777 w 11269336"/>
              <a:gd name="connsiteY258" fmla="*/ 2309012 h 2323145"/>
              <a:gd name="connsiteX259" fmla="*/ 156013 w 11269336"/>
              <a:gd name="connsiteY259" fmla="*/ 2306832 h 2323145"/>
              <a:gd name="connsiteX260" fmla="*/ 87258 w 11269336"/>
              <a:gd name="connsiteY260" fmla="*/ 2285511 h 2323145"/>
              <a:gd name="connsiteX261" fmla="*/ 23798 w 11269336"/>
              <a:gd name="connsiteY261" fmla="*/ 2281822 h 2323145"/>
              <a:gd name="connsiteX262" fmla="*/ 0 w 11269336"/>
              <a:gd name="connsiteY262" fmla="*/ 2285369 h 2323145"/>
              <a:gd name="connsiteX263" fmla="*/ 0 w 11269336"/>
              <a:gd name="connsiteY26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41688 w 11269336"/>
              <a:gd name="connsiteY133" fmla="*/ 2022334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41688 w 11269336"/>
              <a:gd name="connsiteY133" fmla="*/ 2022334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33444 w 11269336"/>
              <a:gd name="connsiteY144" fmla="*/ 2181200 h 2323145"/>
              <a:gd name="connsiteX145" fmla="*/ 4492832 w 11269336"/>
              <a:gd name="connsiteY145" fmla="*/ 2188033 h 2323145"/>
              <a:gd name="connsiteX146" fmla="*/ 4467257 w 11269336"/>
              <a:gd name="connsiteY146" fmla="*/ 2196121 h 2323145"/>
              <a:gd name="connsiteX147" fmla="*/ 4459937 w 11269336"/>
              <a:gd name="connsiteY147" fmla="*/ 2195182 h 2323145"/>
              <a:gd name="connsiteX148" fmla="*/ 4433312 w 11269336"/>
              <a:gd name="connsiteY148" fmla="*/ 2199004 h 2323145"/>
              <a:gd name="connsiteX149" fmla="*/ 4420601 w 11269336"/>
              <a:gd name="connsiteY149" fmla="*/ 2205158 h 2323145"/>
              <a:gd name="connsiteX150" fmla="*/ 4405765 w 11269336"/>
              <a:gd name="connsiteY150" fmla="*/ 2199902 h 2323145"/>
              <a:gd name="connsiteX151" fmla="*/ 4401354 w 11269336"/>
              <a:gd name="connsiteY151" fmla="*/ 2194745 h 2323145"/>
              <a:gd name="connsiteX152" fmla="*/ 4383151 w 11269336"/>
              <a:gd name="connsiteY152" fmla="*/ 2201140 h 2323145"/>
              <a:gd name="connsiteX153" fmla="*/ 4366646 w 11269336"/>
              <a:gd name="connsiteY153" fmla="*/ 2198564 h 2323145"/>
              <a:gd name="connsiteX154" fmla="*/ 4354009 w 11269336"/>
              <a:gd name="connsiteY154" fmla="*/ 2204984 h 2323145"/>
              <a:gd name="connsiteX155" fmla="*/ 4348284 w 11269336"/>
              <a:gd name="connsiteY155" fmla="*/ 2205270 h 2323145"/>
              <a:gd name="connsiteX156" fmla="*/ 4333906 w 11269336"/>
              <a:gd name="connsiteY156" fmla="*/ 2205251 h 2323145"/>
              <a:gd name="connsiteX157" fmla="*/ 4308819 w 11269336"/>
              <a:gd name="connsiteY157" fmla="*/ 2203822 h 2323145"/>
              <a:gd name="connsiteX158" fmla="*/ 4301210 w 11269336"/>
              <a:gd name="connsiteY158" fmla="*/ 2204456 h 2323145"/>
              <a:gd name="connsiteX159" fmla="*/ 4283095 w 11269336"/>
              <a:gd name="connsiteY159" fmla="*/ 2198177 h 2323145"/>
              <a:gd name="connsiteX160" fmla="*/ 4250119 w 11269336"/>
              <a:gd name="connsiteY160" fmla="*/ 2196342 h 2323145"/>
              <a:gd name="connsiteX161" fmla="*/ 4189203 w 11269336"/>
              <a:gd name="connsiteY161" fmla="*/ 2178994 h 2323145"/>
              <a:gd name="connsiteX162" fmla="*/ 4154035 w 11269336"/>
              <a:gd name="connsiteY162" fmla="*/ 2171950 h 2323145"/>
              <a:gd name="connsiteX163" fmla="*/ 4129569 w 11269336"/>
              <a:gd name="connsiteY163" fmla="*/ 2163850 h 2323145"/>
              <a:gd name="connsiteX164" fmla="*/ 4061250 w 11269336"/>
              <a:gd name="connsiteY164" fmla="*/ 2159236 h 2323145"/>
              <a:gd name="connsiteX165" fmla="*/ 3945480 w 11269336"/>
              <a:gd name="connsiteY165" fmla="*/ 2158279 h 2323145"/>
              <a:gd name="connsiteX166" fmla="*/ 3921468 w 11269336"/>
              <a:gd name="connsiteY166" fmla="*/ 2156588 h 2323145"/>
              <a:gd name="connsiteX167" fmla="*/ 3903348 w 11269336"/>
              <a:gd name="connsiteY167" fmla="*/ 2149220 h 2323145"/>
              <a:gd name="connsiteX168" fmla="*/ 3901342 w 11269336"/>
              <a:gd name="connsiteY168" fmla="*/ 2142355 h 2323145"/>
              <a:gd name="connsiteX169" fmla="*/ 3888539 w 11269336"/>
              <a:gd name="connsiteY169" fmla="*/ 2140476 h 2323145"/>
              <a:gd name="connsiteX170" fmla="*/ 3885662 w 11269336"/>
              <a:gd name="connsiteY170" fmla="*/ 2138740 h 2323145"/>
              <a:gd name="connsiteX171" fmla="*/ 3868627 w 11269336"/>
              <a:gd name="connsiteY171" fmla="*/ 2130023 h 2323145"/>
              <a:gd name="connsiteX172" fmla="*/ 3819177 w 11269336"/>
              <a:gd name="connsiteY172" fmla="*/ 2142111 h 2323145"/>
              <a:gd name="connsiteX173" fmla="*/ 3769100 w 11269336"/>
              <a:gd name="connsiteY173" fmla="*/ 2131731 h 2323145"/>
              <a:gd name="connsiteX174" fmla="*/ 3562752 w 11269336"/>
              <a:gd name="connsiteY174" fmla="*/ 2131785 h 2323145"/>
              <a:gd name="connsiteX175" fmla="*/ 3541402 w 11269336"/>
              <a:gd name="connsiteY175" fmla="*/ 2106821 h 2323145"/>
              <a:gd name="connsiteX176" fmla="*/ 3365341 w 11269336"/>
              <a:gd name="connsiteY176" fmla="*/ 2077638 h 2323145"/>
              <a:gd name="connsiteX177" fmla="*/ 3170922 w 11269336"/>
              <a:gd name="connsiteY177" fmla="*/ 2115957 h 2323145"/>
              <a:gd name="connsiteX178" fmla="*/ 3156256 w 11269336"/>
              <a:gd name="connsiteY178" fmla="*/ 2124773 h 2323145"/>
              <a:gd name="connsiteX179" fmla="*/ 3140298 w 11269336"/>
              <a:gd name="connsiteY179" fmla="*/ 2129182 h 2323145"/>
              <a:gd name="connsiteX180" fmla="*/ 3138514 w 11269336"/>
              <a:gd name="connsiteY180" fmla="*/ 2128069 h 2323145"/>
              <a:gd name="connsiteX181" fmla="*/ 3120467 w 11269336"/>
              <a:gd name="connsiteY181" fmla="*/ 2128281 h 2323145"/>
              <a:gd name="connsiteX182" fmla="*/ 3116175 w 11269336"/>
              <a:gd name="connsiteY182" fmla="*/ 2131633 h 2323145"/>
              <a:gd name="connsiteX183" fmla="*/ 3103685 w 11269336"/>
              <a:gd name="connsiteY183" fmla="*/ 2132814 h 2323145"/>
              <a:gd name="connsiteX184" fmla="*/ 3078794 w 11269336"/>
              <a:gd name="connsiteY184" fmla="*/ 2137935 h 2323145"/>
              <a:gd name="connsiteX185" fmla="*/ 3074407 w 11269336"/>
              <a:gd name="connsiteY185" fmla="*/ 2136274 h 2323145"/>
              <a:gd name="connsiteX186" fmla="*/ 3037285 w 11269336"/>
              <a:gd name="connsiteY186" fmla="*/ 2139919 h 2323145"/>
              <a:gd name="connsiteX187" fmla="*/ 3036901 w 11269336"/>
              <a:gd name="connsiteY187" fmla="*/ 2138726 h 2323145"/>
              <a:gd name="connsiteX188" fmla="*/ 3026996 w 11269336"/>
              <a:gd name="connsiteY188" fmla="*/ 2134322 h 2323145"/>
              <a:gd name="connsiteX189" fmla="*/ 3007772 w 11269336"/>
              <a:gd name="connsiteY189" fmla="*/ 2128742 h 2323145"/>
              <a:gd name="connsiteX190" fmla="*/ 2965030 w 11269336"/>
              <a:gd name="connsiteY190" fmla="*/ 2100494 h 2323145"/>
              <a:gd name="connsiteX191" fmla="*/ 2926342 w 11269336"/>
              <a:gd name="connsiteY191" fmla="*/ 2104155 h 2323145"/>
              <a:gd name="connsiteX192" fmla="*/ 2918608 w 11269336"/>
              <a:gd name="connsiteY192" fmla="*/ 2104215 h 2323145"/>
              <a:gd name="connsiteX193" fmla="*/ 2918475 w 11269336"/>
              <a:gd name="connsiteY193" fmla="*/ 2103937 h 2323145"/>
              <a:gd name="connsiteX194" fmla="*/ 2910360 w 11269336"/>
              <a:gd name="connsiteY194" fmla="*/ 2103444 h 2323145"/>
              <a:gd name="connsiteX195" fmla="*/ 2904507 w 11269336"/>
              <a:gd name="connsiteY195" fmla="*/ 2104326 h 2323145"/>
              <a:gd name="connsiteX196" fmla="*/ 2889503 w 11269336"/>
              <a:gd name="connsiteY196" fmla="*/ 2104443 h 2323145"/>
              <a:gd name="connsiteX197" fmla="*/ 2884480 w 11269336"/>
              <a:gd name="connsiteY197" fmla="*/ 2102626 h 2323145"/>
              <a:gd name="connsiteX198" fmla="*/ 2882689 w 11269336"/>
              <a:gd name="connsiteY198" fmla="*/ 2099228 h 2323145"/>
              <a:gd name="connsiteX199" fmla="*/ 2881291 w 11269336"/>
              <a:gd name="connsiteY199" fmla="*/ 2099618 h 2323145"/>
              <a:gd name="connsiteX200" fmla="*/ 2853979 w 11269336"/>
              <a:gd name="connsiteY200" fmla="*/ 2090388 h 2323145"/>
              <a:gd name="connsiteX201" fmla="*/ 2791790 w 11269336"/>
              <a:gd name="connsiteY201" fmla="*/ 2080332 h 2323145"/>
              <a:gd name="connsiteX202" fmla="*/ 2755844 w 11269336"/>
              <a:gd name="connsiteY202" fmla="*/ 2078874 h 2323145"/>
              <a:gd name="connsiteX203" fmla="*/ 2657742 w 11269336"/>
              <a:gd name="connsiteY203" fmla="*/ 2070179 h 2323145"/>
              <a:gd name="connsiteX204" fmla="*/ 2559549 w 11269336"/>
              <a:gd name="connsiteY204" fmla="*/ 2057873 h 2323145"/>
              <a:gd name="connsiteX205" fmla="*/ 2512054 w 11269336"/>
              <a:gd name="connsiteY205" fmla="*/ 2031671 h 2323145"/>
              <a:gd name="connsiteX206" fmla="*/ 2506437 w 11269336"/>
              <a:gd name="connsiteY206" fmla="*/ 2030918 h 2323145"/>
              <a:gd name="connsiteX207" fmla="*/ 2491752 w 11269336"/>
              <a:gd name="connsiteY207" fmla="*/ 2033906 h 2323145"/>
              <a:gd name="connsiteX208" fmla="*/ 2486338 w 11269336"/>
              <a:gd name="connsiteY208" fmla="*/ 2035862 h 2323145"/>
              <a:gd name="connsiteX209" fmla="*/ 2478186 w 11269336"/>
              <a:gd name="connsiteY209" fmla="*/ 2036953 h 2323145"/>
              <a:gd name="connsiteX210" fmla="*/ 2477950 w 11269336"/>
              <a:gd name="connsiteY210" fmla="*/ 2036715 h 2323145"/>
              <a:gd name="connsiteX211" fmla="*/ 2470381 w 11269336"/>
              <a:gd name="connsiteY211" fmla="*/ 2038256 h 2323145"/>
              <a:gd name="connsiteX212" fmla="*/ 2433781 w 11269336"/>
              <a:gd name="connsiteY212" fmla="*/ 2049140 h 2323145"/>
              <a:gd name="connsiteX213" fmla="*/ 2381172 w 11269336"/>
              <a:gd name="connsiteY213" fmla="*/ 2030645 h 2323145"/>
              <a:gd name="connsiteX214" fmla="*/ 2360198 w 11269336"/>
              <a:gd name="connsiteY214" fmla="*/ 2029059 h 2323145"/>
              <a:gd name="connsiteX215" fmla="*/ 2348815 w 11269336"/>
              <a:gd name="connsiteY215" fmla="*/ 2026798 h 2323145"/>
              <a:gd name="connsiteX216" fmla="*/ 2347988 w 11269336"/>
              <a:gd name="connsiteY216" fmla="*/ 2025745 h 2323145"/>
              <a:gd name="connsiteX217" fmla="*/ 2312920 w 11269336"/>
              <a:gd name="connsiteY217" fmla="*/ 2036311 h 2323145"/>
              <a:gd name="connsiteX218" fmla="*/ 2307986 w 11269336"/>
              <a:gd name="connsiteY218" fmla="*/ 2035583 h 2323145"/>
              <a:gd name="connsiteX219" fmla="*/ 2285481 w 11269336"/>
              <a:gd name="connsiteY219" fmla="*/ 2045197 h 2323145"/>
              <a:gd name="connsiteX220" fmla="*/ 2273666 w 11269336"/>
              <a:gd name="connsiteY220" fmla="*/ 2048710 h 2323145"/>
              <a:gd name="connsiteX221" fmla="*/ 2270719 w 11269336"/>
              <a:gd name="connsiteY221" fmla="*/ 2052702 h 2323145"/>
              <a:gd name="connsiteX222" fmla="*/ 2253080 w 11269336"/>
              <a:gd name="connsiteY222" fmla="*/ 2056363 h 2323145"/>
              <a:gd name="connsiteX223" fmla="*/ 2250906 w 11269336"/>
              <a:gd name="connsiteY223" fmla="*/ 2055654 h 2323145"/>
              <a:gd name="connsiteX224" fmla="*/ 2236905 w 11269336"/>
              <a:gd name="connsiteY224" fmla="*/ 2062882 h 2323145"/>
              <a:gd name="connsiteX225" fmla="*/ 2225830 w 11269336"/>
              <a:gd name="connsiteY225" fmla="*/ 2074027 h 2323145"/>
              <a:gd name="connsiteX226" fmla="*/ 2073776 w 11269336"/>
              <a:gd name="connsiteY226" fmla="*/ 2089244 h 2323145"/>
              <a:gd name="connsiteX227" fmla="*/ 1948256 w 11269336"/>
              <a:gd name="connsiteY227" fmla="*/ 2146616 h 2323145"/>
              <a:gd name="connsiteX228" fmla="*/ 1865582 w 11269336"/>
              <a:gd name="connsiteY228" fmla="*/ 2153738 h 2323145"/>
              <a:gd name="connsiteX229" fmla="*/ 1835210 w 11269336"/>
              <a:gd name="connsiteY229" fmla="*/ 2134244 h 2323145"/>
              <a:gd name="connsiteX230" fmla="*/ 1632661 w 11269336"/>
              <a:gd name="connsiteY230" fmla="*/ 2173882 h 2323145"/>
              <a:gd name="connsiteX231" fmla="*/ 1579590 w 11269336"/>
              <a:gd name="connsiteY231" fmla="*/ 2173680 h 2323145"/>
              <a:gd name="connsiteX232" fmla="*/ 1535601 w 11269336"/>
              <a:gd name="connsiteY232" fmla="*/ 2194590 h 2323145"/>
              <a:gd name="connsiteX233" fmla="*/ 1515594 w 11269336"/>
              <a:gd name="connsiteY233" fmla="*/ 2189622 h 2323145"/>
              <a:gd name="connsiteX234" fmla="*/ 1512113 w 11269336"/>
              <a:gd name="connsiteY234" fmla="*/ 2188534 h 2323145"/>
              <a:gd name="connsiteX235" fmla="*/ 1498838 w 11269336"/>
              <a:gd name="connsiteY235" fmla="*/ 2189213 h 2323145"/>
              <a:gd name="connsiteX236" fmla="*/ 1494279 w 11269336"/>
              <a:gd name="connsiteY236" fmla="*/ 2183112 h 2323145"/>
              <a:gd name="connsiteX237" fmla="*/ 1473714 w 11269336"/>
              <a:gd name="connsiteY237" fmla="*/ 2179625 h 2323145"/>
              <a:gd name="connsiteX238" fmla="*/ 1449503 w 11269336"/>
              <a:gd name="connsiteY238" fmla="*/ 2182633 h 2323145"/>
              <a:gd name="connsiteX239" fmla="*/ 1266687 w 11269336"/>
              <a:gd name="connsiteY239" fmla="*/ 2212688 h 2323145"/>
              <a:gd name="connsiteX240" fmla="*/ 1239614 w 11269336"/>
              <a:gd name="connsiteY240" fmla="*/ 2209727 h 2323145"/>
              <a:gd name="connsiteX241" fmla="*/ 1202436 w 11269336"/>
              <a:gd name="connsiteY241" fmla="*/ 2209817 h 2323145"/>
              <a:gd name="connsiteX242" fmla="*/ 1136097 w 11269336"/>
              <a:gd name="connsiteY242" fmla="*/ 2205112 h 2323145"/>
              <a:gd name="connsiteX243" fmla="*/ 988232 w 11269336"/>
              <a:gd name="connsiteY243" fmla="*/ 2235635 h 2323145"/>
              <a:gd name="connsiteX244" fmla="*/ 981959 w 11269336"/>
              <a:gd name="connsiteY244" fmla="*/ 2231607 h 2323145"/>
              <a:gd name="connsiteX245" fmla="*/ 938600 w 11269336"/>
              <a:gd name="connsiteY245" fmla="*/ 2238113 h 2323145"/>
              <a:gd name="connsiteX246" fmla="*/ 791788 w 11269336"/>
              <a:gd name="connsiteY246" fmla="*/ 2293224 h 2323145"/>
              <a:gd name="connsiteX247" fmla="*/ 706914 w 11269336"/>
              <a:gd name="connsiteY247" fmla="*/ 2305046 h 2323145"/>
              <a:gd name="connsiteX248" fmla="*/ 675971 w 11269336"/>
              <a:gd name="connsiteY248" fmla="*/ 2304030 h 2323145"/>
              <a:gd name="connsiteX249" fmla="*/ 624180 w 11269336"/>
              <a:gd name="connsiteY249" fmla="*/ 2302650 h 2323145"/>
              <a:gd name="connsiteX250" fmla="*/ 583453 w 11269336"/>
              <a:gd name="connsiteY250" fmla="*/ 2288788 h 2323145"/>
              <a:gd name="connsiteX251" fmla="*/ 540946 w 11269336"/>
              <a:gd name="connsiteY251" fmla="*/ 2292721 h 2323145"/>
              <a:gd name="connsiteX252" fmla="*/ 533680 w 11269336"/>
              <a:gd name="connsiteY252" fmla="*/ 2310233 h 2323145"/>
              <a:gd name="connsiteX253" fmla="*/ 487366 w 11269336"/>
              <a:gd name="connsiteY253" fmla="*/ 2309053 h 2323145"/>
              <a:gd name="connsiteX254" fmla="*/ 416820 w 11269336"/>
              <a:gd name="connsiteY254" fmla="*/ 2305443 h 2323145"/>
              <a:gd name="connsiteX255" fmla="*/ 376805 w 11269336"/>
              <a:gd name="connsiteY255" fmla="*/ 2307647 h 2323145"/>
              <a:gd name="connsiteX256" fmla="*/ 266777 w 11269336"/>
              <a:gd name="connsiteY256" fmla="*/ 2309012 h 2323145"/>
              <a:gd name="connsiteX257" fmla="*/ 156013 w 11269336"/>
              <a:gd name="connsiteY257" fmla="*/ 2306832 h 2323145"/>
              <a:gd name="connsiteX258" fmla="*/ 87258 w 11269336"/>
              <a:gd name="connsiteY258" fmla="*/ 2285511 h 2323145"/>
              <a:gd name="connsiteX259" fmla="*/ 23798 w 11269336"/>
              <a:gd name="connsiteY259" fmla="*/ 2281822 h 2323145"/>
              <a:gd name="connsiteX260" fmla="*/ 0 w 11269336"/>
              <a:gd name="connsiteY260" fmla="*/ 2285369 h 2323145"/>
              <a:gd name="connsiteX261" fmla="*/ 0 w 11269336"/>
              <a:gd name="connsiteY26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593061 w 11269336"/>
              <a:gd name="connsiteY142" fmla="*/ 2171597 h 2323145"/>
              <a:gd name="connsiteX143" fmla="*/ 4533444 w 11269336"/>
              <a:gd name="connsiteY143" fmla="*/ 2181200 h 2323145"/>
              <a:gd name="connsiteX144" fmla="*/ 4492832 w 11269336"/>
              <a:gd name="connsiteY144" fmla="*/ 2188033 h 2323145"/>
              <a:gd name="connsiteX145" fmla="*/ 4467257 w 11269336"/>
              <a:gd name="connsiteY145" fmla="*/ 2196121 h 2323145"/>
              <a:gd name="connsiteX146" fmla="*/ 4459937 w 11269336"/>
              <a:gd name="connsiteY146" fmla="*/ 2195182 h 2323145"/>
              <a:gd name="connsiteX147" fmla="*/ 4433312 w 11269336"/>
              <a:gd name="connsiteY147" fmla="*/ 2199004 h 2323145"/>
              <a:gd name="connsiteX148" fmla="*/ 4420601 w 11269336"/>
              <a:gd name="connsiteY148" fmla="*/ 2205158 h 2323145"/>
              <a:gd name="connsiteX149" fmla="*/ 4405765 w 11269336"/>
              <a:gd name="connsiteY149" fmla="*/ 2199902 h 2323145"/>
              <a:gd name="connsiteX150" fmla="*/ 4401354 w 11269336"/>
              <a:gd name="connsiteY150" fmla="*/ 2194745 h 2323145"/>
              <a:gd name="connsiteX151" fmla="*/ 4383151 w 11269336"/>
              <a:gd name="connsiteY151" fmla="*/ 2201140 h 2323145"/>
              <a:gd name="connsiteX152" fmla="*/ 4366646 w 11269336"/>
              <a:gd name="connsiteY152" fmla="*/ 2198564 h 2323145"/>
              <a:gd name="connsiteX153" fmla="*/ 4354009 w 11269336"/>
              <a:gd name="connsiteY153" fmla="*/ 2204984 h 2323145"/>
              <a:gd name="connsiteX154" fmla="*/ 4348284 w 11269336"/>
              <a:gd name="connsiteY154" fmla="*/ 2205270 h 2323145"/>
              <a:gd name="connsiteX155" fmla="*/ 4333906 w 11269336"/>
              <a:gd name="connsiteY155" fmla="*/ 2205251 h 2323145"/>
              <a:gd name="connsiteX156" fmla="*/ 4308819 w 11269336"/>
              <a:gd name="connsiteY156" fmla="*/ 2203822 h 2323145"/>
              <a:gd name="connsiteX157" fmla="*/ 4301210 w 11269336"/>
              <a:gd name="connsiteY157" fmla="*/ 2204456 h 2323145"/>
              <a:gd name="connsiteX158" fmla="*/ 4283095 w 11269336"/>
              <a:gd name="connsiteY158" fmla="*/ 2198177 h 2323145"/>
              <a:gd name="connsiteX159" fmla="*/ 4250119 w 11269336"/>
              <a:gd name="connsiteY159" fmla="*/ 2196342 h 2323145"/>
              <a:gd name="connsiteX160" fmla="*/ 4189203 w 11269336"/>
              <a:gd name="connsiteY160" fmla="*/ 2178994 h 2323145"/>
              <a:gd name="connsiteX161" fmla="*/ 4154035 w 11269336"/>
              <a:gd name="connsiteY161" fmla="*/ 2171950 h 2323145"/>
              <a:gd name="connsiteX162" fmla="*/ 4129569 w 11269336"/>
              <a:gd name="connsiteY162" fmla="*/ 2163850 h 2323145"/>
              <a:gd name="connsiteX163" fmla="*/ 4061250 w 11269336"/>
              <a:gd name="connsiteY163" fmla="*/ 2159236 h 2323145"/>
              <a:gd name="connsiteX164" fmla="*/ 3945480 w 11269336"/>
              <a:gd name="connsiteY164" fmla="*/ 2158279 h 2323145"/>
              <a:gd name="connsiteX165" fmla="*/ 3921468 w 11269336"/>
              <a:gd name="connsiteY165" fmla="*/ 2156588 h 2323145"/>
              <a:gd name="connsiteX166" fmla="*/ 3903348 w 11269336"/>
              <a:gd name="connsiteY166" fmla="*/ 2149220 h 2323145"/>
              <a:gd name="connsiteX167" fmla="*/ 3901342 w 11269336"/>
              <a:gd name="connsiteY167" fmla="*/ 2142355 h 2323145"/>
              <a:gd name="connsiteX168" fmla="*/ 3888539 w 11269336"/>
              <a:gd name="connsiteY168" fmla="*/ 2140476 h 2323145"/>
              <a:gd name="connsiteX169" fmla="*/ 3885662 w 11269336"/>
              <a:gd name="connsiteY169" fmla="*/ 2138740 h 2323145"/>
              <a:gd name="connsiteX170" fmla="*/ 3868627 w 11269336"/>
              <a:gd name="connsiteY170" fmla="*/ 2130023 h 2323145"/>
              <a:gd name="connsiteX171" fmla="*/ 3819177 w 11269336"/>
              <a:gd name="connsiteY171" fmla="*/ 2142111 h 2323145"/>
              <a:gd name="connsiteX172" fmla="*/ 3769100 w 11269336"/>
              <a:gd name="connsiteY172" fmla="*/ 2131731 h 2323145"/>
              <a:gd name="connsiteX173" fmla="*/ 3562752 w 11269336"/>
              <a:gd name="connsiteY173" fmla="*/ 2131785 h 2323145"/>
              <a:gd name="connsiteX174" fmla="*/ 3541402 w 11269336"/>
              <a:gd name="connsiteY174" fmla="*/ 2106821 h 2323145"/>
              <a:gd name="connsiteX175" fmla="*/ 3365341 w 11269336"/>
              <a:gd name="connsiteY175" fmla="*/ 2077638 h 2323145"/>
              <a:gd name="connsiteX176" fmla="*/ 3170922 w 11269336"/>
              <a:gd name="connsiteY176" fmla="*/ 2115957 h 2323145"/>
              <a:gd name="connsiteX177" fmla="*/ 3156256 w 11269336"/>
              <a:gd name="connsiteY177" fmla="*/ 2124773 h 2323145"/>
              <a:gd name="connsiteX178" fmla="*/ 3140298 w 11269336"/>
              <a:gd name="connsiteY178" fmla="*/ 2129182 h 2323145"/>
              <a:gd name="connsiteX179" fmla="*/ 3138514 w 11269336"/>
              <a:gd name="connsiteY179" fmla="*/ 2128069 h 2323145"/>
              <a:gd name="connsiteX180" fmla="*/ 3120467 w 11269336"/>
              <a:gd name="connsiteY180" fmla="*/ 2128281 h 2323145"/>
              <a:gd name="connsiteX181" fmla="*/ 3116175 w 11269336"/>
              <a:gd name="connsiteY181" fmla="*/ 2131633 h 2323145"/>
              <a:gd name="connsiteX182" fmla="*/ 3103685 w 11269336"/>
              <a:gd name="connsiteY182" fmla="*/ 2132814 h 2323145"/>
              <a:gd name="connsiteX183" fmla="*/ 3078794 w 11269336"/>
              <a:gd name="connsiteY183" fmla="*/ 2137935 h 2323145"/>
              <a:gd name="connsiteX184" fmla="*/ 3074407 w 11269336"/>
              <a:gd name="connsiteY184" fmla="*/ 2136274 h 2323145"/>
              <a:gd name="connsiteX185" fmla="*/ 3037285 w 11269336"/>
              <a:gd name="connsiteY185" fmla="*/ 2139919 h 2323145"/>
              <a:gd name="connsiteX186" fmla="*/ 3036901 w 11269336"/>
              <a:gd name="connsiteY186" fmla="*/ 2138726 h 2323145"/>
              <a:gd name="connsiteX187" fmla="*/ 3026996 w 11269336"/>
              <a:gd name="connsiteY187" fmla="*/ 2134322 h 2323145"/>
              <a:gd name="connsiteX188" fmla="*/ 3007772 w 11269336"/>
              <a:gd name="connsiteY188" fmla="*/ 2128742 h 2323145"/>
              <a:gd name="connsiteX189" fmla="*/ 2965030 w 11269336"/>
              <a:gd name="connsiteY189" fmla="*/ 2100494 h 2323145"/>
              <a:gd name="connsiteX190" fmla="*/ 2926342 w 11269336"/>
              <a:gd name="connsiteY190" fmla="*/ 2104155 h 2323145"/>
              <a:gd name="connsiteX191" fmla="*/ 2918608 w 11269336"/>
              <a:gd name="connsiteY191" fmla="*/ 2104215 h 2323145"/>
              <a:gd name="connsiteX192" fmla="*/ 2918475 w 11269336"/>
              <a:gd name="connsiteY192" fmla="*/ 2103937 h 2323145"/>
              <a:gd name="connsiteX193" fmla="*/ 2910360 w 11269336"/>
              <a:gd name="connsiteY193" fmla="*/ 2103444 h 2323145"/>
              <a:gd name="connsiteX194" fmla="*/ 2904507 w 11269336"/>
              <a:gd name="connsiteY194" fmla="*/ 2104326 h 2323145"/>
              <a:gd name="connsiteX195" fmla="*/ 2889503 w 11269336"/>
              <a:gd name="connsiteY195" fmla="*/ 2104443 h 2323145"/>
              <a:gd name="connsiteX196" fmla="*/ 2884480 w 11269336"/>
              <a:gd name="connsiteY196" fmla="*/ 2102626 h 2323145"/>
              <a:gd name="connsiteX197" fmla="*/ 2882689 w 11269336"/>
              <a:gd name="connsiteY197" fmla="*/ 2099228 h 2323145"/>
              <a:gd name="connsiteX198" fmla="*/ 2881291 w 11269336"/>
              <a:gd name="connsiteY198" fmla="*/ 2099618 h 2323145"/>
              <a:gd name="connsiteX199" fmla="*/ 2853979 w 11269336"/>
              <a:gd name="connsiteY199" fmla="*/ 2090388 h 2323145"/>
              <a:gd name="connsiteX200" fmla="*/ 2791790 w 11269336"/>
              <a:gd name="connsiteY200" fmla="*/ 2080332 h 2323145"/>
              <a:gd name="connsiteX201" fmla="*/ 2755844 w 11269336"/>
              <a:gd name="connsiteY201" fmla="*/ 2078874 h 2323145"/>
              <a:gd name="connsiteX202" fmla="*/ 2657742 w 11269336"/>
              <a:gd name="connsiteY202" fmla="*/ 2070179 h 2323145"/>
              <a:gd name="connsiteX203" fmla="*/ 2559549 w 11269336"/>
              <a:gd name="connsiteY203" fmla="*/ 2057873 h 2323145"/>
              <a:gd name="connsiteX204" fmla="*/ 2512054 w 11269336"/>
              <a:gd name="connsiteY204" fmla="*/ 2031671 h 2323145"/>
              <a:gd name="connsiteX205" fmla="*/ 2506437 w 11269336"/>
              <a:gd name="connsiteY205" fmla="*/ 2030918 h 2323145"/>
              <a:gd name="connsiteX206" fmla="*/ 2491752 w 11269336"/>
              <a:gd name="connsiteY206" fmla="*/ 2033906 h 2323145"/>
              <a:gd name="connsiteX207" fmla="*/ 2486338 w 11269336"/>
              <a:gd name="connsiteY207" fmla="*/ 2035862 h 2323145"/>
              <a:gd name="connsiteX208" fmla="*/ 2478186 w 11269336"/>
              <a:gd name="connsiteY208" fmla="*/ 2036953 h 2323145"/>
              <a:gd name="connsiteX209" fmla="*/ 2477950 w 11269336"/>
              <a:gd name="connsiteY209" fmla="*/ 2036715 h 2323145"/>
              <a:gd name="connsiteX210" fmla="*/ 2470381 w 11269336"/>
              <a:gd name="connsiteY210" fmla="*/ 2038256 h 2323145"/>
              <a:gd name="connsiteX211" fmla="*/ 2433781 w 11269336"/>
              <a:gd name="connsiteY211" fmla="*/ 2049140 h 2323145"/>
              <a:gd name="connsiteX212" fmla="*/ 2381172 w 11269336"/>
              <a:gd name="connsiteY212" fmla="*/ 2030645 h 2323145"/>
              <a:gd name="connsiteX213" fmla="*/ 2360198 w 11269336"/>
              <a:gd name="connsiteY213" fmla="*/ 2029059 h 2323145"/>
              <a:gd name="connsiteX214" fmla="*/ 2348815 w 11269336"/>
              <a:gd name="connsiteY214" fmla="*/ 2026798 h 2323145"/>
              <a:gd name="connsiteX215" fmla="*/ 2347988 w 11269336"/>
              <a:gd name="connsiteY215" fmla="*/ 2025745 h 2323145"/>
              <a:gd name="connsiteX216" fmla="*/ 2312920 w 11269336"/>
              <a:gd name="connsiteY216" fmla="*/ 2036311 h 2323145"/>
              <a:gd name="connsiteX217" fmla="*/ 2307986 w 11269336"/>
              <a:gd name="connsiteY217" fmla="*/ 2035583 h 2323145"/>
              <a:gd name="connsiteX218" fmla="*/ 2285481 w 11269336"/>
              <a:gd name="connsiteY218" fmla="*/ 2045197 h 2323145"/>
              <a:gd name="connsiteX219" fmla="*/ 2273666 w 11269336"/>
              <a:gd name="connsiteY219" fmla="*/ 2048710 h 2323145"/>
              <a:gd name="connsiteX220" fmla="*/ 2270719 w 11269336"/>
              <a:gd name="connsiteY220" fmla="*/ 2052702 h 2323145"/>
              <a:gd name="connsiteX221" fmla="*/ 2253080 w 11269336"/>
              <a:gd name="connsiteY221" fmla="*/ 2056363 h 2323145"/>
              <a:gd name="connsiteX222" fmla="*/ 2250906 w 11269336"/>
              <a:gd name="connsiteY222" fmla="*/ 2055654 h 2323145"/>
              <a:gd name="connsiteX223" fmla="*/ 2236905 w 11269336"/>
              <a:gd name="connsiteY223" fmla="*/ 2062882 h 2323145"/>
              <a:gd name="connsiteX224" fmla="*/ 2225830 w 11269336"/>
              <a:gd name="connsiteY224" fmla="*/ 2074027 h 2323145"/>
              <a:gd name="connsiteX225" fmla="*/ 2073776 w 11269336"/>
              <a:gd name="connsiteY225" fmla="*/ 2089244 h 2323145"/>
              <a:gd name="connsiteX226" fmla="*/ 1948256 w 11269336"/>
              <a:gd name="connsiteY226" fmla="*/ 2146616 h 2323145"/>
              <a:gd name="connsiteX227" fmla="*/ 1865582 w 11269336"/>
              <a:gd name="connsiteY227" fmla="*/ 2153738 h 2323145"/>
              <a:gd name="connsiteX228" fmla="*/ 1835210 w 11269336"/>
              <a:gd name="connsiteY228" fmla="*/ 2134244 h 2323145"/>
              <a:gd name="connsiteX229" fmla="*/ 1632661 w 11269336"/>
              <a:gd name="connsiteY229" fmla="*/ 2173882 h 2323145"/>
              <a:gd name="connsiteX230" fmla="*/ 1579590 w 11269336"/>
              <a:gd name="connsiteY230" fmla="*/ 2173680 h 2323145"/>
              <a:gd name="connsiteX231" fmla="*/ 1535601 w 11269336"/>
              <a:gd name="connsiteY231" fmla="*/ 2194590 h 2323145"/>
              <a:gd name="connsiteX232" fmla="*/ 1515594 w 11269336"/>
              <a:gd name="connsiteY232" fmla="*/ 2189622 h 2323145"/>
              <a:gd name="connsiteX233" fmla="*/ 1512113 w 11269336"/>
              <a:gd name="connsiteY233" fmla="*/ 2188534 h 2323145"/>
              <a:gd name="connsiteX234" fmla="*/ 1498838 w 11269336"/>
              <a:gd name="connsiteY234" fmla="*/ 2189213 h 2323145"/>
              <a:gd name="connsiteX235" fmla="*/ 1494279 w 11269336"/>
              <a:gd name="connsiteY235" fmla="*/ 2183112 h 2323145"/>
              <a:gd name="connsiteX236" fmla="*/ 1473714 w 11269336"/>
              <a:gd name="connsiteY236" fmla="*/ 2179625 h 2323145"/>
              <a:gd name="connsiteX237" fmla="*/ 1449503 w 11269336"/>
              <a:gd name="connsiteY237" fmla="*/ 2182633 h 2323145"/>
              <a:gd name="connsiteX238" fmla="*/ 1266687 w 11269336"/>
              <a:gd name="connsiteY238" fmla="*/ 2212688 h 2323145"/>
              <a:gd name="connsiteX239" fmla="*/ 1239614 w 11269336"/>
              <a:gd name="connsiteY239" fmla="*/ 2209727 h 2323145"/>
              <a:gd name="connsiteX240" fmla="*/ 1202436 w 11269336"/>
              <a:gd name="connsiteY240" fmla="*/ 2209817 h 2323145"/>
              <a:gd name="connsiteX241" fmla="*/ 1136097 w 11269336"/>
              <a:gd name="connsiteY241" fmla="*/ 2205112 h 2323145"/>
              <a:gd name="connsiteX242" fmla="*/ 988232 w 11269336"/>
              <a:gd name="connsiteY242" fmla="*/ 2235635 h 2323145"/>
              <a:gd name="connsiteX243" fmla="*/ 981959 w 11269336"/>
              <a:gd name="connsiteY243" fmla="*/ 2231607 h 2323145"/>
              <a:gd name="connsiteX244" fmla="*/ 938600 w 11269336"/>
              <a:gd name="connsiteY244" fmla="*/ 2238113 h 2323145"/>
              <a:gd name="connsiteX245" fmla="*/ 791788 w 11269336"/>
              <a:gd name="connsiteY245" fmla="*/ 2293224 h 2323145"/>
              <a:gd name="connsiteX246" fmla="*/ 706914 w 11269336"/>
              <a:gd name="connsiteY246" fmla="*/ 2305046 h 2323145"/>
              <a:gd name="connsiteX247" fmla="*/ 675971 w 11269336"/>
              <a:gd name="connsiteY247" fmla="*/ 2304030 h 2323145"/>
              <a:gd name="connsiteX248" fmla="*/ 624180 w 11269336"/>
              <a:gd name="connsiteY248" fmla="*/ 2302650 h 2323145"/>
              <a:gd name="connsiteX249" fmla="*/ 583453 w 11269336"/>
              <a:gd name="connsiteY249" fmla="*/ 2288788 h 2323145"/>
              <a:gd name="connsiteX250" fmla="*/ 540946 w 11269336"/>
              <a:gd name="connsiteY250" fmla="*/ 2292721 h 2323145"/>
              <a:gd name="connsiteX251" fmla="*/ 533680 w 11269336"/>
              <a:gd name="connsiteY251" fmla="*/ 2310233 h 2323145"/>
              <a:gd name="connsiteX252" fmla="*/ 487366 w 11269336"/>
              <a:gd name="connsiteY252" fmla="*/ 2309053 h 2323145"/>
              <a:gd name="connsiteX253" fmla="*/ 416820 w 11269336"/>
              <a:gd name="connsiteY253" fmla="*/ 2305443 h 2323145"/>
              <a:gd name="connsiteX254" fmla="*/ 376805 w 11269336"/>
              <a:gd name="connsiteY254" fmla="*/ 2307647 h 2323145"/>
              <a:gd name="connsiteX255" fmla="*/ 266777 w 11269336"/>
              <a:gd name="connsiteY255" fmla="*/ 2309012 h 2323145"/>
              <a:gd name="connsiteX256" fmla="*/ 156013 w 11269336"/>
              <a:gd name="connsiteY256" fmla="*/ 2306832 h 2323145"/>
              <a:gd name="connsiteX257" fmla="*/ 87258 w 11269336"/>
              <a:gd name="connsiteY257" fmla="*/ 2285511 h 2323145"/>
              <a:gd name="connsiteX258" fmla="*/ 23798 w 11269336"/>
              <a:gd name="connsiteY258" fmla="*/ 2281822 h 2323145"/>
              <a:gd name="connsiteX259" fmla="*/ 0 w 11269336"/>
              <a:gd name="connsiteY259" fmla="*/ 2285369 h 2323145"/>
              <a:gd name="connsiteX260" fmla="*/ 0 w 11269336"/>
              <a:gd name="connsiteY260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593061 w 11269336"/>
              <a:gd name="connsiteY141" fmla="*/ 2171597 h 2323145"/>
              <a:gd name="connsiteX142" fmla="*/ 4533444 w 11269336"/>
              <a:gd name="connsiteY142" fmla="*/ 2181200 h 2323145"/>
              <a:gd name="connsiteX143" fmla="*/ 4492832 w 11269336"/>
              <a:gd name="connsiteY143" fmla="*/ 2188033 h 2323145"/>
              <a:gd name="connsiteX144" fmla="*/ 4467257 w 11269336"/>
              <a:gd name="connsiteY144" fmla="*/ 2196121 h 2323145"/>
              <a:gd name="connsiteX145" fmla="*/ 4459937 w 11269336"/>
              <a:gd name="connsiteY145" fmla="*/ 2195182 h 2323145"/>
              <a:gd name="connsiteX146" fmla="*/ 4433312 w 11269336"/>
              <a:gd name="connsiteY146" fmla="*/ 2199004 h 2323145"/>
              <a:gd name="connsiteX147" fmla="*/ 4420601 w 11269336"/>
              <a:gd name="connsiteY147" fmla="*/ 2205158 h 2323145"/>
              <a:gd name="connsiteX148" fmla="*/ 4405765 w 11269336"/>
              <a:gd name="connsiteY148" fmla="*/ 2199902 h 2323145"/>
              <a:gd name="connsiteX149" fmla="*/ 4401354 w 11269336"/>
              <a:gd name="connsiteY149" fmla="*/ 2194745 h 2323145"/>
              <a:gd name="connsiteX150" fmla="*/ 4383151 w 11269336"/>
              <a:gd name="connsiteY150" fmla="*/ 2201140 h 2323145"/>
              <a:gd name="connsiteX151" fmla="*/ 4366646 w 11269336"/>
              <a:gd name="connsiteY151" fmla="*/ 2198564 h 2323145"/>
              <a:gd name="connsiteX152" fmla="*/ 4354009 w 11269336"/>
              <a:gd name="connsiteY152" fmla="*/ 2204984 h 2323145"/>
              <a:gd name="connsiteX153" fmla="*/ 4348284 w 11269336"/>
              <a:gd name="connsiteY153" fmla="*/ 2205270 h 2323145"/>
              <a:gd name="connsiteX154" fmla="*/ 4333906 w 11269336"/>
              <a:gd name="connsiteY154" fmla="*/ 2205251 h 2323145"/>
              <a:gd name="connsiteX155" fmla="*/ 4308819 w 11269336"/>
              <a:gd name="connsiteY155" fmla="*/ 2203822 h 2323145"/>
              <a:gd name="connsiteX156" fmla="*/ 4301210 w 11269336"/>
              <a:gd name="connsiteY156" fmla="*/ 2204456 h 2323145"/>
              <a:gd name="connsiteX157" fmla="*/ 4283095 w 11269336"/>
              <a:gd name="connsiteY157" fmla="*/ 2198177 h 2323145"/>
              <a:gd name="connsiteX158" fmla="*/ 4250119 w 11269336"/>
              <a:gd name="connsiteY158" fmla="*/ 2196342 h 2323145"/>
              <a:gd name="connsiteX159" fmla="*/ 4189203 w 11269336"/>
              <a:gd name="connsiteY159" fmla="*/ 2178994 h 2323145"/>
              <a:gd name="connsiteX160" fmla="*/ 4154035 w 11269336"/>
              <a:gd name="connsiteY160" fmla="*/ 2171950 h 2323145"/>
              <a:gd name="connsiteX161" fmla="*/ 4129569 w 11269336"/>
              <a:gd name="connsiteY161" fmla="*/ 2163850 h 2323145"/>
              <a:gd name="connsiteX162" fmla="*/ 4061250 w 11269336"/>
              <a:gd name="connsiteY162" fmla="*/ 2159236 h 2323145"/>
              <a:gd name="connsiteX163" fmla="*/ 3945480 w 11269336"/>
              <a:gd name="connsiteY163" fmla="*/ 2158279 h 2323145"/>
              <a:gd name="connsiteX164" fmla="*/ 3921468 w 11269336"/>
              <a:gd name="connsiteY164" fmla="*/ 2156588 h 2323145"/>
              <a:gd name="connsiteX165" fmla="*/ 3903348 w 11269336"/>
              <a:gd name="connsiteY165" fmla="*/ 2149220 h 2323145"/>
              <a:gd name="connsiteX166" fmla="*/ 3901342 w 11269336"/>
              <a:gd name="connsiteY166" fmla="*/ 2142355 h 2323145"/>
              <a:gd name="connsiteX167" fmla="*/ 3888539 w 11269336"/>
              <a:gd name="connsiteY167" fmla="*/ 2140476 h 2323145"/>
              <a:gd name="connsiteX168" fmla="*/ 3885662 w 11269336"/>
              <a:gd name="connsiteY168" fmla="*/ 2138740 h 2323145"/>
              <a:gd name="connsiteX169" fmla="*/ 3868627 w 11269336"/>
              <a:gd name="connsiteY169" fmla="*/ 2130023 h 2323145"/>
              <a:gd name="connsiteX170" fmla="*/ 3819177 w 11269336"/>
              <a:gd name="connsiteY170" fmla="*/ 2142111 h 2323145"/>
              <a:gd name="connsiteX171" fmla="*/ 3769100 w 11269336"/>
              <a:gd name="connsiteY171" fmla="*/ 2131731 h 2323145"/>
              <a:gd name="connsiteX172" fmla="*/ 3562752 w 11269336"/>
              <a:gd name="connsiteY172" fmla="*/ 2131785 h 2323145"/>
              <a:gd name="connsiteX173" fmla="*/ 3541402 w 11269336"/>
              <a:gd name="connsiteY173" fmla="*/ 2106821 h 2323145"/>
              <a:gd name="connsiteX174" fmla="*/ 3365341 w 11269336"/>
              <a:gd name="connsiteY174" fmla="*/ 2077638 h 2323145"/>
              <a:gd name="connsiteX175" fmla="*/ 3170922 w 11269336"/>
              <a:gd name="connsiteY175" fmla="*/ 2115957 h 2323145"/>
              <a:gd name="connsiteX176" fmla="*/ 3156256 w 11269336"/>
              <a:gd name="connsiteY176" fmla="*/ 2124773 h 2323145"/>
              <a:gd name="connsiteX177" fmla="*/ 3140298 w 11269336"/>
              <a:gd name="connsiteY177" fmla="*/ 2129182 h 2323145"/>
              <a:gd name="connsiteX178" fmla="*/ 3138514 w 11269336"/>
              <a:gd name="connsiteY178" fmla="*/ 2128069 h 2323145"/>
              <a:gd name="connsiteX179" fmla="*/ 3120467 w 11269336"/>
              <a:gd name="connsiteY179" fmla="*/ 2128281 h 2323145"/>
              <a:gd name="connsiteX180" fmla="*/ 3116175 w 11269336"/>
              <a:gd name="connsiteY180" fmla="*/ 2131633 h 2323145"/>
              <a:gd name="connsiteX181" fmla="*/ 3103685 w 11269336"/>
              <a:gd name="connsiteY181" fmla="*/ 2132814 h 2323145"/>
              <a:gd name="connsiteX182" fmla="*/ 3078794 w 11269336"/>
              <a:gd name="connsiteY182" fmla="*/ 2137935 h 2323145"/>
              <a:gd name="connsiteX183" fmla="*/ 3074407 w 11269336"/>
              <a:gd name="connsiteY183" fmla="*/ 2136274 h 2323145"/>
              <a:gd name="connsiteX184" fmla="*/ 3037285 w 11269336"/>
              <a:gd name="connsiteY184" fmla="*/ 2139919 h 2323145"/>
              <a:gd name="connsiteX185" fmla="*/ 3036901 w 11269336"/>
              <a:gd name="connsiteY185" fmla="*/ 2138726 h 2323145"/>
              <a:gd name="connsiteX186" fmla="*/ 3026996 w 11269336"/>
              <a:gd name="connsiteY186" fmla="*/ 2134322 h 2323145"/>
              <a:gd name="connsiteX187" fmla="*/ 3007772 w 11269336"/>
              <a:gd name="connsiteY187" fmla="*/ 2128742 h 2323145"/>
              <a:gd name="connsiteX188" fmla="*/ 2965030 w 11269336"/>
              <a:gd name="connsiteY188" fmla="*/ 2100494 h 2323145"/>
              <a:gd name="connsiteX189" fmla="*/ 2926342 w 11269336"/>
              <a:gd name="connsiteY189" fmla="*/ 2104155 h 2323145"/>
              <a:gd name="connsiteX190" fmla="*/ 2918608 w 11269336"/>
              <a:gd name="connsiteY190" fmla="*/ 2104215 h 2323145"/>
              <a:gd name="connsiteX191" fmla="*/ 2918475 w 11269336"/>
              <a:gd name="connsiteY191" fmla="*/ 2103937 h 2323145"/>
              <a:gd name="connsiteX192" fmla="*/ 2910360 w 11269336"/>
              <a:gd name="connsiteY192" fmla="*/ 2103444 h 2323145"/>
              <a:gd name="connsiteX193" fmla="*/ 2904507 w 11269336"/>
              <a:gd name="connsiteY193" fmla="*/ 2104326 h 2323145"/>
              <a:gd name="connsiteX194" fmla="*/ 2889503 w 11269336"/>
              <a:gd name="connsiteY194" fmla="*/ 2104443 h 2323145"/>
              <a:gd name="connsiteX195" fmla="*/ 2884480 w 11269336"/>
              <a:gd name="connsiteY195" fmla="*/ 2102626 h 2323145"/>
              <a:gd name="connsiteX196" fmla="*/ 2882689 w 11269336"/>
              <a:gd name="connsiteY196" fmla="*/ 2099228 h 2323145"/>
              <a:gd name="connsiteX197" fmla="*/ 2881291 w 11269336"/>
              <a:gd name="connsiteY197" fmla="*/ 2099618 h 2323145"/>
              <a:gd name="connsiteX198" fmla="*/ 2853979 w 11269336"/>
              <a:gd name="connsiteY198" fmla="*/ 2090388 h 2323145"/>
              <a:gd name="connsiteX199" fmla="*/ 2791790 w 11269336"/>
              <a:gd name="connsiteY199" fmla="*/ 2080332 h 2323145"/>
              <a:gd name="connsiteX200" fmla="*/ 2755844 w 11269336"/>
              <a:gd name="connsiteY200" fmla="*/ 2078874 h 2323145"/>
              <a:gd name="connsiteX201" fmla="*/ 2657742 w 11269336"/>
              <a:gd name="connsiteY201" fmla="*/ 2070179 h 2323145"/>
              <a:gd name="connsiteX202" fmla="*/ 2559549 w 11269336"/>
              <a:gd name="connsiteY202" fmla="*/ 2057873 h 2323145"/>
              <a:gd name="connsiteX203" fmla="*/ 2512054 w 11269336"/>
              <a:gd name="connsiteY203" fmla="*/ 2031671 h 2323145"/>
              <a:gd name="connsiteX204" fmla="*/ 2506437 w 11269336"/>
              <a:gd name="connsiteY204" fmla="*/ 2030918 h 2323145"/>
              <a:gd name="connsiteX205" fmla="*/ 2491752 w 11269336"/>
              <a:gd name="connsiteY205" fmla="*/ 2033906 h 2323145"/>
              <a:gd name="connsiteX206" fmla="*/ 2486338 w 11269336"/>
              <a:gd name="connsiteY206" fmla="*/ 2035862 h 2323145"/>
              <a:gd name="connsiteX207" fmla="*/ 2478186 w 11269336"/>
              <a:gd name="connsiteY207" fmla="*/ 2036953 h 2323145"/>
              <a:gd name="connsiteX208" fmla="*/ 2477950 w 11269336"/>
              <a:gd name="connsiteY208" fmla="*/ 2036715 h 2323145"/>
              <a:gd name="connsiteX209" fmla="*/ 2470381 w 11269336"/>
              <a:gd name="connsiteY209" fmla="*/ 2038256 h 2323145"/>
              <a:gd name="connsiteX210" fmla="*/ 2433781 w 11269336"/>
              <a:gd name="connsiteY210" fmla="*/ 2049140 h 2323145"/>
              <a:gd name="connsiteX211" fmla="*/ 2381172 w 11269336"/>
              <a:gd name="connsiteY211" fmla="*/ 2030645 h 2323145"/>
              <a:gd name="connsiteX212" fmla="*/ 2360198 w 11269336"/>
              <a:gd name="connsiteY212" fmla="*/ 2029059 h 2323145"/>
              <a:gd name="connsiteX213" fmla="*/ 2348815 w 11269336"/>
              <a:gd name="connsiteY213" fmla="*/ 2026798 h 2323145"/>
              <a:gd name="connsiteX214" fmla="*/ 2347988 w 11269336"/>
              <a:gd name="connsiteY214" fmla="*/ 2025745 h 2323145"/>
              <a:gd name="connsiteX215" fmla="*/ 2312920 w 11269336"/>
              <a:gd name="connsiteY215" fmla="*/ 2036311 h 2323145"/>
              <a:gd name="connsiteX216" fmla="*/ 2307986 w 11269336"/>
              <a:gd name="connsiteY216" fmla="*/ 2035583 h 2323145"/>
              <a:gd name="connsiteX217" fmla="*/ 2285481 w 11269336"/>
              <a:gd name="connsiteY217" fmla="*/ 2045197 h 2323145"/>
              <a:gd name="connsiteX218" fmla="*/ 2273666 w 11269336"/>
              <a:gd name="connsiteY218" fmla="*/ 2048710 h 2323145"/>
              <a:gd name="connsiteX219" fmla="*/ 2270719 w 11269336"/>
              <a:gd name="connsiteY219" fmla="*/ 2052702 h 2323145"/>
              <a:gd name="connsiteX220" fmla="*/ 2253080 w 11269336"/>
              <a:gd name="connsiteY220" fmla="*/ 2056363 h 2323145"/>
              <a:gd name="connsiteX221" fmla="*/ 2250906 w 11269336"/>
              <a:gd name="connsiteY221" fmla="*/ 2055654 h 2323145"/>
              <a:gd name="connsiteX222" fmla="*/ 2236905 w 11269336"/>
              <a:gd name="connsiteY222" fmla="*/ 2062882 h 2323145"/>
              <a:gd name="connsiteX223" fmla="*/ 2225830 w 11269336"/>
              <a:gd name="connsiteY223" fmla="*/ 2074027 h 2323145"/>
              <a:gd name="connsiteX224" fmla="*/ 2073776 w 11269336"/>
              <a:gd name="connsiteY224" fmla="*/ 2089244 h 2323145"/>
              <a:gd name="connsiteX225" fmla="*/ 1948256 w 11269336"/>
              <a:gd name="connsiteY225" fmla="*/ 2146616 h 2323145"/>
              <a:gd name="connsiteX226" fmla="*/ 1865582 w 11269336"/>
              <a:gd name="connsiteY226" fmla="*/ 2153738 h 2323145"/>
              <a:gd name="connsiteX227" fmla="*/ 1835210 w 11269336"/>
              <a:gd name="connsiteY227" fmla="*/ 2134244 h 2323145"/>
              <a:gd name="connsiteX228" fmla="*/ 1632661 w 11269336"/>
              <a:gd name="connsiteY228" fmla="*/ 2173882 h 2323145"/>
              <a:gd name="connsiteX229" fmla="*/ 1579590 w 11269336"/>
              <a:gd name="connsiteY229" fmla="*/ 2173680 h 2323145"/>
              <a:gd name="connsiteX230" fmla="*/ 1535601 w 11269336"/>
              <a:gd name="connsiteY230" fmla="*/ 2194590 h 2323145"/>
              <a:gd name="connsiteX231" fmla="*/ 1515594 w 11269336"/>
              <a:gd name="connsiteY231" fmla="*/ 2189622 h 2323145"/>
              <a:gd name="connsiteX232" fmla="*/ 1512113 w 11269336"/>
              <a:gd name="connsiteY232" fmla="*/ 2188534 h 2323145"/>
              <a:gd name="connsiteX233" fmla="*/ 1498838 w 11269336"/>
              <a:gd name="connsiteY233" fmla="*/ 2189213 h 2323145"/>
              <a:gd name="connsiteX234" fmla="*/ 1494279 w 11269336"/>
              <a:gd name="connsiteY234" fmla="*/ 2183112 h 2323145"/>
              <a:gd name="connsiteX235" fmla="*/ 1473714 w 11269336"/>
              <a:gd name="connsiteY235" fmla="*/ 2179625 h 2323145"/>
              <a:gd name="connsiteX236" fmla="*/ 1449503 w 11269336"/>
              <a:gd name="connsiteY236" fmla="*/ 2182633 h 2323145"/>
              <a:gd name="connsiteX237" fmla="*/ 1266687 w 11269336"/>
              <a:gd name="connsiteY237" fmla="*/ 2212688 h 2323145"/>
              <a:gd name="connsiteX238" fmla="*/ 1239614 w 11269336"/>
              <a:gd name="connsiteY238" fmla="*/ 2209727 h 2323145"/>
              <a:gd name="connsiteX239" fmla="*/ 1202436 w 11269336"/>
              <a:gd name="connsiteY239" fmla="*/ 2209817 h 2323145"/>
              <a:gd name="connsiteX240" fmla="*/ 1136097 w 11269336"/>
              <a:gd name="connsiteY240" fmla="*/ 2205112 h 2323145"/>
              <a:gd name="connsiteX241" fmla="*/ 988232 w 11269336"/>
              <a:gd name="connsiteY241" fmla="*/ 2235635 h 2323145"/>
              <a:gd name="connsiteX242" fmla="*/ 981959 w 11269336"/>
              <a:gd name="connsiteY242" fmla="*/ 2231607 h 2323145"/>
              <a:gd name="connsiteX243" fmla="*/ 938600 w 11269336"/>
              <a:gd name="connsiteY243" fmla="*/ 2238113 h 2323145"/>
              <a:gd name="connsiteX244" fmla="*/ 791788 w 11269336"/>
              <a:gd name="connsiteY244" fmla="*/ 2293224 h 2323145"/>
              <a:gd name="connsiteX245" fmla="*/ 706914 w 11269336"/>
              <a:gd name="connsiteY245" fmla="*/ 2305046 h 2323145"/>
              <a:gd name="connsiteX246" fmla="*/ 675971 w 11269336"/>
              <a:gd name="connsiteY246" fmla="*/ 2304030 h 2323145"/>
              <a:gd name="connsiteX247" fmla="*/ 624180 w 11269336"/>
              <a:gd name="connsiteY247" fmla="*/ 2302650 h 2323145"/>
              <a:gd name="connsiteX248" fmla="*/ 583453 w 11269336"/>
              <a:gd name="connsiteY248" fmla="*/ 2288788 h 2323145"/>
              <a:gd name="connsiteX249" fmla="*/ 540946 w 11269336"/>
              <a:gd name="connsiteY249" fmla="*/ 2292721 h 2323145"/>
              <a:gd name="connsiteX250" fmla="*/ 533680 w 11269336"/>
              <a:gd name="connsiteY250" fmla="*/ 2310233 h 2323145"/>
              <a:gd name="connsiteX251" fmla="*/ 487366 w 11269336"/>
              <a:gd name="connsiteY251" fmla="*/ 2309053 h 2323145"/>
              <a:gd name="connsiteX252" fmla="*/ 416820 w 11269336"/>
              <a:gd name="connsiteY252" fmla="*/ 2305443 h 2323145"/>
              <a:gd name="connsiteX253" fmla="*/ 376805 w 11269336"/>
              <a:gd name="connsiteY253" fmla="*/ 2307647 h 2323145"/>
              <a:gd name="connsiteX254" fmla="*/ 266777 w 11269336"/>
              <a:gd name="connsiteY254" fmla="*/ 2309012 h 2323145"/>
              <a:gd name="connsiteX255" fmla="*/ 156013 w 11269336"/>
              <a:gd name="connsiteY255" fmla="*/ 2306832 h 2323145"/>
              <a:gd name="connsiteX256" fmla="*/ 87258 w 11269336"/>
              <a:gd name="connsiteY256" fmla="*/ 2285511 h 2323145"/>
              <a:gd name="connsiteX257" fmla="*/ 23798 w 11269336"/>
              <a:gd name="connsiteY257" fmla="*/ 2281822 h 2323145"/>
              <a:gd name="connsiteX258" fmla="*/ 0 w 11269336"/>
              <a:gd name="connsiteY258" fmla="*/ 2285369 h 2323145"/>
              <a:gd name="connsiteX259" fmla="*/ 0 w 11269336"/>
              <a:gd name="connsiteY259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20601 w 11269336"/>
              <a:gd name="connsiteY146" fmla="*/ 2205158 h 2323145"/>
              <a:gd name="connsiteX147" fmla="*/ 4405765 w 11269336"/>
              <a:gd name="connsiteY147" fmla="*/ 2199902 h 2323145"/>
              <a:gd name="connsiteX148" fmla="*/ 4401354 w 11269336"/>
              <a:gd name="connsiteY148" fmla="*/ 2194745 h 2323145"/>
              <a:gd name="connsiteX149" fmla="*/ 4383151 w 11269336"/>
              <a:gd name="connsiteY149" fmla="*/ 2201140 h 2323145"/>
              <a:gd name="connsiteX150" fmla="*/ 4366646 w 11269336"/>
              <a:gd name="connsiteY150" fmla="*/ 2198564 h 2323145"/>
              <a:gd name="connsiteX151" fmla="*/ 4354009 w 11269336"/>
              <a:gd name="connsiteY151" fmla="*/ 2204984 h 2323145"/>
              <a:gd name="connsiteX152" fmla="*/ 4348284 w 11269336"/>
              <a:gd name="connsiteY152" fmla="*/ 2205270 h 2323145"/>
              <a:gd name="connsiteX153" fmla="*/ 4333906 w 11269336"/>
              <a:gd name="connsiteY153" fmla="*/ 2205251 h 2323145"/>
              <a:gd name="connsiteX154" fmla="*/ 4308819 w 11269336"/>
              <a:gd name="connsiteY154" fmla="*/ 2203822 h 2323145"/>
              <a:gd name="connsiteX155" fmla="*/ 4301210 w 11269336"/>
              <a:gd name="connsiteY155" fmla="*/ 2204456 h 2323145"/>
              <a:gd name="connsiteX156" fmla="*/ 4283095 w 11269336"/>
              <a:gd name="connsiteY156" fmla="*/ 2198177 h 2323145"/>
              <a:gd name="connsiteX157" fmla="*/ 4250119 w 11269336"/>
              <a:gd name="connsiteY157" fmla="*/ 2196342 h 2323145"/>
              <a:gd name="connsiteX158" fmla="*/ 4189203 w 11269336"/>
              <a:gd name="connsiteY158" fmla="*/ 2178994 h 2323145"/>
              <a:gd name="connsiteX159" fmla="*/ 4154035 w 11269336"/>
              <a:gd name="connsiteY159" fmla="*/ 2171950 h 2323145"/>
              <a:gd name="connsiteX160" fmla="*/ 4129569 w 11269336"/>
              <a:gd name="connsiteY160" fmla="*/ 2163850 h 2323145"/>
              <a:gd name="connsiteX161" fmla="*/ 4061250 w 11269336"/>
              <a:gd name="connsiteY161" fmla="*/ 2159236 h 2323145"/>
              <a:gd name="connsiteX162" fmla="*/ 3945480 w 11269336"/>
              <a:gd name="connsiteY162" fmla="*/ 2158279 h 2323145"/>
              <a:gd name="connsiteX163" fmla="*/ 3921468 w 11269336"/>
              <a:gd name="connsiteY163" fmla="*/ 2156588 h 2323145"/>
              <a:gd name="connsiteX164" fmla="*/ 3903348 w 11269336"/>
              <a:gd name="connsiteY164" fmla="*/ 2149220 h 2323145"/>
              <a:gd name="connsiteX165" fmla="*/ 3901342 w 11269336"/>
              <a:gd name="connsiteY165" fmla="*/ 2142355 h 2323145"/>
              <a:gd name="connsiteX166" fmla="*/ 3888539 w 11269336"/>
              <a:gd name="connsiteY166" fmla="*/ 2140476 h 2323145"/>
              <a:gd name="connsiteX167" fmla="*/ 3885662 w 11269336"/>
              <a:gd name="connsiteY167" fmla="*/ 2138740 h 2323145"/>
              <a:gd name="connsiteX168" fmla="*/ 3868627 w 11269336"/>
              <a:gd name="connsiteY168" fmla="*/ 2130023 h 2323145"/>
              <a:gd name="connsiteX169" fmla="*/ 3819177 w 11269336"/>
              <a:gd name="connsiteY169" fmla="*/ 2142111 h 2323145"/>
              <a:gd name="connsiteX170" fmla="*/ 3769100 w 11269336"/>
              <a:gd name="connsiteY170" fmla="*/ 2131731 h 2323145"/>
              <a:gd name="connsiteX171" fmla="*/ 3562752 w 11269336"/>
              <a:gd name="connsiteY171" fmla="*/ 2131785 h 2323145"/>
              <a:gd name="connsiteX172" fmla="*/ 3541402 w 11269336"/>
              <a:gd name="connsiteY172" fmla="*/ 2106821 h 2323145"/>
              <a:gd name="connsiteX173" fmla="*/ 3365341 w 11269336"/>
              <a:gd name="connsiteY173" fmla="*/ 2077638 h 2323145"/>
              <a:gd name="connsiteX174" fmla="*/ 3170922 w 11269336"/>
              <a:gd name="connsiteY174" fmla="*/ 2115957 h 2323145"/>
              <a:gd name="connsiteX175" fmla="*/ 3156256 w 11269336"/>
              <a:gd name="connsiteY175" fmla="*/ 2124773 h 2323145"/>
              <a:gd name="connsiteX176" fmla="*/ 3140298 w 11269336"/>
              <a:gd name="connsiteY176" fmla="*/ 2129182 h 2323145"/>
              <a:gd name="connsiteX177" fmla="*/ 3138514 w 11269336"/>
              <a:gd name="connsiteY177" fmla="*/ 2128069 h 2323145"/>
              <a:gd name="connsiteX178" fmla="*/ 3120467 w 11269336"/>
              <a:gd name="connsiteY178" fmla="*/ 2128281 h 2323145"/>
              <a:gd name="connsiteX179" fmla="*/ 3116175 w 11269336"/>
              <a:gd name="connsiteY179" fmla="*/ 2131633 h 2323145"/>
              <a:gd name="connsiteX180" fmla="*/ 3103685 w 11269336"/>
              <a:gd name="connsiteY180" fmla="*/ 2132814 h 2323145"/>
              <a:gd name="connsiteX181" fmla="*/ 3078794 w 11269336"/>
              <a:gd name="connsiteY181" fmla="*/ 2137935 h 2323145"/>
              <a:gd name="connsiteX182" fmla="*/ 3074407 w 11269336"/>
              <a:gd name="connsiteY182" fmla="*/ 2136274 h 2323145"/>
              <a:gd name="connsiteX183" fmla="*/ 3037285 w 11269336"/>
              <a:gd name="connsiteY183" fmla="*/ 2139919 h 2323145"/>
              <a:gd name="connsiteX184" fmla="*/ 3036901 w 11269336"/>
              <a:gd name="connsiteY184" fmla="*/ 2138726 h 2323145"/>
              <a:gd name="connsiteX185" fmla="*/ 3026996 w 11269336"/>
              <a:gd name="connsiteY185" fmla="*/ 2134322 h 2323145"/>
              <a:gd name="connsiteX186" fmla="*/ 3007772 w 11269336"/>
              <a:gd name="connsiteY186" fmla="*/ 2128742 h 2323145"/>
              <a:gd name="connsiteX187" fmla="*/ 2965030 w 11269336"/>
              <a:gd name="connsiteY187" fmla="*/ 2100494 h 2323145"/>
              <a:gd name="connsiteX188" fmla="*/ 2926342 w 11269336"/>
              <a:gd name="connsiteY188" fmla="*/ 2104155 h 2323145"/>
              <a:gd name="connsiteX189" fmla="*/ 2918608 w 11269336"/>
              <a:gd name="connsiteY189" fmla="*/ 2104215 h 2323145"/>
              <a:gd name="connsiteX190" fmla="*/ 2918475 w 11269336"/>
              <a:gd name="connsiteY190" fmla="*/ 2103937 h 2323145"/>
              <a:gd name="connsiteX191" fmla="*/ 2910360 w 11269336"/>
              <a:gd name="connsiteY191" fmla="*/ 2103444 h 2323145"/>
              <a:gd name="connsiteX192" fmla="*/ 2904507 w 11269336"/>
              <a:gd name="connsiteY192" fmla="*/ 2104326 h 2323145"/>
              <a:gd name="connsiteX193" fmla="*/ 2889503 w 11269336"/>
              <a:gd name="connsiteY193" fmla="*/ 2104443 h 2323145"/>
              <a:gd name="connsiteX194" fmla="*/ 2884480 w 11269336"/>
              <a:gd name="connsiteY194" fmla="*/ 2102626 h 2323145"/>
              <a:gd name="connsiteX195" fmla="*/ 2882689 w 11269336"/>
              <a:gd name="connsiteY195" fmla="*/ 2099228 h 2323145"/>
              <a:gd name="connsiteX196" fmla="*/ 2881291 w 11269336"/>
              <a:gd name="connsiteY196" fmla="*/ 2099618 h 2323145"/>
              <a:gd name="connsiteX197" fmla="*/ 2853979 w 11269336"/>
              <a:gd name="connsiteY197" fmla="*/ 2090388 h 2323145"/>
              <a:gd name="connsiteX198" fmla="*/ 2791790 w 11269336"/>
              <a:gd name="connsiteY198" fmla="*/ 2080332 h 2323145"/>
              <a:gd name="connsiteX199" fmla="*/ 2755844 w 11269336"/>
              <a:gd name="connsiteY199" fmla="*/ 2078874 h 2323145"/>
              <a:gd name="connsiteX200" fmla="*/ 2657742 w 11269336"/>
              <a:gd name="connsiteY200" fmla="*/ 2070179 h 2323145"/>
              <a:gd name="connsiteX201" fmla="*/ 2559549 w 11269336"/>
              <a:gd name="connsiteY201" fmla="*/ 2057873 h 2323145"/>
              <a:gd name="connsiteX202" fmla="*/ 2512054 w 11269336"/>
              <a:gd name="connsiteY202" fmla="*/ 2031671 h 2323145"/>
              <a:gd name="connsiteX203" fmla="*/ 2506437 w 11269336"/>
              <a:gd name="connsiteY203" fmla="*/ 2030918 h 2323145"/>
              <a:gd name="connsiteX204" fmla="*/ 2491752 w 11269336"/>
              <a:gd name="connsiteY204" fmla="*/ 2033906 h 2323145"/>
              <a:gd name="connsiteX205" fmla="*/ 2486338 w 11269336"/>
              <a:gd name="connsiteY205" fmla="*/ 2035862 h 2323145"/>
              <a:gd name="connsiteX206" fmla="*/ 2478186 w 11269336"/>
              <a:gd name="connsiteY206" fmla="*/ 2036953 h 2323145"/>
              <a:gd name="connsiteX207" fmla="*/ 2477950 w 11269336"/>
              <a:gd name="connsiteY207" fmla="*/ 2036715 h 2323145"/>
              <a:gd name="connsiteX208" fmla="*/ 2470381 w 11269336"/>
              <a:gd name="connsiteY208" fmla="*/ 2038256 h 2323145"/>
              <a:gd name="connsiteX209" fmla="*/ 2433781 w 11269336"/>
              <a:gd name="connsiteY209" fmla="*/ 2049140 h 2323145"/>
              <a:gd name="connsiteX210" fmla="*/ 2381172 w 11269336"/>
              <a:gd name="connsiteY210" fmla="*/ 2030645 h 2323145"/>
              <a:gd name="connsiteX211" fmla="*/ 2360198 w 11269336"/>
              <a:gd name="connsiteY211" fmla="*/ 2029059 h 2323145"/>
              <a:gd name="connsiteX212" fmla="*/ 2348815 w 11269336"/>
              <a:gd name="connsiteY212" fmla="*/ 2026798 h 2323145"/>
              <a:gd name="connsiteX213" fmla="*/ 2347988 w 11269336"/>
              <a:gd name="connsiteY213" fmla="*/ 2025745 h 2323145"/>
              <a:gd name="connsiteX214" fmla="*/ 2312920 w 11269336"/>
              <a:gd name="connsiteY214" fmla="*/ 2036311 h 2323145"/>
              <a:gd name="connsiteX215" fmla="*/ 2307986 w 11269336"/>
              <a:gd name="connsiteY215" fmla="*/ 2035583 h 2323145"/>
              <a:gd name="connsiteX216" fmla="*/ 2285481 w 11269336"/>
              <a:gd name="connsiteY216" fmla="*/ 2045197 h 2323145"/>
              <a:gd name="connsiteX217" fmla="*/ 2273666 w 11269336"/>
              <a:gd name="connsiteY217" fmla="*/ 2048710 h 2323145"/>
              <a:gd name="connsiteX218" fmla="*/ 2270719 w 11269336"/>
              <a:gd name="connsiteY218" fmla="*/ 2052702 h 2323145"/>
              <a:gd name="connsiteX219" fmla="*/ 2253080 w 11269336"/>
              <a:gd name="connsiteY219" fmla="*/ 2056363 h 2323145"/>
              <a:gd name="connsiteX220" fmla="*/ 2250906 w 11269336"/>
              <a:gd name="connsiteY220" fmla="*/ 2055654 h 2323145"/>
              <a:gd name="connsiteX221" fmla="*/ 2236905 w 11269336"/>
              <a:gd name="connsiteY221" fmla="*/ 2062882 h 2323145"/>
              <a:gd name="connsiteX222" fmla="*/ 2225830 w 11269336"/>
              <a:gd name="connsiteY222" fmla="*/ 2074027 h 2323145"/>
              <a:gd name="connsiteX223" fmla="*/ 2073776 w 11269336"/>
              <a:gd name="connsiteY223" fmla="*/ 2089244 h 2323145"/>
              <a:gd name="connsiteX224" fmla="*/ 1948256 w 11269336"/>
              <a:gd name="connsiteY224" fmla="*/ 2146616 h 2323145"/>
              <a:gd name="connsiteX225" fmla="*/ 1865582 w 11269336"/>
              <a:gd name="connsiteY225" fmla="*/ 2153738 h 2323145"/>
              <a:gd name="connsiteX226" fmla="*/ 1835210 w 11269336"/>
              <a:gd name="connsiteY226" fmla="*/ 2134244 h 2323145"/>
              <a:gd name="connsiteX227" fmla="*/ 1632661 w 11269336"/>
              <a:gd name="connsiteY227" fmla="*/ 2173882 h 2323145"/>
              <a:gd name="connsiteX228" fmla="*/ 1579590 w 11269336"/>
              <a:gd name="connsiteY228" fmla="*/ 2173680 h 2323145"/>
              <a:gd name="connsiteX229" fmla="*/ 1535601 w 11269336"/>
              <a:gd name="connsiteY229" fmla="*/ 2194590 h 2323145"/>
              <a:gd name="connsiteX230" fmla="*/ 1515594 w 11269336"/>
              <a:gd name="connsiteY230" fmla="*/ 2189622 h 2323145"/>
              <a:gd name="connsiteX231" fmla="*/ 1512113 w 11269336"/>
              <a:gd name="connsiteY231" fmla="*/ 2188534 h 2323145"/>
              <a:gd name="connsiteX232" fmla="*/ 1498838 w 11269336"/>
              <a:gd name="connsiteY232" fmla="*/ 2189213 h 2323145"/>
              <a:gd name="connsiteX233" fmla="*/ 1494279 w 11269336"/>
              <a:gd name="connsiteY233" fmla="*/ 2183112 h 2323145"/>
              <a:gd name="connsiteX234" fmla="*/ 1473714 w 11269336"/>
              <a:gd name="connsiteY234" fmla="*/ 2179625 h 2323145"/>
              <a:gd name="connsiteX235" fmla="*/ 1449503 w 11269336"/>
              <a:gd name="connsiteY235" fmla="*/ 2182633 h 2323145"/>
              <a:gd name="connsiteX236" fmla="*/ 1266687 w 11269336"/>
              <a:gd name="connsiteY236" fmla="*/ 2212688 h 2323145"/>
              <a:gd name="connsiteX237" fmla="*/ 1239614 w 11269336"/>
              <a:gd name="connsiteY237" fmla="*/ 2209727 h 2323145"/>
              <a:gd name="connsiteX238" fmla="*/ 1202436 w 11269336"/>
              <a:gd name="connsiteY238" fmla="*/ 2209817 h 2323145"/>
              <a:gd name="connsiteX239" fmla="*/ 1136097 w 11269336"/>
              <a:gd name="connsiteY239" fmla="*/ 2205112 h 2323145"/>
              <a:gd name="connsiteX240" fmla="*/ 988232 w 11269336"/>
              <a:gd name="connsiteY240" fmla="*/ 2235635 h 2323145"/>
              <a:gd name="connsiteX241" fmla="*/ 981959 w 11269336"/>
              <a:gd name="connsiteY241" fmla="*/ 2231607 h 2323145"/>
              <a:gd name="connsiteX242" fmla="*/ 938600 w 11269336"/>
              <a:gd name="connsiteY242" fmla="*/ 2238113 h 2323145"/>
              <a:gd name="connsiteX243" fmla="*/ 791788 w 11269336"/>
              <a:gd name="connsiteY243" fmla="*/ 2293224 h 2323145"/>
              <a:gd name="connsiteX244" fmla="*/ 706914 w 11269336"/>
              <a:gd name="connsiteY244" fmla="*/ 2305046 h 2323145"/>
              <a:gd name="connsiteX245" fmla="*/ 675971 w 11269336"/>
              <a:gd name="connsiteY245" fmla="*/ 2304030 h 2323145"/>
              <a:gd name="connsiteX246" fmla="*/ 624180 w 11269336"/>
              <a:gd name="connsiteY246" fmla="*/ 2302650 h 2323145"/>
              <a:gd name="connsiteX247" fmla="*/ 583453 w 11269336"/>
              <a:gd name="connsiteY247" fmla="*/ 2288788 h 2323145"/>
              <a:gd name="connsiteX248" fmla="*/ 540946 w 11269336"/>
              <a:gd name="connsiteY248" fmla="*/ 2292721 h 2323145"/>
              <a:gd name="connsiteX249" fmla="*/ 533680 w 11269336"/>
              <a:gd name="connsiteY249" fmla="*/ 2310233 h 2323145"/>
              <a:gd name="connsiteX250" fmla="*/ 487366 w 11269336"/>
              <a:gd name="connsiteY250" fmla="*/ 2309053 h 2323145"/>
              <a:gd name="connsiteX251" fmla="*/ 416820 w 11269336"/>
              <a:gd name="connsiteY251" fmla="*/ 2305443 h 2323145"/>
              <a:gd name="connsiteX252" fmla="*/ 376805 w 11269336"/>
              <a:gd name="connsiteY252" fmla="*/ 2307647 h 2323145"/>
              <a:gd name="connsiteX253" fmla="*/ 266777 w 11269336"/>
              <a:gd name="connsiteY253" fmla="*/ 2309012 h 2323145"/>
              <a:gd name="connsiteX254" fmla="*/ 156013 w 11269336"/>
              <a:gd name="connsiteY254" fmla="*/ 2306832 h 2323145"/>
              <a:gd name="connsiteX255" fmla="*/ 87258 w 11269336"/>
              <a:gd name="connsiteY255" fmla="*/ 2285511 h 2323145"/>
              <a:gd name="connsiteX256" fmla="*/ 23798 w 11269336"/>
              <a:gd name="connsiteY256" fmla="*/ 2281822 h 2323145"/>
              <a:gd name="connsiteX257" fmla="*/ 0 w 11269336"/>
              <a:gd name="connsiteY257" fmla="*/ 2285369 h 2323145"/>
              <a:gd name="connsiteX258" fmla="*/ 0 w 11269336"/>
              <a:gd name="connsiteY258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20601 w 11269336"/>
              <a:gd name="connsiteY146" fmla="*/ 2205158 h 2323145"/>
              <a:gd name="connsiteX147" fmla="*/ 4405765 w 11269336"/>
              <a:gd name="connsiteY147" fmla="*/ 2199902 h 2323145"/>
              <a:gd name="connsiteX148" fmla="*/ 4401354 w 11269336"/>
              <a:gd name="connsiteY148" fmla="*/ 2194745 h 2323145"/>
              <a:gd name="connsiteX149" fmla="*/ 4366646 w 11269336"/>
              <a:gd name="connsiteY149" fmla="*/ 2198564 h 2323145"/>
              <a:gd name="connsiteX150" fmla="*/ 4354009 w 11269336"/>
              <a:gd name="connsiteY150" fmla="*/ 2204984 h 2323145"/>
              <a:gd name="connsiteX151" fmla="*/ 4348284 w 11269336"/>
              <a:gd name="connsiteY151" fmla="*/ 2205270 h 2323145"/>
              <a:gd name="connsiteX152" fmla="*/ 4333906 w 11269336"/>
              <a:gd name="connsiteY152" fmla="*/ 2205251 h 2323145"/>
              <a:gd name="connsiteX153" fmla="*/ 4308819 w 11269336"/>
              <a:gd name="connsiteY153" fmla="*/ 2203822 h 2323145"/>
              <a:gd name="connsiteX154" fmla="*/ 4301210 w 11269336"/>
              <a:gd name="connsiteY154" fmla="*/ 2204456 h 2323145"/>
              <a:gd name="connsiteX155" fmla="*/ 4283095 w 11269336"/>
              <a:gd name="connsiteY155" fmla="*/ 2198177 h 2323145"/>
              <a:gd name="connsiteX156" fmla="*/ 4250119 w 11269336"/>
              <a:gd name="connsiteY156" fmla="*/ 2196342 h 2323145"/>
              <a:gd name="connsiteX157" fmla="*/ 4189203 w 11269336"/>
              <a:gd name="connsiteY157" fmla="*/ 2178994 h 2323145"/>
              <a:gd name="connsiteX158" fmla="*/ 4154035 w 11269336"/>
              <a:gd name="connsiteY158" fmla="*/ 2171950 h 2323145"/>
              <a:gd name="connsiteX159" fmla="*/ 4129569 w 11269336"/>
              <a:gd name="connsiteY159" fmla="*/ 2163850 h 2323145"/>
              <a:gd name="connsiteX160" fmla="*/ 4061250 w 11269336"/>
              <a:gd name="connsiteY160" fmla="*/ 2159236 h 2323145"/>
              <a:gd name="connsiteX161" fmla="*/ 3945480 w 11269336"/>
              <a:gd name="connsiteY161" fmla="*/ 2158279 h 2323145"/>
              <a:gd name="connsiteX162" fmla="*/ 3921468 w 11269336"/>
              <a:gd name="connsiteY162" fmla="*/ 2156588 h 2323145"/>
              <a:gd name="connsiteX163" fmla="*/ 3903348 w 11269336"/>
              <a:gd name="connsiteY163" fmla="*/ 2149220 h 2323145"/>
              <a:gd name="connsiteX164" fmla="*/ 3901342 w 11269336"/>
              <a:gd name="connsiteY164" fmla="*/ 2142355 h 2323145"/>
              <a:gd name="connsiteX165" fmla="*/ 3888539 w 11269336"/>
              <a:gd name="connsiteY165" fmla="*/ 2140476 h 2323145"/>
              <a:gd name="connsiteX166" fmla="*/ 3885662 w 11269336"/>
              <a:gd name="connsiteY166" fmla="*/ 2138740 h 2323145"/>
              <a:gd name="connsiteX167" fmla="*/ 3868627 w 11269336"/>
              <a:gd name="connsiteY167" fmla="*/ 2130023 h 2323145"/>
              <a:gd name="connsiteX168" fmla="*/ 3819177 w 11269336"/>
              <a:gd name="connsiteY168" fmla="*/ 2142111 h 2323145"/>
              <a:gd name="connsiteX169" fmla="*/ 3769100 w 11269336"/>
              <a:gd name="connsiteY169" fmla="*/ 2131731 h 2323145"/>
              <a:gd name="connsiteX170" fmla="*/ 3562752 w 11269336"/>
              <a:gd name="connsiteY170" fmla="*/ 2131785 h 2323145"/>
              <a:gd name="connsiteX171" fmla="*/ 3541402 w 11269336"/>
              <a:gd name="connsiteY171" fmla="*/ 2106821 h 2323145"/>
              <a:gd name="connsiteX172" fmla="*/ 3365341 w 11269336"/>
              <a:gd name="connsiteY172" fmla="*/ 2077638 h 2323145"/>
              <a:gd name="connsiteX173" fmla="*/ 3170922 w 11269336"/>
              <a:gd name="connsiteY173" fmla="*/ 2115957 h 2323145"/>
              <a:gd name="connsiteX174" fmla="*/ 3156256 w 11269336"/>
              <a:gd name="connsiteY174" fmla="*/ 2124773 h 2323145"/>
              <a:gd name="connsiteX175" fmla="*/ 3140298 w 11269336"/>
              <a:gd name="connsiteY175" fmla="*/ 2129182 h 2323145"/>
              <a:gd name="connsiteX176" fmla="*/ 3138514 w 11269336"/>
              <a:gd name="connsiteY176" fmla="*/ 2128069 h 2323145"/>
              <a:gd name="connsiteX177" fmla="*/ 3120467 w 11269336"/>
              <a:gd name="connsiteY177" fmla="*/ 2128281 h 2323145"/>
              <a:gd name="connsiteX178" fmla="*/ 3116175 w 11269336"/>
              <a:gd name="connsiteY178" fmla="*/ 2131633 h 2323145"/>
              <a:gd name="connsiteX179" fmla="*/ 3103685 w 11269336"/>
              <a:gd name="connsiteY179" fmla="*/ 2132814 h 2323145"/>
              <a:gd name="connsiteX180" fmla="*/ 3078794 w 11269336"/>
              <a:gd name="connsiteY180" fmla="*/ 2137935 h 2323145"/>
              <a:gd name="connsiteX181" fmla="*/ 3074407 w 11269336"/>
              <a:gd name="connsiteY181" fmla="*/ 2136274 h 2323145"/>
              <a:gd name="connsiteX182" fmla="*/ 3037285 w 11269336"/>
              <a:gd name="connsiteY182" fmla="*/ 2139919 h 2323145"/>
              <a:gd name="connsiteX183" fmla="*/ 3036901 w 11269336"/>
              <a:gd name="connsiteY183" fmla="*/ 2138726 h 2323145"/>
              <a:gd name="connsiteX184" fmla="*/ 3026996 w 11269336"/>
              <a:gd name="connsiteY184" fmla="*/ 2134322 h 2323145"/>
              <a:gd name="connsiteX185" fmla="*/ 3007772 w 11269336"/>
              <a:gd name="connsiteY185" fmla="*/ 2128742 h 2323145"/>
              <a:gd name="connsiteX186" fmla="*/ 2965030 w 11269336"/>
              <a:gd name="connsiteY186" fmla="*/ 2100494 h 2323145"/>
              <a:gd name="connsiteX187" fmla="*/ 2926342 w 11269336"/>
              <a:gd name="connsiteY187" fmla="*/ 2104155 h 2323145"/>
              <a:gd name="connsiteX188" fmla="*/ 2918608 w 11269336"/>
              <a:gd name="connsiteY188" fmla="*/ 2104215 h 2323145"/>
              <a:gd name="connsiteX189" fmla="*/ 2918475 w 11269336"/>
              <a:gd name="connsiteY189" fmla="*/ 2103937 h 2323145"/>
              <a:gd name="connsiteX190" fmla="*/ 2910360 w 11269336"/>
              <a:gd name="connsiteY190" fmla="*/ 2103444 h 2323145"/>
              <a:gd name="connsiteX191" fmla="*/ 2904507 w 11269336"/>
              <a:gd name="connsiteY191" fmla="*/ 2104326 h 2323145"/>
              <a:gd name="connsiteX192" fmla="*/ 2889503 w 11269336"/>
              <a:gd name="connsiteY192" fmla="*/ 2104443 h 2323145"/>
              <a:gd name="connsiteX193" fmla="*/ 2884480 w 11269336"/>
              <a:gd name="connsiteY193" fmla="*/ 2102626 h 2323145"/>
              <a:gd name="connsiteX194" fmla="*/ 2882689 w 11269336"/>
              <a:gd name="connsiteY194" fmla="*/ 2099228 h 2323145"/>
              <a:gd name="connsiteX195" fmla="*/ 2881291 w 11269336"/>
              <a:gd name="connsiteY195" fmla="*/ 2099618 h 2323145"/>
              <a:gd name="connsiteX196" fmla="*/ 2853979 w 11269336"/>
              <a:gd name="connsiteY196" fmla="*/ 2090388 h 2323145"/>
              <a:gd name="connsiteX197" fmla="*/ 2791790 w 11269336"/>
              <a:gd name="connsiteY197" fmla="*/ 2080332 h 2323145"/>
              <a:gd name="connsiteX198" fmla="*/ 2755844 w 11269336"/>
              <a:gd name="connsiteY198" fmla="*/ 2078874 h 2323145"/>
              <a:gd name="connsiteX199" fmla="*/ 2657742 w 11269336"/>
              <a:gd name="connsiteY199" fmla="*/ 2070179 h 2323145"/>
              <a:gd name="connsiteX200" fmla="*/ 2559549 w 11269336"/>
              <a:gd name="connsiteY200" fmla="*/ 2057873 h 2323145"/>
              <a:gd name="connsiteX201" fmla="*/ 2512054 w 11269336"/>
              <a:gd name="connsiteY201" fmla="*/ 2031671 h 2323145"/>
              <a:gd name="connsiteX202" fmla="*/ 2506437 w 11269336"/>
              <a:gd name="connsiteY202" fmla="*/ 2030918 h 2323145"/>
              <a:gd name="connsiteX203" fmla="*/ 2491752 w 11269336"/>
              <a:gd name="connsiteY203" fmla="*/ 2033906 h 2323145"/>
              <a:gd name="connsiteX204" fmla="*/ 2486338 w 11269336"/>
              <a:gd name="connsiteY204" fmla="*/ 2035862 h 2323145"/>
              <a:gd name="connsiteX205" fmla="*/ 2478186 w 11269336"/>
              <a:gd name="connsiteY205" fmla="*/ 2036953 h 2323145"/>
              <a:gd name="connsiteX206" fmla="*/ 2477950 w 11269336"/>
              <a:gd name="connsiteY206" fmla="*/ 2036715 h 2323145"/>
              <a:gd name="connsiteX207" fmla="*/ 2470381 w 11269336"/>
              <a:gd name="connsiteY207" fmla="*/ 2038256 h 2323145"/>
              <a:gd name="connsiteX208" fmla="*/ 2433781 w 11269336"/>
              <a:gd name="connsiteY208" fmla="*/ 2049140 h 2323145"/>
              <a:gd name="connsiteX209" fmla="*/ 2381172 w 11269336"/>
              <a:gd name="connsiteY209" fmla="*/ 2030645 h 2323145"/>
              <a:gd name="connsiteX210" fmla="*/ 2360198 w 11269336"/>
              <a:gd name="connsiteY210" fmla="*/ 2029059 h 2323145"/>
              <a:gd name="connsiteX211" fmla="*/ 2348815 w 11269336"/>
              <a:gd name="connsiteY211" fmla="*/ 2026798 h 2323145"/>
              <a:gd name="connsiteX212" fmla="*/ 2347988 w 11269336"/>
              <a:gd name="connsiteY212" fmla="*/ 2025745 h 2323145"/>
              <a:gd name="connsiteX213" fmla="*/ 2312920 w 11269336"/>
              <a:gd name="connsiteY213" fmla="*/ 2036311 h 2323145"/>
              <a:gd name="connsiteX214" fmla="*/ 2307986 w 11269336"/>
              <a:gd name="connsiteY214" fmla="*/ 2035583 h 2323145"/>
              <a:gd name="connsiteX215" fmla="*/ 2285481 w 11269336"/>
              <a:gd name="connsiteY215" fmla="*/ 2045197 h 2323145"/>
              <a:gd name="connsiteX216" fmla="*/ 2273666 w 11269336"/>
              <a:gd name="connsiteY216" fmla="*/ 2048710 h 2323145"/>
              <a:gd name="connsiteX217" fmla="*/ 2270719 w 11269336"/>
              <a:gd name="connsiteY217" fmla="*/ 2052702 h 2323145"/>
              <a:gd name="connsiteX218" fmla="*/ 2253080 w 11269336"/>
              <a:gd name="connsiteY218" fmla="*/ 2056363 h 2323145"/>
              <a:gd name="connsiteX219" fmla="*/ 2250906 w 11269336"/>
              <a:gd name="connsiteY219" fmla="*/ 2055654 h 2323145"/>
              <a:gd name="connsiteX220" fmla="*/ 2236905 w 11269336"/>
              <a:gd name="connsiteY220" fmla="*/ 2062882 h 2323145"/>
              <a:gd name="connsiteX221" fmla="*/ 2225830 w 11269336"/>
              <a:gd name="connsiteY221" fmla="*/ 2074027 h 2323145"/>
              <a:gd name="connsiteX222" fmla="*/ 2073776 w 11269336"/>
              <a:gd name="connsiteY222" fmla="*/ 2089244 h 2323145"/>
              <a:gd name="connsiteX223" fmla="*/ 1948256 w 11269336"/>
              <a:gd name="connsiteY223" fmla="*/ 2146616 h 2323145"/>
              <a:gd name="connsiteX224" fmla="*/ 1865582 w 11269336"/>
              <a:gd name="connsiteY224" fmla="*/ 2153738 h 2323145"/>
              <a:gd name="connsiteX225" fmla="*/ 1835210 w 11269336"/>
              <a:gd name="connsiteY225" fmla="*/ 2134244 h 2323145"/>
              <a:gd name="connsiteX226" fmla="*/ 1632661 w 11269336"/>
              <a:gd name="connsiteY226" fmla="*/ 2173882 h 2323145"/>
              <a:gd name="connsiteX227" fmla="*/ 1579590 w 11269336"/>
              <a:gd name="connsiteY227" fmla="*/ 2173680 h 2323145"/>
              <a:gd name="connsiteX228" fmla="*/ 1535601 w 11269336"/>
              <a:gd name="connsiteY228" fmla="*/ 2194590 h 2323145"/>
              <a:gd name="connsiteX229" fmla="*/ 1515594 w 11269336"/>
              <a:gd name="connsiteY229" fmla="*/ 2189622 h 2323145"/>
              <a:gd name="connsiteX230" fmla="*/ 1512113 w 11269336"/>
              <a:gd name="connsiteY230" fmla="*/ 2188534 h 2323145"/>
              <a:gd name="connsiteX231" fmla="*/ 1498838 w 11269336"/>
              <a:gd name="connsiteY231" fmla="*/ 2189213 h 2323145"/>
              <a:gd name="connsiteX232" fmla="*/ 1494279 w 11269336"/>
              <a:gd name="connsiteY232" fmla="*/ 2183112 h 2323145"/>
              <a:gd name="connsiteX233" fmla="*/ 1473714 w 11269336"/>
              <a:gd name="connsiteY233" fmla="*/ 2179625 h 2323145"/>
              <a:gd name="connsiteX234" fmla="*/ 1449503 w 11269336"/>
              <a:gd name="connsiteY234" fmla="*/ 2182633 h 2323145"/>
              <a:gd name="connsiteX235" fmla="*/ 1266687 w 11269336"/>
              <a:gd name="connsiteY235" fmla="*/ 2212688 h 2323145"/>
              <a:gd name="connsiteX236" fmla="*/ 1239614 w 11269336"/>
              <a:gd name="connsiteY236" fmla="*/ 2209727 h 2323145"/>
              <a:gd name="connsiteX237" fmla="*/ 1202436 w 11269336"/>
              <a:gd name="connsiteY237" fmla="*/ 2209817 h 2323145"/>
              <a:gd name="connsiteX238" fmla="*/ 1136097 w 11269336"/>
              <a:gd name="connsiteY238" fmla="*/ 2205112 h 2323145"/>
              <a:gd name="connsiteX239" fmla="*/ 988232 w 11269336"/>
              <a:gd name="connsiteY239" fmla="*/ 2235635 h 2323145"/>
              <a:gd name="connsiteX240" fmla="*/ 981959 w 11269336"/>
              <a:gd name="connsiteY240" fmla="*/ 2231607 h 2323145"/>
              <a:gd name="connsiteX241" fmla="*/ 938600 w 11269336"/>
              <a:gd name="connsiteY241" fmla="*/ 2238113 h 2323145"/>
              <a:gd name="connsiteX242" fmla="*/ 791788 w 11269336"/>
              <a:gd name="connsiteY242" fmla="*/ 2293224 h 2323145"/>
              <a:gd name="connsiteX243" fmla="*/ 706914 w 11269336"/>
              <a:gd name="connsiteY243" fmla="*/ 2305046 h 2323145"/>
              <a:gd name="connsiteX244" fmla="*/ 675971 w 11269336"/>
              <a:gd name="connsiteY244" fmla="*/ 2304030 h 2323145"/>
              <a:gd name="connsiteX245" fmla="*/ 624180 w 11269336"/>
              <a:gd name="connsiteY245" fmla="*/ 2302650 h 2323145"/>
              <a:gd name="connsiteX246" fmla="*/ 583453 w 11269336"/>
              <a:gd name="connsiteY246" fmla="*/ 2288788 h 2323145"/>
              <a:gd name="connsiteX247" fmla="*/ 540946 w 11269336"/>
              <a:gd name="connsiteY247" fmla="*/ 2292721 h 2323145"/>
              <a:gd name="connsiteX248" fmla="*/ 533680 w 11269336"/>
              <a:gd name="connsiteY248" fmla="*/ 2310233 h 2323145"/>
              <a:gd name="connsiteX249" fmla="*/ 487366 w 11269336"/>
              <a:gd name="connsiteY249" fmla="*/ 2309053 h 2323145"/>
              <a:gd name="connsiteX250" fmla="*/ 416820 w 11269336"/>
              <a:gd name="connsiteY250" fmla="*/ 2305443 h 2323145"/>
              <a:gd name="connsiteX251" fmla="*/ 376805 w 11269336"/>
              <a:gd name="connsiteY251" fmla="*/ 2307647 h 2323145"/>
              <a:gd name="connsiteX252" fmla="*/ 266777 w 11269336"/>
              <a:gd name="connsiteY252" fmla="*/ 2309012 h 2323145"/>
              <a:gd name="connsiteX253" fmla="*/ 156013 w 11269336"/>
              <a:gd name="connsiteY253" fmla="*/ 2306832 h 2323145"/>
              <a:gd name="connsiteX254" fmla="*/ 87258 w 11269336"/>
              <a:gd name="connsiteY254" fmla="*/ 2285511 h 2323145"/>
              <a:gd name="connsiteX255" fmla="*/ 23798 w 11269336"/>
              <a:gd name="connsiteY255" fmla="*/ 2281822 h 2323145"/>
              <a:gd name="connsiteX256" fmla="*/ 0 w 11269336"/>
              <a:gd name="connsiteY256" fmla="*/ 2285369 h 2323145"/>
              <a:gd name="connsiteX257" fmla="*/ 0 w 11269336"/>
              <a:gd name="connsiteY257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05765 w 11269336"/>
              <a:gd name="connsiteY146" fmla="*/ 2199902 h 2323145"/>
              <a:gd name="connsiteX147" fmla="*/ 4401354 w 11269336"/>
              <a:gd name="connsiteY147" fmla="*/ 2194745 h 2323145"/>
              <a:gd name="connsiteX148" fmla="*/ 4366646 w 11269336"/>
              <a:gd name="connsiteY148" fmla="*/ 2198564 h 2323145"/>
              <a:gd name="connsiteX149" fmla="*/ 4354009 w 11269336"/>
              <a:gd name="connsiteY149" fmla="*/ 2204984 h 2323145"/>
              <a:gd name="connsiteX150" fmla="*/ 4348284 w 11269336"/>
              <a:gd name="connsiteY150" fmla="*/ 2205270 h 2323145"/>
              <a:gd name="connsiteX151" fmla="*/ 4333906 w 11269336"/>
              <a:gd name="connsiteY151" fmla="*/ 2205251 h 2323145"/>
              <a:gd name="connsiteX152" fmla="*/ 4308819 w 11269336"/>
              <a:gd name="connsiteY152" fmla="*/ 2203822 h 2323145"/>
              <a:gd name="connsiteX153" fmla="*/ 4301210 w 11269336"/>
              <a:gd name="connsiteY153" fmla="*/ 2204456 h 2323145"/>
              <a:gd name="connsiteX154" fmla="*/ 4283095 w 11269336"/>
              <a:gd name="connsiteY154" fmla="*/ 2198177 h 2323145"/>
              <a:gd name="connsiteX155" fmla="*/ 4250119 w 11269336"/>
              <a:gd name="connsiteY155" fmla="*/ 2196342 h 2323145"/>
              <a:gd name="connsiteX156" fmla="*/ 4189203 w 11269336"/>
              <a:gd name="connsiteY156" fmla="*/ 2178994 h 2323145"/>
              <a:gd name="connsiteX157" fmla="*/ 4154035 w 11269336"/>
              <a:gd name="connsiteY157" fmla="*/ 2171950 h 2323145"/>
              <a:gd name="connsiteX158" fmla="*/ 4129569 w 11269336"/>
              <a:gd name="connsiteY158" fmla="*/ 2163850 h 2323145"/>
              <a:gd name="connsiteX159" fmla="*/ 4061250 w 11269336"/>
              <a:gd name="connsiteY159" fmla="*/ 2159236 h 2323145"/>
              <a:gd name="connsiteX160" fmla="*/ 3945480 w 11269336"/>
              <a:gd name="connsiteY160" fmla="*/ 2158279 h 2323145"/>
              <a:gd name="connsiteX161" fmla="*/ 3921468 w 11269336"/>
              <a:gd name="connsiteY161" fmla="*/ 2156588 h 2323145"/>
              <a:gd name="connsiteX162" fmla="*/ 3903348 w 11269336"/>
              <a:gd name="connsiteY162" fmla="*/ 2149220 h 2323145"/>
              <a:gd name="connsiteX163" fmla="*/ 3901342 w 11269336"/>
              <a:gd name="connsiteY163" fmla="*/ 2142355 h 2323145"/>
              <a:gd name="connsiteX164" fmla="*/ 3888539 w 11269336"/>
              <a:gd name="connsiteY164" fmla="*/ 2140476 h 2323145"/>
              <a:gd name="connsiteX165" fmla="*/ 3885662 w 11269336"/>
              <a:gd name="connsiteY165" fmla="*/ 2138740 h 2323145"/>
              <a:gd name="connsiteX166" fmla="*/ 3868627 w 11269336"/>
              <a:gd name="connsiteY166" fmla="*/ 2130023 h 2323145"/>
              <a:gd name="connsiteX167" fmla="*/ 3819177 w 11269336"/>
              <a:gd name="connsiteY167" fmla="*/ 2142111 h 2323145"/>
              <a:gd name="connsiteX168" fmla="*/ 3769100 w 11269336"/>
              <a:gd name="connsiteY168" fmla="*/ 2131731 h 2323145"/>
              <a:gd name="connsiteX169" fmla="*/ 3562752 w 11269336"/>
              <a:gd name="connsiteY169" fmla="*/ 2131785 h 2323145"/>
              <a:gd name="connsiteX170" fmla="*/ 3541402 w 11269336"/>
              <a:gd name="connsiteY170" fmla="*/ 2106821 h 2323145"/>
              <a:gd name="connsiteX171" fmla="*/ 3365341 w 11269336"/>
              <a:gd name="connsiteY171" fmla="*/ 2077638 h 2323145"/>
              <a:gd name="connsiteX172" fmla="*/ 3170922 w 11269336"/>
              <a:gd name="connsiteY172" fmla="*/ 2115957 h 2323145"/>
              <a:gd name="connsiteX173" fmla="*/ 3156256 w 11269336"/>
              <a:gd name="connsiteY173" fmla="*/ 2124773 h 2323145"/>
              <a:gd name="connsiteX174" fmla="*/ 3140298 w 11269336"/>
              <a:gd name="connsiteY174" fmla="*/ 2129182 h 2323145"/>
              <a:gd name="connsiteX175" fmla="*/ 3138514 w 11269336"/>
              <a:gd name="connsiteY175" fmla="*/ 2128069 h 2323145"/>
              <a:gd name="connsiteX176" fmla="*/ 3120467 w 11269336"/>
              <a:gd name="connsiteY176" fmla="*/ 2128281 h 2323145"/>
              <a:gd name="connsiteX177" fmla="*/ 3116175 w 11269336"/>
              <a:gd name="connsiteY177" fmla="*/ 2131633 h 2323145"/>
              <a:gd name="connsiteX178" fmla="*/ 3103685 w 11269336"/>
              <a:gd name="connsiteY178" fmla="*/ 2132814 h 2323145"/>
              <a:gd name="connsiteX179" fmla="*/ 3078794 w 11269336"/>
              <a:gd name="connsiteY179" fmla="*/ 2137935 h 2323145"/>
              <a:gd name="connsiteX180" fmla="*/ 3074407 w 11269336"/>
              <a:gd name="connsiteY180" fmla="*/ 2136274 h 2323145"/>
              <a:gd name="connsiteX181" fmla="*/ 3037285 w 11269336"/>
              <a:gd name="connsiteY181" fmla="*/ 2139919 h 2323145"/>
              <a:gd name="connsiteX182" fmla="*/ 3036901 w 11269336"/>
              <a:gd name="connsiteY182" fmla="*/ 2138726 h 2323145"/>
              <a:gd name="connsiteX183" fmla="*/ 3026996 w 11269336"/>
              <a:gd name="connsiteY183" fmla="*/ 2134322 h 2323145"/>
              <a:gd name="connsiteX184" fmla="*/ 3007772 w 11269336"/>
              <a:gd name="connsiteY184" fmla="*/ 2128742 h 2323145"/>
              <a:gd name="connsiteX185" fmla="*/ 2965030 w 11269336"/>
              <a:gd name="connsiteY185" fmla="*/ 2100494 h 2323145"/>
              <a:gd name="connsiteX186" fmla="*/ 2926342 w 11269336"/>
              <a:gd name="connsiteY186" fmla="*/ 2104155 h 2323145"/>
              <a:gd name="connsiteX187" fmla="*/ 2918608 w 11269336"/>
              <a:gd name="connsiteY187" fmla="*/ 2104215 h 2323145"/>
              <a:gd name="connsiteX188" fmla="*/ 2918475 w 11269336"/>
              <a:gd name="connsiteY188" fmla="*/ 2103937 h 2323145"/>
              <a:gd name="connsiteX189" fmla="*/ 2910360 w 11269336"/>
              <a:gd name="connsiteY189" fmla="*/ 2103444 h 2323145"/>
              <a:gd name="connsiteX190" fmla="*/ 2904507 w 11269336"/>
              <a:gd name="connsiteY190" fmla="*/ 2104326 h 2323145"/>
              <a:gd name="connsiteX191" fmla="*/ 2889503 w 11269336"/>
              <a:gd name="connsiteY191" fmla="*/ 2104443 h 2323145"/>
              <a:gd name="connsiteX192" fmla="*/ 2884480 w 11269336"/>
              <a:gd name="connsiteY192" fmla="*/ 2102626 h 2323145"/>
              <a:gd name="connsiteX193" fmla="*/ 2882689 w 11269336"/>
              <a:gd name="connsiteY193" fmla="*/ 2099228 h 2323145"/>
              <a:gd name="connsiteX194" fmla="*/ 2881291 w 11269336"/>
              <a:gd name="connsiteY194" fmla="*/ 2099618 h 2323145"/>
              <a:gd name="connsiteX195" fmla="*/ 2853979 w 11269336"/>
              <a:gd name="connsiteY195" fmla="*/ 2090388 h 2323145"/>
              <a:gd name="connsiteX196" fmla="*/ 2791790 w 11269336"/>
              <a:gd name="connsiteY196" fmla="*/ 2080332 h 2323145"/>
              <a:gd name="connsiteX197" fmla="*/ 2755844 w 11269336"/>
              <a:gd name="connsiteY197" fmla="*/ 2078874 h 2323145"/>
              <a:gd name="connsiteX198" fmla="*/ 2657742 w 11269336"/>
              <a:gd name="connsiteY198" fmla="*/ 2070179 h 2323145"/>
              <a:gd name="connsiteX199" fmla="*/ 2559549 w 11269336"/>
              <a:gd name="connsiteY199" fmla="*/ 2057873 h 2323145"/>
              <a:gd name="connsiteX200" fmla="*/ 2512054 w 11269336"/>
              <a:gd name="connsiteY200" fmla="*/ 2031671 h 2323145"/>
              <a:gd name="connsiteX201" fmla="*/ 2506437 w 11269336"/>
              <a:gd name="connsiteY201" fmla="*/ 2030918 h 2323145"/>
              <a:gd name="connsiteX202" fmla="*/ 2491752 w 11269336"/>
              <a:gd name="connsiteY202" fmla="*/ 2033906 h 2323145"/>
              <a:gd name="connsiteX203" fmla="*/ 2486338 w 11269336"/>
              <a:gd name="connsiteY203" fmla="*/ 2035862 h 2323145"/>
              <a:gd name="connsiteX204" fmla="*/ 2478186 w 11269336"/>
              <a:gd name="connsiteY204" fmla="*/ 2036953 h 2323145"/>
              <a:gd name="connsiteX205" fmla="*/ 2477950 w 11269336"/>
              <a:gd name="connsiteY205" fmla="*/ 2036715 h 2323145"/>
              <a:gd name="connsiteX206" fmla="*/ 2470381 w 11269336"/>
              <a:gd name="connsiteY206" fmla="*/ 2038256 h 2323145"/>
              <a:gd name="connsiteX207" fmla="*/ 2433781 w 11269336"/>
              <a:gd name="connsiteY207" fmla="*/ 2049140 h 2323145"/>
              <a:gd name="connsiteX208" fmla="*/ 2381172 w 11269336"/>
              <a:gd name="connsiteY208" fmla="*/ 2030645 h 2323145"/>
              <a:gd name="connsiteX209" fmla="*/ 2360198 w 11269336"/>
              <a:gd name="connsiteY209" fmla="*/ 2029059 h 2323145"/>
              <a:gd name="connsiteX210" fmla="*/ 2348815 w 11269336"/>
              <a:gd name="connsiteY210" fmla="*/ 2026798 h 2323145"/>
              <a:gd name="connsiteX211" fmla="*/ 2347988 w 11269336"/>
              <a:gd name="connsiteY211" fmla="*/ 2025745 h 2323145"/>
              <a:gd name="connsiteX212" fmla="*/ 2312920 w 11269336"/>
              <a:gd name="connsiteY212" fmla="*/ 2036311 h 2323145"/>
              <a:gd name="connsiteX213" fmla="*/ 2307986 w 11269336"/>
              <a:gd name="connsiteY213" fmla="*/ 2035583 h 2323145"/>
              <a:gd name="connsiteX214" fmla="*/ 2285481 w 11269336"/>
              <a:gd name="connsiteY214" fmla="*/ 2045197 h 2323145"/>
              <a:gd name="connsiteX215" fmla="*/ 2273666 w 11269336"/>
              <a:gd name="connsiteY215" fmla="*/ 2048710 h 2323145"/>
              <a:gd name="connsiteX216" fmla="*/ 2270719 w 11269336"/>
              <a:gd name="connsiteY216" fmla="*/ 2052702 h 2323145"/>
              <a:gd name="connsiteX217" fmla="*/ 2253080 w 11269336"/>
              <a:gd name="connsiteY217" fmla="*/ 2056363 h 2323145"/>
              <a:gd name="connsiteX218" fmla="*/ 2250906 w 11269336"/>
              <a:gd name="connsiteY218" fmla="*/ 2055654 h 2323145"/>
              <a:gd name="connsiteX219" fmla="*/ 2236905 w 11269336"/>
              <a:gd name="connsiteY219" fmla="*/ 2062882 h 2323145"/>
              <a:gd name="connsiteX220" fmla="*/ 2225830 w 11269336"/>
              <a:gd name="connsiteY220" fmla="*/ 2074027 h 2323145"/>
              <a:gd name="connsiteX221" fmla="*/ 2073776 w 11269336"/>
              <a:gd name="connsiteY221" fmla="*/ 2089244 h 2323145"/>
              <a:gd name="connsiteX222" fmla="*/ 1948256 w 11269336"/>
              <a:gd name="connsiteY222" fmla="*/ 2146616 h 2323145"/>
              <a:gd name="connsiteX223" fmla="*/ 1865582 w 11269336"/>
              <a:gd name="connsiteY223" fmla="*/ 2153738 h 2323145"/>
              <a:gd name="connsiteX224" fmla="*/ 1835210 w 11269336"/>
              <a:gd name="connsiteY224" fmla="*/ 2134244 h 2323145"/>
              <a:gd name="connsiteX225" fmla="*/ 1632661 w 11269336"/>
              <a:gd name="connsiteY225" fmla="*/ 2173882 h 2323145"/>
              <a:gd name="connsiteX226" fmla="*/ 1579590 w 11269336"/>
              <a:gd name="connsiteY226" fmla="*/ 2173680 h 2323145"/>
              <a:gd name="connsiteX227" fmla="*/ 1535601 w 11269336"/>
              <a:gd name="connsiteY227" fmla="*/ 2194590 h 2323145"/>
              <a:gd name="connsiteX228" fmla="*/ 1515594 w 11269336"/>
              <a:gd name="connsiteY228" fmla="*/ 2189622 h 2323145"/>
              <a:gd name="connsiteX229" fmla="*/ 1512113 w 11269336"/>
              <a:gd name="connsiteY229" fmla="*/ 2188534 h 2323145"/>
              <a:gd name="connsiteX230" fmla="*/ 1498838 w 11269336"/>
              <a:gd name="connsiteY230" fmla="*/ 2189213 h 2323145"/>
              <a:gd name="connsiteX231" fmla="*/ 1494279 w 11269336"/>
              <a:gd name="connsiteY231" fmla="*/ 2183112 h 2323145"/>
              <a:gd name="connsiteX232" fmla="*/ 1473714 w 11269336"/>
              <a:gd name="connsiteY232" fmla="*/ 2179625 h 2323145"/>
              <a:gd name="connsiteX233" fmla="*/ 1449503 w 11269336"/>
              <a:gd name="connsiteY233" fmla="*/ 2182633 h 2323145"/>
              <a:gd name="connsiteX234" fmla="*/ 1266687 w 11269336"/>
              <a:gd name="connsiteY234" fmla="*/ 2212688 h 2323145"/>
              <a:gd name="connsiteX235" fmla="*/ 1239614 w 11269336"/>
              <a:gd name="connsiteY235" fmla="*/ 2209727 h 2323145"/>
              <a:gd name="connsiteX236" fmla="*/ 1202436 w 11269336"/>
              <a:gd name="connsiteY236" fmla="*/ 2209817 h 2323145"/>
              <a:gd name="connsiteX237" fmla="*/ 1136097 w 11269336"/>
              <a:gd name="connsiteY237" fmla="*/ 2205112 h 2323145"/>
              <a:gd name="connsiteX238" fmla="*/ 988232 w 11269336"/>
              <a:gd name="connsiteY238" fmla="*/ 2235635 h 2323145"/>
              <a:gd name="connsiteX239" fmla="*/ 981959 w 11269336"/>
              <a:gd name="connsiteY239" fmla="*/ 2231607 h 2323145"/>
              <a:gd name="connsiteX240" fmla="*/ 938600 w 11269336"/>
              <a:gd name="connsiteY240" fmla="*/ 2238113 h 2323145"/>
              <a:gd name="connsiteX241" fmla="*/ 791788 w 11269336"/>
              <a:gd name="connsiteY241" fmla="*/ 2293224 h 2323145"/>
              <a:gd name="connsiteX242" fmla="*/ 706914 w 11269336"/>
              <a:gd name="connsiteY242" fmla="*/ 2305046 h 2323145"/>
              <a:gd name="connsiteX243" fmla="*/ 675971 w 11269336"/>
              <a:gd name="connsiteY243" fmla="*/ 2304030 h 2323145"/>
              <a:gd name="connsiteX244" fmla="*/ 624180 w 11269336"/>
              <a:gd name="connsiteY244" fmla="*/ 2302650 h 2323145"/>
              <a:gd name="connsiteX245" fmla="*/ 583453 w 11269336"/>
              <a:gd name="connsiteY245" fmla="*/ 2288788 h 2323145"/>
              <a:gd name="connsiteX246" fmla="*/ 540946 w 11269336"/>
              <a:gd name="connsiteY246" fmla="*/ 2292721 h 2323145"/>
              <a:gd name="connsiteX247" fmla="*/ 533680 w 11269336"/>
              <a:gd name="connsiteY247" fmla="*/ 2310233 h 2323145"/>
              <a:gd name="connsiteX248" fmla="*/ 487366 w 11269336"/>
              <a:gd name="connsiteY248" fmla="*/ 2309053 h 2323145"/>
              <a:gd name="connsiteX249" fmla="*/ 416820 w 11269336"/>
              <a:gd name="connsiteY249" fmla="*/ 2305443 h 2323145"/>
              <a:gd name="connsiteX250" fmla="*/ 376805 w 11269336"/>
              <a:gd name="connsiteY250" fmla="*/ 2307647 h 2323145"/>
              <a:gd name="connsiteX251" fmla="*/ 266777 w 11269336"/>
              <a:gd name="connsiteY251" fmla="*/ 2309012 h 2323145"/>
              <a:gd name="connsiteX252" fmla="*/ 156013 w 11269336"/>
              <a:gd name="connsiteY252" fmla="*/ 2306832 h 2323145"/>
              <a:gd name="connsiteX253" fmla="*/ 87258 w 11269336"/>
              <a:gd name="connsiteY253" fmla="*/ 2285511 h 2323145"/>
              <a:gd name="connsiteX254" fmla="*/ 23798 w 11269336"/>
              <a:gd name="connsiteY254" fmla="*/ 2281822 h 2323145"/>
              <a:gd name="connsiteX255" fmla="*/ 0 w 11269336"/>
              <a:gd name="connsiteY255" fmla="*/ 2285369 h 2323145"/>
              <a:gd name="connsiteX256" fmla="*/ 0 w 11269336"/>
              <a:gd name="connsiteY25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05765 w 11269336"/>
              <a:gd name="connsiteY145" fmla="*/ 2199902 h 2323145"/>
              <a:gd name="connsiteX146" fmla="*/ 4401354 w 11269336"/>
              <a:gd name="connsiteY146" fmla="*/ 2194745 h 2323145"/>
              <a:gd name="connsiteX147" fmla="*/ 4366646 w 11269336"/>
              <a:gd name="connsiteY147" fmla="*/ 2198564 h 2323145"/>
              <a:gd name="connsiteX148" fmla="*/ 4354009 w 11269336"/>
              <a:gd name="connsiteY148" fmla="*/ 2204984 h 2323145"/>
              <a:gd name="connsiteX149" fmla="*/ 4348284 w 11269336"/>
              <a:gd name="connsiteY149" fmla="*/ 2205270 h 2323145"/>
              <a:gd name="connsiteX150" fmla="*/ 4333906 w 11269336"/>
              <a:gd name="connsiteY150" fmla="*/ 2205251 h 2323145"/>
              <a:gd name="connsiteX151" fmla="*/ 4308819 w 11269336"/>
              <a:gd name="connsiteY151" fmla="*/ 2203822 h 2323145"/>
              <a:gd name="connsiteX152" fmla="*/ 4301210 w 11269336"/>
              <a:gd name="connsiteY152" fmla="*/ 2204456 h 2323145"/>
              <a:gd name="connsiteX153" fmla="*/ 4283095 w 11269336"/>
              <a:gd name="connsiteY153" fmla="*/ 2198177 h 2323145"/>
              <a:gd name="connsiteX154" fmla="*/ 4250119 w 11269336"/>
              <a:gd name="connsiteY154" fmla="*/ 2196342 h 2323145"/>
              <a:gd name="connsiteX155" fmla="*/ 4189203 w 11269336"/>
              <a:gd name="connsiteY155" fmla="*/ 2178994 h 2323145"/>
              <a:gd name="connsiteX156" fmla="*/ 4154035 w 11269336"/>
              <a:gd name="connsiteY156" fmla="*/ 2171950 h 2323145"/>
              <a:gd name="connsiteX157" fmla="*/ 4129569 w 11269336"/>
              <a:gd name="connsiteY157" fmla="*/ 2163850 h 2323145"/>
              <a:gd name="connsiteX158" fmla="*/ 4061250 w 11269336"/>
              <a:gd name="connsiteY158" fmla="*/ 2159236 h 2323145"/>
              <a:gd name="connsiteX159" fmla="*/ 3945480 w 11269336"/>
              <a:gd name="connsiteY159" fmla="*/ 2158279 h 2323145"/>
              <a:gd name="connsiteX160" fmla="*/ 3921468 w 11269336"/>
              <a:gd name="connsiteY160" fmla="*/ 2156588 h 2323145"/>
              <a:gd name="connsiteX161" fmla="*/ 3903348 w 11269336"/>
              <a:gd name="connsiteY161" fmla="*/ 2149220 h 2323145"/>
              <a:gd name="connsiteX162" fmla="*/ 3901342 w 11269336"/>
              <a:gd name="connsiteY162" fmla="*/ 2142355 h 2323145"/>
              <a:gd name="connsiteX163" fmla="*/ 3888539 w 11269336"/>
              <a:gd name="connsiteY163" fmla="*/ 2140476 h 2323145"/>
              <a:gd name="connsiteX164" fmla="*/ 3885662 w 11269336"/>
              <a:gd name="connsiteY164" fmla="*/ 2138740 h 2323145"/>
              <a:gd name="connsiteX165" fmla="*/ 3868627 w 11269336"/>
              <a:gd name="connsiteY165" fmla="*/ 2130023 h 2323145"/>
              <a:gd name="connsiteX166" fmla="*/ 3819177 w 11269336"/>
              <a:gd name="connsiteY166" fmla="*/ 2142111 h 2323145"/>
              <a:gd name="connsiteX167" fmla="*/ 3769100 w 11269336"/>
              <a:gd name="connsiteY167" fmla="*/ 2131731 h 2323145"/>
              <a:gd name="connsiteX168" fmla="*/ 3562752 w 11269336"/>
              <a:gd name="connsiteY168" fmla="*/ 2131785 h 2323145"/>
              <a:gd name="connsiteX169" fmla="*/ 3541402 w 11269336"/>
              <a:gd name="connsiteY169" fmla="*/ 2106821 h 2323145"/>
              <a:gd name="connsiteX170" fmla="*/ 3365341 w 11269336"/>
              <a:gd name="connsiteY170" fmla="*/ 2077638 h 2323145"/>
              <a:gd name="connsiteX171" fmla="*/ 3170922 w 11269336"/>
              <a:gd name="connsiteY171" fmla="*/ 2115957 h 2323145"/>
              <a:gd name="connsiteX172" fmla="*/ 3156256 w 11269336"/>
              <a:gd name="connsiteY172" fmla="*/ 2124773 h 2323145"/>
              <a:gd name="connsiteX173" fmla="*/ 3140298 w 11269336"/>
              <a:gd name="connsiteY173" fmla="*/ 2129182 h 2323145"/>
              <a:gd name="connsiteX174" fmla="*/ 3138514 w 11269336"/>
              <a:gd name="connsiteY174" fmla="*/ 2128069 h 2323145"/>
              <a:gd name="connsiteX175" fmla="*/ 3120467 w 11269336"/>
              <a:gd name="connsiteY175" fmla="*/ 2128281 h 2323145"/>
              <a:gd name="connsiteX176" fmla="*/ 3116175 w 11269336"/>
              <a:gd name="connsiteY176" fmla="*/ 2131633 h 2323145"/>
              <a:gd name="connsiteX177" fmla="*/ 3103685 w 11269336"/>
              <a:gd name="connsiteY177" fmla="*/ 2132814 h 2323145"/>
              <a:gd name="connsiteX178" fmla="*/ 3078794 w 11269336"/>
              <a:gd name="connsiteY178" fmla="*/ 2137935 h 2323145"/>
              <a:gd name="connsiteX179" fmla="*/ 3074407 w 11269336"/>
              <a:gd name="connsiteY179" fmla="*/ 2136274 h 2323145"/>
              <a:gd name="connsiteX180" fmla="*/ 3037285 w 11269336"/>
              <a:gd name="connsiteY180" fmla="*/ 2139919 h 2323145"/>
              <a:gd name="connsiteX181" fmla="*/ 3036901 w 11269336"/>
              <a:gd name="connsiteY181" fmla="*/ 2138726 h 2323145"/>
              <a:gd name="connsiteX182" fmla="*/ 3026996 w 11269336"/>
              <a:gd name="connsiteY182" fmla="*/ 2134322 h 2323145"/>
              <a:gd name="connsiteX183" fmla="*/ 3007772 w 11269336"/>
              <a:gd name="connsiteY183" fmla="*/ 2128742 h 2323145"/>
              <a:gd name="connsiteX184" fmla="*/ 2965030 w 11269336"/>
              <a:gd name="connsiteY184" fmla="*/ 2100494 h 2323145"/>
              <a:gd name="connsiteX185" fmla="*/ 2926342 w 11269336"/>
              <a:gd name="connsiteY185" fmla="*/ 2104155 h 2323145"/>
              <a:gd name="connsiteX186" fmla="*/ 2918608 w 11269336"/>
              <a:gd name="connsiteY186" fmla="*/ 2104215 h 2323145"/>
              <a:gd name="connsiteX187" fmla="*/ 2918475 w 11269336"/>
              <a:gd name="connsiteY187" fmla="*/ 2103937 h 2323145"/>
              <a:gd name="connsiteX188" fmla="*/ 2910360 w 11269336"/>
              <a:gd name="connsiteY188" fmla="*/ 2103444 h 2323145"/>
              <a:gd name="connsiteX189" fmla="*/ 2904507 w 11269336"/>
              <a:gd name="connsiteY189" fmla="*/ 2104326 h 2323145"/>
              <a:gd name="connsiteX190" fmla="*/ 2889503 w 11269336"/>
              <a:gd name="connsiteY190" fmla="*/ 2104443 h 2323145"/>
              <a:gd name="connsiteX191" fmla="*/ 2884480 w 11269336"/>
              <a:gd name="connsiteY191" fmla="*/ 2102626 h 2323145"/>
              <a:gd name="connsiteX192" fmla="*/ 2882689 w 11269336"/>
              <a:gd name="connsiteY192" fmla="*/ 2099228 h 2323145"/>
              <a:gd name="connsiteX193" fmla="*/ 2881291 w 11269336"/>
              <a:gd name="connsiteY193" fmla="*/ 2099618 h 2323145"/>
              <a:gd name="connsiteX194" fmla="*/ 2853979 w 11269336"/>
              <a:gd name="connsiteY194" fmla="*/ 2090388 h 2323145"/>
              <a:gd name="connsiteX195" fmla="*/ 2791790 w 11269336"/>
              <a:gd name="connsiteY195" fmla="*/ 2080332 h 2323145"/>
              <a:gd name="connsiteX196" fmla="*/ 2755844 w 11269336"/>
              <a:gd name="connsiteY196" fmla="*/ 2078874 h 2323145"/>
              <a:gd name="connsiteX197" fmla="*/ 2657742 w 11269336"/>
              <a:gd name="connsiteY197" fmla="*/ 2070179 h 2323145"/>
              <a:gd name="connsiteX198" fmla="*/ 2559549 w 11269336"/>
              <a:gd name="connsiteY198" fmla="*/ 2057873 h 2323145"/>
              <a:gd name="connsiteX199" fmla="*/ 2512054 w 11269336"/>
              <a:gd name="connsiteY199" fmla="*/ 2031671 h 2323145"/>
              <a:gd name="connsiteX200" fmla="*/ 2506437 w 11269336"/>
              <a:gd name="connsiteY200" fmla="*/ 2030918 h 2323145"/>
              <a:gd name="connsiteX201" fmla="*/ 2491752 w 11269336"/>
              <a:gd name="connsiteY201" fmla="*/ 2033906 h 2323145"/>
              <a:gd name="connsiteX202" fmla="*/ 2486338 w 11269336"/>
              <a:gd name="connsiteY202" fmla="*/ 2035862 h 2323145"/>
              <a:gd name="connsiteX203" fmla="*/ 2478186 w 11269336"/>
              <a:gd name="connsiteY203" fmla="*/ 2036953 h 2323145"/>
              <a:gd name="connsiteX204" fmla="*/ 2477950 w 11269336"/>
              <a:gd name="connsiteY204" fmla="*/ 2036715 h 2323145"/>
              <a:gd name="connsiteX205" fmla="*/ 2470381 w 11269336"/>
              <a:gd name="connsiteY205" fmla="*/ 2038256 h 2323145"/>
              <a:gd name="connsiteX206" fmla="*/ 2433781 w 11269336"/>
              <a:gd name="connsiteY206" fmla="*/ 2049140 h 2323145"/>
              <a:gd name="connsiteX207" fmla="*/ 2381172 w 11269336"/>
              <a:gd name="connsiteY207" fmla="*/ 2030645 h 2323145"/>
              <a:gd name="connsiteX208" fmla="*/ 2360198 w 11269336"/>
              <a:gd name="connsiteY208" fmla="*/ 2029059 h 2323145"/>
              <a:gd name="connsiteX209" fmla="*/ 2348815 w 11269336"/>
              <a:gd name="connsiteY209" fmla="*/ 2026798 h 2323145"/>
              <a:gd name="connsiteX210" fmla="*/ 2347988 w 11269336"/>
              <a:gd name="connsiteY210" fmla="*/ 2025745 h 2323145"/>
              <a:gd name="connsiteX211" fmla="*/ 2312920 w 11269336"/>
              <a:gd name="connsiteY211" fmla="*/ 2036311 h 2323145"/>
              <a:gd name="connsiteX212" fmla="*/ 2307986 w 11269336"/>
              <a:gd name="connsiteY212" fmla="*/ 2035583 h 2323145"/>
              <a:gd name="connsiteX213" fmla="*/ 2285481 w 11269336"/>
              <a:gd name="connsiteY213" fmla="*/ 2045197 h 2323145"/>
              <a:gd name="connsiteX214" fmla="*/ 2273666 w 11269336"/>
              <a:gd name="connsiteY214" fmla="*/ 2048710 h 2323145"/>
              <a:gd name="connsiteX215" fmla="*/ 2270719 w 11269336"/>
              <a:gd name="connsiteY215" fmla="*/ 2052702 h 2323145"/>
              <a:gd name="connsiteX216" fmla="*/ 2253080 w 11269336"/>
              <a:gd name="connsiteY216" fmla="*/ 2056363 h 2323145"/>
              <a:gd name="connsiteX217" fmla="*/ 2250906 w 11269336"/>
              <a:gd name="connsiteY217" fmla="*/ 2055654 h 2323145"/>
              <a:gd name="connsiteX218" fmla="*/ 2236905 w 11269336"/>
              <a:gd name="connsiteY218" fmla="*/ 2062882 h 2323145"/>
              <a:gd name="connsiteX219" fmla="*/ 2225830 w 11269336"/>
              <a:gd name="connsiteY219" fmla="*/ 2074027 h 2323145"/>
              <a:gd name="connsiteX220" fmla="*/ 2073776 w 11269336"/>
              <a:gd name="connsiteY220" fmla="*/ 2089244 h 2323145"/>
              <a:gd name="connsiteX221" fmla="*/ 1948256 w 11269336"/>
              <a:gd name="connsiteY221" fmla="*/ 2146616 h 2323145"/>
              <a:gd name="connsiteX222" fmla="*/ 1865582 w 11269336"/>
              <a:gd name="connsiteY222" fmla="*/ 2153738 h 2323145"/>
              <a:gd name="connsiteX223" fmla="*/ 1835210 w 11269336"/>
              <a:gd name="connsiteY223" fmla="*/ 2134244 h 2323145"/>
              <a:gd name="connsiteX224" fmla="*/ 1632661 w 11269336"/>
              <a:gd name="connsiteY224" fmla="*/ 2173882 h 2323145"/>
              <a:gd name="connsiteX225" fmla="*/ 1579590 w 11269336"/>
              <a:gd name="connsiteY225" fmla="*/ 2173680 h 2323145"/>
              <a:gd name="connsiteX226" fmla="*/ 1535601 w 11269336"/>
              <a:gd name="connsiteY226" fmla="*/ 2194590 h 2323145"/>
              <a:gd name="connsiteX227" fmla="*/ 1515594 w 11269336"/>
              <a:gd name="connsiteY227" fmla="*/ 2189622 h 2323145"/>
              <a:gd name="connsiteX228" fmla="*/ 1512113 w 11269336"/>
              <a:gd name="connsiteY228" fmla="*/ 2188534 h 2323145"/>
              <a:gd name="connsiteX229" fmla="*/ 1498838 w 11269336"/>
              <a:gd name="connsiteY229" fmla="*/ 2189213 h 2323145"/>
              <a:gd name="connsiteX230" fmla="*/ 1494279 w 11269336"/>
              <a:gd name="connsiteY230" fmla="*/ 2183112 h 2323145"/>
              <a:gd name="connsiteX231" fmla="*/ 1473714 w 11269336"/>
              <a:gd name="connsiteY231" fmla="*/ 2179625 h 2323145"/>
              <a:gd name="connsiteX232" fmla="*/ 1449503 w 11269336"/>
              <a:gd name="connsiteY232" fmla="*/ 2182633 h 2323145"/>
              <a:gd name="connsiteX233" fmla="*/ 1266687 w 11269336"/>
              <a:gd name="connsiteY233" fmla="*/ 2212688 h 2323145"/>
              <a:gd name="connsiteX234" fmla="*/ 1239614 w 11269336"/>
              <a:gd name="connsiteY234" fmla="*/ 2209727 h 2323145"/>
              <a:gd name="connsiteX235" fmla="*/ 1202436 w 11269336"/>
              <a:gd name="connsiteY235" fmla="*/ 2209817 h 2323145"/>
              <a:gd name="connsiteX236" fmla="*/ 1136097 w 11269336"/>
              <a:gd name="connsiteY236" fmla="*/ 2205112 h 2323145"/>
              <a:gd name="connsiteX237" fmla="*/ 988232 w 11269336"/>
              <a:gd name="connsiteY237" fmla="*/ 2235635 h 2323145"/>
              <a:gd name="connsiteX238" fmla="*/ 981959 w 11269336"/>
              <a:gd name="connsiteY238" fmla="*/ 2231607 h 2323145"/>
              <a:gd name="connsiteX239" fmla="*/ 938600 w 11269336"/>
              <a:gd name="connsiteY239" fmla="*/ 2238113 h 2323145"/>
              <a:gd name="connsiteX240" fmla="*/ 791788 w 11269336"/>
              <a:gd name="connsiteY240" fmla="*/ 2293224 h 2323145"/>
              <a:gd name="connsiteX241" fmla="*/ 706914 w 11269336"/>
              <a:gd name="connsiteY241" fmla="*/ 2305046 h 2323145"/>
              <a:gd name="connsiteX242" fmla="*/ 675971 w 11269336"/>
              <a:gd name="connsiteY242" fmla="*/ 2304030 h 2323145"/>
              <a:gd name="connsiteX243" fmla="*/ 624180 w 11269336"/>
              <a:gd name="connsiteY243" fmla="*/ 2302650 h 2323145"/>
              <a:gd name="connsiteX244" fmla="*/ 583453 w 11269336"/>
              <a:gd name="connsiteY244" fmla="*/ 2288788 h 2323145"/>
              <a:gd name="connsiteX245" fmla="*/ 540946 w 11269336"/>
              <a:gd name="connsiteY245" fmla="*/ 2292721 h 2323145"/>
              <a:gd name="connsiteX246" fmla="*/ 533680 w 11269336"/>
              <a:gd name="connsiteY246" fmla="*/ 2310233 h 2323145"/>
              <a:gd name="connsiteX247" fmla="*/ 487366 w 11269336"/>
              <a:gd name="connsiteY247" fmla="*/ 2309053 h 2323145"/>
              <a:gd name="connsiteX248" fmla="*/ 416820 w 11269336"/>
              <a:gd name="connsiteY248" fmla="*/ 2305443 h 2323145"/>
              <a:gd name="connsiteX249" fmla="*/ 376805 w 11269336"/>
              <a:gd name="connsiteY249" fmla="*/ 2307647 h 2323145"/>
              <a:gd name="connsiteX250" fmla="*/ 266777 w 11269336"/>
              <a:gd name="connsiteY250" fmla="*/ 2309012 h 2323145"/>
              <a:gd name="connsiteX251" fmla="*/ 156013 w 11269336"/>
              <a:gd name="connsiteY251" fmla="*/ 2306832 h 2323145"/>
              <a:gd name="connsiteX252" fmla="*/ 87258 w 11269336"/>
              <a:gd name="connsiteY252" fmla="*/ 2285511 h 2323145"/>
              <a:gd name="connsiteX253" fmla="*/ 23798 w 11269336"/>
              <a:gd name="connsiteY253" fmla="*/ 2281822 h 2323145"/>
              <a:gd name="connsiteX254" fmla="*/ 0 w 11269336"/>
              <a:gd name="connsiteY254" fmla="*/ 2285369 h 2323145"/>
              <a:gd name="connsiteX255" fmla="*/ 0 w 11269336"/>
              <a:gd name="connsiteY25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05765 w 11269336"/>
              <a:gd name="connsiteY144" fmla="*/ 2199902 h 2323145"/>
              <a:gd name="connsiteX145" fmla="*/ 4401354 w 11269336"/>
              <a:gd name="connsiteY145" fmla="*/ 2194745 h 2323145"/>
              <a:gd name="connsiteX146" fmla="*/ 4366646 w 11269336"/>
              <a:gd name="connsiteY146" fmla="*/ 2198564 h 2323145"/>
              <a:gd name="connsiteX147" fmla="*/ 4354009 w 11269336"/>
              <a:gd name="connsiteY147" fmla="*/ 2204984 h 2323145"/>
              <a:gd name="connsiteX148" fmla="*/ 4348284 w 11269336"/>
              <a:gd name="connsiteY148" fmla="*/ 2205270 h 2323145"/>
              <a:gd name="connsiteX149" fmla="*/ 4333906 w 11269336"/>
              <a:gd name="connsiteY149" fmla="*/ 2205251 h 2323145"/>
              <a:gd name="connsiteX150" fmla="*/ 4308819 w 11269336"/>
              <a:gd name="connsiteY150" fmla="*/ 2203822 h 2323145"/>
              <a:gd name="connsiteX151" fmla="*/ 4301210 w 11269336"/>
              <a:gd name="connsiteY151" fmla="*/ 2204456 h 2323145"/>
              <a:gd name="connsiteX152" fmla="*/ 4283095 w 11269336"/>
              <a:gd name="connsiteY152" fmla="*/ 2198177 h 2323145"/>
              <a:gd name="connsiteX153" fmla="*/ 4250119 w 11269336"/>
              <a:gd name="connsiteY153" fmla="*/ 2196342 h 2323145"/>
              <a:gd name="connsiteX154" fmla="*/ 4189203 w 11269336"/>
              <a:gd name="connsiteY154" fmla="*/ 2178994 h 2323145"/>
              <a:gd name="connsiteX155" fmla="*/ 4154035 w 11269336"/>
              <a:gd name="connsiteY155" fmla="*/ 2171950 h 2323145"/>
              <a:gd name="connsiteX156" fmla="*/ 4129569 w 11269336"/>
              <a:gd name="connsiteY156" fmla="*/ 2163850 h 2323145"/>
              <a:gd name="connsiteX157" fmla="*/ 4061250 w 11269336"/>
              <a:gd name="connsiteY157" fmla="*/ 2159236 h 2323145"/>
              <a:gd name="connsiteX158" fmla="*/ 3945480 w 11269336"/>
              <a:gd name="connsiteY158" fmla="*/ 2158279 h 2323145"/>
              <a:gd name="connsiteX159" fmla="*/ 3921468 w 11269336"/>
              <a:gd name="connsiteY159" fmla="*/ 2156588 h 2323145"/>
              <a:gd name="connsiteX160" fmla="*/ 3903348 w 11269336"/>
              <a:gd name="connsiteY160" fmla="*/ 2149220 h 2323145"/>
              <a:gd name="connsiteX161" fmla="*/ 3901342 w 11269336"/>
              <a:gd name="connsiteY161" fmla="*/ 2142355 h 2323145"/>
              <a:gd name="connsiteX162" fmla="*/ 3888539 w 11269336"/>
              <a:gd name="connsiteY162" fmla="*/ 2140476 h 2323145"/>
              <a:gd name="connsiteX163" fmla="*/ 3885662 w 11269336"/>
              <a:gd name="connsiteY163" fmla="*/ 2138740 h 2323145"/>
              <a:gd name="connsiteX164" fmla="*/ 3868627 w 11269336"/>
              <a:gd name="connsiteY164" fmla="*/ 2130023 h 2323145"/>
              <a:gd name="connsiteX165" fmla="*/ 3819177 w 11269336"/>
              <a:gd name="connsiteY165" fmla="*/ 2142111 h 2323145"/>
              <a:gd name="connsiteX166" fmla="*/ 3769100 w 11269336"/>
              <a:gd name="connsiteY166" fmla="*/ 2131731 h 2323145"/>
              <a:gd name="connsiteX167" fmla="*/ 3562752 w 11269336"/>
              <a:gd name="connsiteY167" fmla="*/ 2131785 h 2323145"/>
              <a:gd name="connsiteX168" fmla="*/ 3541402 w 11269336"/>
              <a:gd name="connsiteY168" fmla="*/ 2106821 h 2323145"/>
              <a:gd name="connsiteX169" fmla="*/ 3365341 w 11269336"/>
              <a:gd name="connsiteY169" fmla="*/ 2077638 h 2323145"/>
              <a:gd name="connsiteX170" fmla="*/ 3170922 w 11269336"/>
              <a:gd name="connsiteY170" fmla="*/ 2115957 h 2323145"/>
              <a:gd name="connsiteX171" fmla="*/ 3156256 w 11269336"/>
              <a:gd name="connsiteY171" fmla="*/ 2124773 h 2323145"/>
              <a:gd name="connsiteX172" fmla="*/ 3140298 w 11269336"/>
              <a:gd name="connsiteY172" fmla="*/ 2129182 h 2323145"/>
              <a:gd name="connsiteX173" fmla="*/ 3138514 w 11269336"/>
              <a:gd name="connsiteY173" fmla="*/ 2128069 h 2323145"/>
              <a:gd name="connsiteX174" fmla="*/ 3120467 w 11269336"/>
              <a:gd name="connsiteY174" fmla="*/ 2128281 h 2323145"/>
              <a:gd name="connsiteX175" fmla="*/ 3116175 w 11269336"/>
              <a:gd name="connsiteY175" fmla="*/ 2131633 h 2323145"/>
              <a:gd name="connsiteX176" fmla="*/ 3103685 w 11269336"/>
              <a:gd name="connsiteY176" fmla="*/ 2132814 h 2323145"/>
              <a:gd name="connsiteX177" fmla="*/ 3078794 w 11269336"/>
              <a:gd name="connsiteY177" fmla="*/ 2137935 h 2323145"/>
              <a:gd name="connsiteX178" fmla="*/ 3074407 w 11269336"/>
              <a:gd name="connsiteY178" fmla="*/ 2136274 h 2323145"/>
              <a:gd name="connsiteX179" fmla="*/ 3037285 w 11269336"/>
              <a:gd name="connsiteY179" fmla="*/ 2139919 h 2323145"/>
              <a:gd name="connsiteX180" fmla="*/ 3036901 w 11269336"/>
              <a:gd name="connsiteY180" fmla="*/ 2138726 h 2323145"/>
              <a:gd name="connsiteX181" fmla="*/ 3026996 w 11269336"/>
              <a:gd name="connsiteY181" fmla="*/ 2134322 h 2323145"/>
              <a:gd name="connsiteX182" fmla="*/ 3007772 w 11269336"/>
              <a:gd name="connsiteY182" fmla="*/ 2128742 h 2323145"/>
              <a:gd name="connsiteX183" fmla="*/ 2965030 w 11269336"/>
              <a:gd name="connsiteY183" fmla="*/ 2100494 h 2323145"/>
              <a:gd name="connsiteX184" fmla="*/ 2926342 w 11269336"/>
              <a:gd name="connsiteY184" fmla="*/ 2104155 h 2323145"/>
              <a:gd name="connsiteX185" fmla="*/ 2918608 w 11269336"/>
              <a:gd name="connsiteY185" fmla="*/ 2104215 h 2323145"/>
              <a:gd name="connsiteX186" fmla="*/ 2918475 w 11269336"/>
              <a:gd name="connsiteY186" fmla="*/ 2103937 h 2323145"/>
              <a:gd name="connsiteX187" fmla="*/ 2910360 w 11269336"/>
              <a:gd name="connsiteY187" fmla="*/ 2103444 h 2323145"/>
              <a:gd name="connsiteX188" fmla="*/ 2904507 w 11269336"/>
              <a:gd name="connsiteY188" fmla="*/ 2104326 h 2323145"/>
              <a:gd name="connsiteX189" fmla="*/ 2889503 w 11269336"/>
              <a:gd name="connsiteY189" fmla="*/ 2104443 h 2323145"/>
              <a:gd name="connsiteX190" fmla="*/ 2884480 w 11269336"/>
              <a:gd name="connsiteY190" fmla="*/ 2102626 h 2323145"/>
              <a:gd name="connsiteX191" fmla="*/ 2882689 w 11269336"/>
              <a:gd name="connsiteY191" fmla="*/ 2099228 h 2323145"/>
              <a:gd name="connsiteX192" fmla="*/ 2881291 w 11269336"/>
              <a:gd name="connsiteY192" fmla="*/ 2099618 h 2323145"/>
              <a:gd name="connsiteX193" fmla="*/ 2853979 w 11269336"/>
              <a:gd name="connsiteY193" fmla="*/ 2090388 h 2323145"/>
              <a:gd name="connsiteX194" fmla="*/ 2791790 w 11269336"/>
              <a:gd name="connsiteY194" fmla="*/ 2080332 h 2323145"/>
              <a:gd name="connsiteX195" fmla="*/ 2755844 w 11269336"/>
              <a:gd name="connsiteY195" fmla="*/ 2078874 h 2323145"/>
              <a:gd name="connsiteX196" fmla="*/ 2657742 w 11269336"/>
              <a:gd name="connsiteY196" fmla="*/ 2070179 h 2323145"/>
              <a:gd name="connsiteX197" fmla="*/ 2559549 w 11269336"/>
              <a:gd name="connsiteY197" fmla="*/ 2057873 h 2323145"/>
              <a:gd name="connsiteX198" fmla="*/ 2512054 w 11269336"/>
              <a:gd name="connsiteY198" fmla="*/ 2031671 h 2323145"/>
              <a:gd name="connsiteX199" fmla="*/ 2506437 w 11269336"/>
              <a:gd name="connsiteY199" fmla="*/ 2030918 h 2323145"/>
              <a:gd name="connsiteX200" fmla="*/ 2491752 w 11269336"/>
              <a:gd name="connsiteY200" fmla="*/ 2033906 h 2323145"/>
              <a:gd name="connsiteX201" fmla="*/ 2486338 w 11269336"/>
              <a:gd name="connsiteY201" fmla="*/ 2035862 h 2323145"/>
              <a:gd name="connsiteX202" fmla="*/ 2478186 w 11269336"/>
              <a:gd name="connsiteY202" fmla="*/ 2036953 h 2323145"/>
              <a:gd name="connsiteX203" fmla="*/ 2477950 w 11269336"/>
              <a:gd name="connsiteY203" fmla="*/ 2036715 h 2323145"/>
              <a:gd name="connsiteX204" fmla="*/ 2470381 w 11269336"/>
              <a:gd name="connsiteY204" fmla="*/ 2038256 h 2323145"/>
              <a:gd name="connsiteX205" fmla="*/ 2433781 w 11269336"/>
              <a:gd name="connsiteY205" fmla="*/ 2049140 h 2323145"/>
              <a:gd name="connsiteX206" fmla="*/ 2381172 w 11269336"/>
              <a:gd name="connsiteY206" fmla="*/ 2030645 h 2323145"/>
              <a:gd name="connsiteX207" fmla="*/ 2360198 w 11269336"/>
              <a:gd name="connsiteY207" fmla="*/ 2029059 h 2323145"/>
              <a:gd name="connsiteX208" fmla="*/ 2348815 w 11269336"/>
              <a:gd name="connsiteY208" fmla="*/ 2026798 h 2323145"/>
              <a:gd name="connsiteX209" fmla="*/ 2347988 w 11269336"/>
              <a:gd name="connsiteY209" fmla="*/ 2025745 h 2323145"/>
              <a:gd name="connsiteX210" fmla="*/ 2312920 w 11269336"/>
              <a:gd name="connsiteY210" fmla="*/ 2036311 h 2323145"/>
              <a:gd name="connsiteX211" fmla="*/ 2307986 w 11269336"/>
              <a:gd name="connsiteY211" fmla="*/ 2035583 h 2323145"/>
              <a:gd name="connsiteX212" fmla="*/ 2285481 w 11269336"/>
              <a:gd name="connsiteY212" fmla="*/ 2045197 h 2323145"/>
              <a:gd name="connsiteX213" fmla="*/ 2273666 w 11269336"/>
              <a:gd name="connsiteY213" fmla="*/ 2048710 h 2323145"/>
              <a:gd name="connsiteX214" fmla="*/ 2270719 w 11269336"/>
              <a:gd name="connsiteY214" fmla="*/ 2052702 h 2323145"/>
              <a:gd name="connsiteX215" fmla="*/ 2253080 w 11269336"/>
              <a:gd name="connsiteY215" fmla="*/ 2056363 h 2323145"/>
              <a:gd name="connsiteX216" fmla="*/ 2250906 w 11269336"/>
              <a:gd name="connsiteY216" fmla="*/ 2055654 h 2323145"/>
              <a:gd name="connsiteX217" fmla="*/ 2236905 w 11269336"/>
              <a:gd name="connsiteY217" fmla="*/ 2062882 h 2323145"/>
              <a:gd name="connsiteX218" fmla="*/ 2225830 w 11269336"/>
              <a:gd name="connsiteY218" fmla="*/ 2074027 h 2323145"/>
              <a:gd name="connsiteX219" fmla="*/ 2073776 w 11269336"/>
              <a:gd name="connsiteY219" fmla="*/ 2089244 h 2323145"/>
              <a:gd name="connsiteX220" fmla="*/ 1948256 w 11269336"/>
              <a:gd name="connsiteY220" fmla="*/ 2146616 h 2323145"/>
              <a:gd name="connsiteX221" fmla="*/ 1865582 w 11269336"/>
              <a:gd name="connsiteY221" fmla="*/ 2153738 h 2323145"/>
              <a:gd name="connsiteX222" fmla="*/ 1835210 w 11269336"/>
              <a:gd name="connsiteY222" fmla="*/ 2134244 h 2323145"/>
              <a:gd name="connsiteX223" fmla="*/ 1632661 w 11269336"/>
              <a:gd name="connsiteY223" fmla="*/ 2173882 h 2323145"/>
              <a:gd name="connsiteX224" fmla="*/ 1579590 w 11269336"/>
              <a:gd name="connsiteY224" fmla="*/ 2173680 h 2323145"/>
              <a:gd name="connsiteX225" fmla="*/ 1535601 w 11269336"/>
              <a:gd name="connsiteY225" fmla="*/ 2194590 h 2323145"/>
              <a:gd name="connsiteX226" fmla="*/ 1515594 w 11269336"/>
              <a:gd name="connsiteY226" fmla="*/ 2189622 h 2323145"/>
              <a:gd name="connsiteX227" fmla="*/ 1512113 w 11269336"/>
              <a:gd name="connsiteY227" fmla="*/ 2188534 h 2323145"/>
              <a:gd name="connsiteX228" fmla="*/ 1498838 w 11269336"/>
              <a:gd name="connsiteY228" fmla="*/ 2189213 h 2323145"/>
              <a:gd name="connsiteX229" fmla="*/ 1494279 w 11269336"/>
              <a:gd name="connsiteY229" fmla="*/ 2183112 h 2323145"/>
              <a:gd name="connsiteX230" fmla="*/ 1473714 w 11269336"/>
              <a:gd name="connsiteY230" fmla="*/ 2179625 h 2323145"/>
              <a:gd name="connsiteX231" fmla="*/ 1449503 w 11269336"/>
              <a:gd name="connsiteY231" fmla="*/ 2182633 h 2323145"/>
              <a:gd name="connsiteX232" fmla="*/ 1266687 w 11269336"/>
              <a:gd name="connsiteY232" fmla="*/ 2212688 h 2323145"/>
              <a:gd name="connsiteX233" fmla="*/ 1239614 w 11269336"/>
              <a:gd name="connsiteY233" fmla="*/ 2209727 h 2323145"/>
              <a:gd name="connsiteX234" fmla="*/ 1202436 w 11269336"/>
              <a:gd name="connsiteY234" fmla="*/ 2209817 h 2323145"/>
              <a:gd name="connsiteX235" fmla="*/ 1136097 w 11269336"/>
              <a:gd name="connsiteY235" fmla="*/ 2205112 h 2323145"/>
              <a:gd name="connsiteX236" fmla="*/ 988232 w 11269336"/>
              <a:gd name="connsiteY236" fmla="*/ 2235635 h 2323145"/>
              <a:gd name="connsiteX237" fmla="*/ 981959 w 11269336"/>
              <a:gd name="connsiteY237" fmla="*/ 2231607 h 2323145"/>
              <a:gd name="connsiteX238" fmla="*/ 938600 w 11269336"/>
              <a:gd name="connsiteY238" fmla="*/ 2238113 h 2323145"/>
              <a:gd name="connsiteX239" fmla="*/ 791788 w 11269336"/>
              <a:gd name="connsiteY239" fmla="*/ 2293224 h 2323145"/>
              <a:gd name="connsiteX240" fmla="*/ 706914 w 11269336"/>
              <a:gd name="connsiteY240" fmla="*/ 2305046 h 2323145"/>
              <a:gd name="connsiteX241" fmla="*/ 675971 w 11269336"/>
              <a:gd name="connsiteY241" fmla="*/ 2304030 h 2323145"/>
              <a:gd name="connsiteX242" fmla="*/ 624180 w 11269336"/>
              <a:gd name="connsiteY242" fmla="*/ 2302650 h 2323145"/>
              <a:gd name="connsiteX243" fmla="*/ 583453 w 11269336"/>
              <a:gd name="connsiteY243" fmla="*/ 2288788 h 2323145"/>
              <a:gd name="connsiteX244" fmla="*/ 540946 w 11269336"/>
              <a:gd name="connsiteY244" fmla="*/ 2292721 h 2323145"/>
              <a:gd name="connsiteX245" fmla="*/ 533680 w 11269336"/>
              <a:gd name="connsiteY245" fmla="*/ 2310233 h 2323145"/>
              <a:gd name="connsiteX246" fmla="*/ 487366 w 11269336"/>
              <a:gd name="connsiteY246" fmla="*/ 2309053 h 2323145"/>
              <a:gd name="connsiteX247" fmla="*/ 416820 w 11269336"/>
              <a:gd name="connsiteY247" fmla="*/ 2305443 h 2323145"/>
              <a:gd name="connsiteX248" fmla="*/ 376805 w 11269336"/>
              <a:gd name="connsiteY248" fmla="*/ 2307647 h 2323145"/>
              <a:gd name="connsiteX249" fmla="*/ 266777 w 11269336"/>
              <a:gd name="connsiteY249" fmla="*/ 2309012 h 2323145"/>
              <a:gd name="connsiteX250" fmla="*/ 156013 w 11269336"/>
              <a:gd name="connsiteY250" fmla="*/ 2306832 h 2323145"/>
              <a:gd name="connsiteX251" fmla="*/ 87258 w 11269336"/>
              <a:gd name="connsiteY251" fmla="*/ 2285511 h 2323145"/>
              <a:gd name="connsiteX252" fmla="*/ 23798 w 11269336"/>
              <a:gd name="connsiteY252" fmla="*/ 2281822 h 2323145"/>
              <a:gd name="connsiteX253" fmla="*/ 0 w 11269336"/>
              <a:gd name="connsiteY253" fmla="*/ 2285369 h 2323145"/>
              <a:gd name="connsiteX254" fmla="*/ 0 w 11269336"/>
              <a:gd name="connsiteY254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67257 w 11269336"/>
              <a:gd name="connsiteY142" fmla="*/ 2196121 h 2323145"/>
              <a:gd name="connsiteX143" fmla="*/ 4405765 w 11269336"/>
              <a:gd name="connsiteY143" fmla="*/ 2199902 h 2323145"/>
              <a:gd name="connsiteX144" fmla="*/ 4401354 w 11269336"/>
              <a:gd name="connsiteY144" fmla="*/ 2194745 h 2323145"/>
              <a:gd name="connsiteX145" fmla="*/ 4366646 w 11269336"/>
              <a:gd name="connsiteY145" fmla="*/ 2198564 h 2323145"/>
              <a:gd name="connsiteX146" fmla="*/ 4354009 w 11269336"/>
              <a:gd name="connsiteY146" fmla="*/ 2204984 h 2323145"/>
              <a:gd name="connsiteX147" fmla="*/ 4348284 w 11269336"/>
              <a:gd name="connsiteY147" fmla="*/ 2205270 h 2323145"/>
              <a:gd name="connsiteX148" fmla="*/ 4333906 w 11269336"/>
              <a:gd name="connsiteY148" fmla="*/ 2205251 h 2323145"/>
              <a:gd name="connsiteX149" fmla="*/ 4308819 w 11269336"/>
              <a:gd name="connsiteY149" fmla="*/ 2203822 h 2323145"/>
              <a:gd name="connsiteX150" fmla="*/ 4301210 w 11269336"/>
              <a:gd name="connsiteY150" fmla="*/ 2204456 h 2323145"/>
              <a:gd name="connsiteX151" fmla="*/ 4283095 w 11269336"/>
              <a:gd name="connsiteY151" fmla="*/ 2198177 h 2323145"/>
              <a:gd name="connsiteX152" fmla="*/ 4250119 w 11269336"/>
              <a:gd name="connsiteY152" fmla="*/ 2196342 h 2323145"/>
              <a:gd name="connsiteX153" fmla="*/ 4189203 w 11269336"/>
              <a:gd name="connsiteY153" fmla="*/ 2178994 h 2323145"/>
              <a:gd name="connsiteX154" fmla="*/ 4154035 w 11269336"/>
              <a:gd name="connsiteY154" fmla="*/ 2171950 h 2323145"/>
              <a:gd name="connsiteX155" fmla="*/ 4129569 w 11269336"/>
              <a:gd name="connsiteY155" fmla="*/ 2163850 h 2323145"/>
              <a:gd name="connsiteX156" fmla="*/ 4061250 w 11269336"/>
              <a:gd name="connsiteY156" fmla="*/ 2159236 h 2323145"/>
              <a:gd name="connsiteX157" fmla="*/ 3945480 w 11269336"/>
              <a:gd name="connsiteY157" fmla="*/ 2158279 h 2323145"/>
              <a:gd name="connsiteX158" fmla="*/ 3921468 w 11269336"/>
              <a:gd name="connsiteY158" fmla="*/ 2156588 h 2323145"/>
              <a:gd name="connsiteX159" fmla="*/ 3903348 w 11269336"/>
              <a:gd name="connsiteY159" fmla="*/ 2149220 h 2323145"/>
              <a:gd name="connsiteX160" fmla="*/ 3901342 w 11269336"/>
              <a:gd name="connsiteY160" fmla="*/ 2142355 h 2323145"/>
              <a:gd name="connsiteX161" fmla="*/ 3888539 w 11269336"/>
              <a:gd name="connsiteY161" fmla="*/ 2140476 h 2323145"/>
              <a:gd name="connsiteX162" fmla="*/ 3885662 w 11269336"/>
              <a:gd name="connsiteY162" fmla="*/ 2138740 h 2323145"/>
              <a:gd name="connsiteX163" fmla="*/ 3868627 w 11269336"/>
              <a:gd name="connsiteY163" fmla="*/ 2130023 h 2323145"/>
              <a:gd name="connsiteX164" fmla="*/ 3819177 w 11269336"/>
              <a:gd name="connsiteY164" fmla="*/ 2142111 h 2323145"/>
              <a:gd name="connsiteX165" fmla="*/ 3769100 w 11269336"/>
              <a:gd name="connsiteY165" fmla="*/ 2131731 h 2323145"/>
              <a:gd name="connsiteX166" fmla="*/ 3562752 w 11269336"/>
              <a:gd name="connsiteY166" fmla="*/ 2131785 h 2323145"/>
              <a:gd name="connsiteX167" fmla="*/ 3541402 w 11269336"/>
              <a:gd name="connsiteY167" fmla="*/ 2106821 h 2323145"/>
              <a:gd name="connsiteX168" fmla="*/ 3365341 w 11269336"/>
              <a:gd name="connsiteY168" fmla="*/ 2077638 h 2323145"/>
              <a:gd name="connsiteX169" fmla="*/ 3170922 w 11269336"/>
              <a:gd name="connsiteY169" fmla="*/ 2115957 h 2323145"/>
              <a:gd name="connsiteX170" fmla="*/ 3156256 w 11269336"/>
              <a:gd name="connsiteY170" fmla="*/ 2124773 h 2323145"/>
              <a:gd name="connsiteX171" fmla="*/ 3140298 w 11269336"/>
              <a:gd name="connsiteY171" fmla="*/ 2129182 h 2323145"/>
              <a:gd name="connsiteX172" fmla="*/ 3138514 w 11269336"/>
              <a:gd name="connsiteY172" fmla="*/ 2128069 h 2323145"/>
              <a:gd name="connsiteX173" fmla="*/ 3120467 w 11269336"/>
              <a:gd name="connsiteY173" fmla="*/ 2128281 h 2323145"/>
              <a:gd name="connsiteX174" fmla="*/ 3116175 w 11269336"/>
              <a:gd name="connsiteY174" fmla="*/ 2131633 h 2323145"/>
              <a:gd name="connsiteX175" fmla="*/ 3103685 w 11269336"/>
              <a:gd name="connsiteY175" fmla="*/ 2132814 h 2323145"/>
              <a:gd name="connsiteX176" fmla="*/ 3078794 w 11269336"/>
              <a:gd name="connsiteY176" fmla="*/ 2137935 h 2323145"/>
              <a:gd name="connsiteX177" fmla="*/ 3074407 w 11269336"/>
              <a:gd name="connsiteY177" fmla="*/ 2136274 h 2323145"/>
              <a:gd name="connsiteX178" fmla="*/ 3037285 w 11269336"/>
              <a:gd name="connsiteY178" fmla="*/ 2139919 h 2323145"/>
              <a:gd name="connsiteX179" fmla="*/ 3036901 w 11269336"/>
              <a:gd name="connsiteY179" fmla="*/ 2138726 h 2323145"/>
              <a:gd name="connsiteX180" fmla="*/ 3026996 w 11269336"/>
              <a:gd name="connsiteY180" fmla="*/ 2134322 h 2323145"/>
              <a:gd name="connsiteX181" fmla="*/ 3007772 w 11269336"/>
              <a:gd name="connsiteY181" fmla="*/ 2128742 h 2323145"/>
              <a:gd name="connsiteX182" fmla="*/ 2965030 w 11269336"/>
              <a:gd name="connsiteY182" fmla="*/ 2100494 h 2323145"/>
              <a:gd name="connsiteX183" fmla="*/ 2926342 w 11269336"/>
              <a:gd name="connsiteY183" fmla="*/ 2104155 h 2323145"/>
              <a:gd name="connsiteX184" fmla="*/ 2918608 w 11269336"/>
              <a:gd name="connsiteY184" fmla="*/ 2104215 h 2323145"/>
              <a:gd name="connsiteX185" fmla="*/ 2918475 w 11269336"/>
              <a:gd name="connsiteY185" fmla="*/ 2103937 h 2323145"/>
              <a:gd name="connsiteX186" fmla="*/ 2910360 w 11269336"/>
              <a:gd name="connsiteY186" fmla="*/ 2103444 h 2323145"/>
              <a:gd name="connsiteX187" fmla="*/ 2904507 w 11269336"/>
              <a:gd name="connsiteY187" fmla="*/ 2104326 h 2323145"/>
              <a:gd name="connsiteX188" fmla="*/ 2889503 w 11269336"/>
              <a:gd name="connsiteY188" fmla="*/ 2104443 h 2323145"/>
              <a:gd name="connsiteX189" fmla="*/ 2884480 w 11269336"/>
              <a:gd name="connsiteY189" fmla="*/ 2102626 h 2323145"/>
              <a:gd name="connsiteX190" fmla="*/ 2882689 w 11269336"/>
              <a:gd name="connsiteY190" fmla="*/ 2099228 h 2323145"/>
              <a:gd name="connsiteX191" fmla="*/ 2881291 w 11269336"/>
              <a:gd name="connsiteY191" fmla="*/ 2099618 h 2323145"/>
              <a:gd name="connsiteX192" fmla="*/ 2853979 w 11269336"/>
              <a:gd name="connsiteY192" fmla="*/ 2090388 h 2323145"/>
              <a:gd name="connsiteX193" fmla="*/ 2791790 w 11269336"/>
              <a:gd name="connsiteY193" fmla="*/ 2080332 h 2323145"/>
              <a:gd name="connsiteX194" fmla="*/ 2755844 w 11269336"/>
              <a:gd name="connsiteY194" fmla="*/ 2078874 h 2323145"/>
              <a:gd name="connsiteX195" fmla="*/ 2657742 w 11269336"/>
              <a:gd name="connsiteY195" fmla="*/ 2070179 h 2323145"/>
              <a:gd name="connsiteX196" fmla="*/ 2559549 w 11269336"/>
              <a:gd name="connsiteY196" fmla="*/ 2057873 h 2323145"/>
              <a:gd name="connsiteX197" fmla="*/ 2512054 w 11269336"/>
              <a:gd name="connsiteY197" fmla="*/ 2031671 h 2323145"/>
              <a:gd name="connsiteX198" fmla="*/ 2506437 w 11269336"/>
              <a:gd name="connsiteY198" fmla="*/ 2030918 h 2323145"/>
              <a:gd name="connsiteX199" fmla="*/ 2491752 w 11269336"/>
              <a:gd name="connsiteY199" fmla="*/ 2033906 h 2323145"/>
              <a:gd name="connsiteX200" fmla="*/ 2486338 w 11269336"/>
              <a:gd name="connsiteY200" fmla="*/ 2035862 h 2323145"/>
              <a:gd name="connsiteX201" fmla="*/ 2478186 w 11269336"/>
              <a:gd name="connsiteY201" fmla="*/ 2036953 h 2323145"/>
              <a:gd name="connsiteX202" fmla="*/ 2477950 w 11269336"/>
              <a:gd name="connsiteY202" fmla="*/ 2036715 h 2323145"/>
              <a:gd name="connsiteX203" fmla="*/ 2470381 w 11269336"/>
              <a:gd name="connsiteY203" fmla="*/ 2038256 h 2323145"/>
              <a:gd name="connsiteX204" fmla="*/ 2433781 w 11269336"/>
              <a:gd name="connsiteY204" fmla="*/ 2049140 h 2323145"/>
              <a:gd name="connsiteX205" fmla="*/ 2381172 w 11269336"/>
              <a:gd name="connsiteY205" fmla="*/ 2030645 h 2323145"/>
              <a:gd name="connsiteX206" fmla="*/ 2360198 w 11269336"/>
              <a:gd name="connsiteY206" fmla="*/ 2029059 h 2323145"/>
              <a:gd name="connsiteX207" fmla="*/ 2348815 w 11269336"/>
              <a:gd name="connsiteY207" fmla="*/ 2026798 h 2323145"/>
              <a:gd name="connsiteX208" fmla="*/ 2347988 w 11269336"/>
              <a:gd name="connsiteY208" fmla="*/ 2025745 h 2323145"/>
              <a:gd name="connsiteX209" fmla="*/ 2312920 w 11269336"/>
              <a:gd name="connsiteY209" fmla="*/ 2036311 h 2323145"/>
              <a:gd name="connsiteX210" fmla="*/ 2307986 w 11269336"/>
              <a:gd name="connsiteY210" fmla="*/ 2035583 h 2323145"/>
              <a:gd name="connsiteX211" fmla="*/ 2285481 w 11269336"/>
              <a:gd name="connsiteY211" fmla="*/ 2045197 h 2323145"/>
              <a:gd name="connsiteX212" fmla="*/ 2273666 w 11269336"/>
              <a:gd name="connsiteY212" fmla="*/ 2048710 h 2323145"/>
              <a:gd name="connsiteX213" fmla="*/ 2270719 w 11269336"/>
              <a:gd name="connsiteY213" fmla="*/ 2052702 h 2323145"/>
              <a:gd name="connsiteX214" fmla="*/ 2253080 w 11269336"/>
              <a:gd name="connsiteY214" fmla="*/ 2056363 h 2323145"/>
              <a:gd name="connsiteX215" fmla="*/ 2250906 w 11269336"/>
              <a:gd name="connsiteY215" fmla="*/ 2055654 h 2323145"/>
              <a:gd name="connsiteX216" fmla="*/ 2236905 w 11269336"/>
              <a:gd name="connsiteY216" fmla="*/ 2062882 h 2323145"/>
              <a:gd name="connsiteX217" fmla="*/ 2225830 w 11269336"/>
              <a:gd name="connsiteY217" fmla="*/ 2074027 h 2323145"/>
              <a:gd name="connsiteX218" fmla="*/ 2073776 w 11269336"/>
              <a:gd name="connsiteY218" fmla="*/ 2089244 h 2323145"/>
              <a:gd name="connsiteX219" fmla="*/ 1948256 w 11269336"/>
              <a:gd name="connsiteY219" fmla="*/ 2146616 h 2323145"/>
              <a:gd name="connsiteX220" fmla="*/ 1865582 w 11269336"/>
              <a:gd name="connsiteY220" fmla="*/ 2153738 h 2323145"/>
              <a:gd name="connsiteX221" fmla="*/ 1835210 w 11269336"/>
              <a:gd name="connsiteY221" fmla="*/ 2134244 h 2323145"/>
              <a:gd name="connsiteX222" fmla="*/ 1632661 w 11269336"/>
              <a:gd name="connsiteY222" fmla="*/ 2173882 h 2323145"/>
              <a:gd name="connsiteX223" fmla="*/ 1579590 w 11269336"/>
              <a:gd name="connsiteY223" fmla="*/ 2173680 h 2323145"/>
              <a:gd name="connsiteX224" fmla="*/ 1535601 w 11269336"/>
              <a:gd name="connsiteY224" fmla="*/ 2194590 h 2323145"/>
              <a:gd name="connsiteX225" fmla="*/ 1515594 w 11269336"/>
              <a:gd name="connsiteY225" fmla="*/ 2189622 h 2323145"/>
              <a:gd name="connsiteX226" fmla="*/ 1512113 w 11269336"/>
              <a:gd name="connsiteY226" fmla="*/ 2188534 h 2323145"/>
              <a:gd name="connsiteX227" fmla="*/ 1498838 w 11269336"/>
              <a:gd name="connsiteY227" fmla="*/ 2189213 h 2323145"/>
              <a:gd name="connsiteX228" fmla="*/ 1494279 w 11269336"/>
              <a:gd name="connsiteY228" fmla="*/ 2183112 h 2323145"/>
              <a:gd name="connsiteX229" fmla="*/ 1473714 w 11269336"/>
              <a:gd name="connsiteY229" fmla="*/ 2179625 h 2323145"/>
              <a:gd name="connsiteX230" fmla="*/ 1449503 w 11269336"/>
              <a:gd name="connsiteY230" fmla="*/ 2182633 h 2323145"/>
              <a:gd name="connsiteX231" fmla="*/ 1266687 w 11269336"/>
              <a:gd name="connsiteY231" fmla="*/ 2212688 h 2323145"/>
              <a:gd name="connsiteX232" fmla="*/ 1239614 w 11269336"/>
              <a:gd name="connsiteY232" fmla="*/ 2209727 h 2323145"/>
              <a:gd name="connsiteX233" fmla="*/ 1202436 w 11269336"/>
              <a:gd name="connsiteY233" fmla="*/ 2209817 h 2323145"/>
              <a:gd name="connsiteX234" fmla="*/ 1136097 w 11269336"/>
              <a:gd name="connsiteY234" fmla="*/ 2205112 h 2323145"/>
              <a:gd name="connsiteX235" fmla="*/ 988232 w 11269336"/>
              <a:gd name="connsiteY235" fmla="*/ 2235635 h 2323145"/>
              <a:gd name="connsiteX236" fmla="*/ 981959 w 11269336"/>
              <a:gd name="connsiteY236" fmla="*/ 2231607 h 2323145"/>
              <a:gd name="connsiteX237" fmla="*/ 938600 w 11269336"/>
              <a:gd name="connsiteY237" fmla="*/ 2238113 h 2323145"/>
              <a:gd name="connsiteX238" fmla="*/ 791788 w 11269336"/>
              <a:gd name="connsiteY238" fmla="*/ 2293224 h 2323145"/>
              <a:gd name="connsiteX239" fmla="*/ 706914 w 11269336"/>
              <a:gd name="connsiteY239" fmla="*/ 2305046 h 2323145"/>
              <a:gd name="connsiteX240" fmla="*/ 675971 w 11269336"/>
              <a:gd name="connsiteY240" fmla="*/ 2304030 h 2323145"/>
              <a:gd name="connsiteX241" fmla="*/ 624180 w 11269336"/>
              <a:gd name="connsiteY241" fmla="*/ 2302650 h 2323145"/>
              <a:gd name="connsiteX242" fmla="*/ 583453 w 11269336"/>
              <a:gd name="connsiteY242" fmla="*/ 2288788 h 2323145"/>
              <a:gd name="connsiteX243" fmla="*/ 540946 w 11269336"/>
              <a:gd name="connsiteY243" fmla="*/ 2292721 h 2323145"/>
              <a:gd name="connsiteX244" fmla="*/ 533680 w 11269336"/>
              <a:gd name="connsiteY244" fmla="*/ 2310233 h 2323145"/>
              <a:gd name="connsiteX245" fmla="*/ 487366 w 11269336"/>
              <a:gd name="connsiteY245" fmla="*/ 2309053 h 2323145"/>
              <a:gd name="connsiteX246" fmla="*/ 416820 w 11269336"/>
              <a:gd name="connsiteY246" fmla="*/ 2305443 h 2323145"/>
              <a:gd name="connsiteX247" fmla="*/ 376805 w 11269336"/>
              <a:gd name="connsiteY247" fmla="*/ 2307647 h 2323145"/>
              <a:gd name="connsiteX248" fmla="*/ 266777 w 11269336"/>
              <a:gd name="connsiteY248" fmla="*/ 2309012 h 2323145"/>
              <a:gd name="connsiteX249" fmla="*/ 156013 w 11269336"/>
              <a:gd name="connsiteY249" fmla="*/ 2306832 h 2323145"/>
              <a:gd name="connsiteX250" fmla="*/ 87258 w 11269336"/>
              <a:gd name="connsiteY250" fmla="*/ 2285511 h 2323145"/>
              <a:gd name="connsiteX251" fmla="*/ 23798 w 11269336"/>
              <a:gd name="connsiteY251" fmla="*/ 2281822 h 2323145"/>
              <a:gd name="connsiteX252" fmla="*/ 0 w 11269336"/>
              <a:gd name="connsiteY252" fmla="*/ 2285369 h 2323145"/>
              <a:gd name="connsiteX253" fmla="*/ 0 w 11269336"/>
              <a:gd name="connsiteY25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467257 w 11269336"/>
              <a:gd name="connsiteY141" fmla="*/ 2196121 h 2323145"/>
              <a:gd name="connsiteX142" fmla="*/ 4405765 w 11269336"/>
              <a:gd name="connsiteY142" fmla="*/ 2199902 h 2323145"/>
              <a:gd name="connsiteX143" fmla="*/ 4401354 w 11269336"/>
              <a:gd name="connsiteY143" fmla="*/ 2194745 h 2323145"/>
              <a:gd name="connsiteX144" fmla="*/ 4366646 w 11269336"/>
              <a:gd name="connsiteY144" fmla="*/ 2198564 h 2323145"/>
              <a:gd name="connsiteX145" fmla="*/ 4354009 w 11269336"/>
              <a:gd name="connsiteY145" fmla="*/ 2204984 h 2323145"/>
              <a:gd name="connsiteX146" fmla="*/ 4348284 w 11269336"/>
              <a:gd name="connsiteY146" fmla="*/ 2205270 h 2323145"/>
              <a:gd name="connsiteX147" fmla="*/ 4333906 w 11269336"/>
              <a:gd name="connsiteY147" fmla="*/ 2205251 h 2323145"/>
              <a:gd name="connsiteX148" fmla="*/ 4308819 w 11269336"/>
              <a:gd name="connsiteY148" fmla="*/ 2203822 h 2323145"/>
              <a:gd name="connsiteX149" fmla="*/ 4301210 w 11269336"/>
              <a:gd name="connsiteY149" fmla="*/ 2204456 h 2323145"/>
              <a:gd name="connsiteX150" fmla="*/ 4283095 w 11269336"/>
              <a:gd name="connsiteY150" fmla="*/ 2198177 h 2323145"/>
              <a:gd name="connsiteX151" fmla="*/ 4250119 w 11269336"/>
              <a:gd name="connsiteY151" fmla="*/ 2196342 h 2323145"/>
              <a:gd name="connsiteX152" fmla="*/ 4189203 w 11269336"/>
              <a:gd name="connsiteY152" fmla="*/ 2178994 h 2323145"/>
              <a:gd name="connsiteX153" fmla="*/ 4154035 w 11269336"/>
              <a:gd name="connsiteY153" fmla="*/ 2171950 h 2323145"/>
              <a:gd name="connsiteX154" fmla="*/ 4129569 w 11269336"/>
              <a:gd name="connsiteY154" fmla="*/ 2163850 h 2323145"/>
              <a:gd name="connsiteX155" fmla="*/ 4061250 w 11269336"/>
              <a:gd name="connsiteY155" fmla="*/ 2159236 h 2323145"/>
              <a:gd name="connsiteX156" fmla="*/ 3945480 w 11269336"/>
              <a:gd name="connsiteY156" fmla="*/ 2158279 h 2323145"/>
              <a:gd name="connsiteX157" fmla="*/ 3921468 w 11269336"/>
              <a:gd name="connsiteY157" fmla="*/ 2156588 h 2323145"/>
              <a:gd name="connsiteX158" fmla="*/ 3903348 w 11269336"/>
              <a:gd name="connsiteY158" fmla="*/ 2149220 h 2323145"/>
              <a:gd name="connsiteX159" fmla="*/ 3901342 w 11269336"/>
              <a:gd name="connsiteY159" fmla="*/ 2142355 h 2323145"/>
              <a:gd name="connsiteX160" fmla="*/ 3888539 w 11269336"/>
              <a:gd name="connsiteY160" fmla="*/ 2140476 h 2323145"/>
              <a:gd name="connsiteX161" fmla="*/ 3885662 w 11269336"/>
              <a:gd name="connsiteY161" fmla="*/ 2138740 h 2323145"/>
              <a:gd name="connsiteX162" fmla="*/ 3868627 w 11269336"/>
              <a:gd name="connsiteY162" fmla="*/ 2130023 h 2323145"/>
              <a:gd name="connsiteX163" fmla="*/ 3819177 w 11269336"/>
              <a:gd name="connsiteY163" fmla="*/ 2142111 h 2323145"/>
              <a:gd name="connsiteX164" fmla="*/ 3769100 w 11269336"/>
              <a:gd name="connsiteY164" fmla="*/ 2131731 h 2323145"/>
              <a:gd name="connsiteX165" fmla="*/ 3562752 w 11269336"/>
              <a:gd name="connsiteY165" fmla="*/ 2131785 h 2323145"/>
              <a:gd name="connsiteX166" fmla="*/ 3541402 w 11269336"/>
              <a:gd name="connsiteY166" fmla="*/ 2106821 h 2323145"/>
              <a:gd name="connsiteX167" fmla="*/ 3365341 w 11269336"/>
              <a:gd name="connsiteY167" fmla="*/ 2077638 h 2323145"/>
              <a:gd name="connsiteX168" fmla="*/ 3170922 w 11269336"/>
              <a:gd name="connsiteY168" fmla="*/ 2115957 h 2323145"/>
              <a:gd name="connsiteX169" fmla="*/ 3156256 w 11269336"/>
              <a:gd name="connsiteY169" fmla="*/ 2124773 h 2323145"/>
              <a:gd name="connsiteX170" fmla="*/ 3140298 w 11269336"/>
              <a:gd name="connsiteY170" fmla="*/ 2129182 h 2323145"/>
              <a:gd name="connsiteX171" fmla="*/ 3138514 w 11269336"/>
              <a:gd name="connsiteY171" fmla="*/ 2128069 h 2323145"/>
              <a:gd name="connsiteX172" fmla="*/ 3120467 w 11269336"/>
              <a:gd name="connsiteY172" fmla="*/ 2128281 h 2323145"/>
              <a:gd name="connsiteX173" fmla="*/ 3116175 w 11269336"/>
              <a:gd name="connsiteY173" fmla="*/ 2131633 h 2323145"/>
              <a:gd name="connsiteX174" fmla="*/ 3103685 w 11269336"/>
              <a:gd name="connsiteY174" fmla="*/ 2132814 h 2323145"/>
              <a:gd name="connsiteX175" fmla="*/ 3078794 w 11269336"/>
              <a:gd name="connsiteY175" fmla="*/ 2137935 h 2323145"/>
              <a:gd name="connsiteX176" fmla="*/ 3074407 w 11269336"/>
              <a:gd name="connsiteY176" fmla="*/ 2136274 h 2323145"/>
              <a:gd name="connsiteX177" fmla="*/ 3037285 w 11269336"/>
              <a:gd name="connsiteY177" fmla="*/ 2139919 h 2323145"/>
              <a:gd name="connsiteX178" fmla="*/ 3036901 w 11269336"/>
              <a:gd name="connsiteY178" fmla="*/ 2138726 h 2323145"/>
              <a:gd name="connsiteX179" fmla="*/ 3026996 w 11269336"/>
              <a:gd name="connsiteY179" fmla="*/ 2134322 h 2323145"/>
              <a:gd name="connsiteX180" fmla="*/ 3007772 w 11269336"/>
              <a:gd name="connsiteY180" fmla="*/ 2128742 h 2323145"/>
              <a:gd name="connsiteX181" fmla="*/ 2965030 w 11269336"/>
              <a:gd name="connsiteY181" fmla="*/ 2100494 h 2323145"/>
              <a:gd name="connsiteX182" fmla="*/ 2926342 w 11269336"/>
              <a:gd name="connsiteY182" fmla="*/ 2104155 h 2323145"/>
              <a:gd name="connsiteX183" fmla="*/ 2918608 w 11269336"/>
              <a:gd name="connsiteY183" fmla="*/ 2104215 h 2323145"/>
              <a:gd name="connsiteX184" fmla="*/ 2918475 w 11269336"/>
              <a:gd name="connsiteY184" fmla="*/ 2103937 h 2323145"/>
              <a:gd name="connsiteX185" fmla="*/ 2910360 w 11269336"/>
              <a:gd name="connsiteY185" fmla="*/ 2103444 h 2323145"/>
              <a:gd name="connsiteX186" fmla="*/ 2904507 w 11269336"/>
              <a:gd name="connsiteY186" fmla="*/ 2104326 h 2323145"/>
              <a:gd name="connsiteX187" fmla="*/ 2889503 w 11269336"/>
              <a:gd name="connsiteY187" fmla="*/ 2104443 h 2323145"/>
              <a:gd name="connsiteX188" fmla="*/ 2884480 w 11269336"/>
              <a:gd name="connsiteY188" fmla="*/ 2102626 h 2323145"/>
              <a:gd name="connsiteX189" fmla="*/ 2882689 w 11269336"/>
              <a:gd name="connsiteY189" fmla="*/ 2099228 h 2323145"/>
              <a:gd name="connsiteX190" fmla="*/ 2881291 w 11269336"/>
              <a:gd name="connsiteY190" fmla="*/ 2099618 h 2323145"/>
              <a:gd name="connsiteX191" fmla="*/ 2853979 w 11269336"/>
              <a:gd name="connsiteY191" fmla="*/ 2090388 h 2323145"/>
              <a:gd name="connsiteX192" fmla="*/ 2791790 w 11269336"/>
              <a:gd name="connsiteY192" fmla="*/ 2080332 h 2323145"/>
              <a:gd name="connsiteX193" fmla="*/ 2755844 w 11269336"/>
              <a:gd name="connsiteY193" fmla="*/ 2078874 h 2323145"/>
              <a:gd name="connsiteX194" fmla="*/ 2657742 w 11269336"/>
              <a:gd name="connsiteY194" fmla="*/ 2070179 h 2323145"/>
              <a:gd name="connsiteX195" fmla="*/ 2559549 w 11269336"/>
              <a:gd name="connsiteY195" fmla="*/ 2057873 h 2323145"/>
              <a:gd name="connsiteX196" fmla="*/ 2512054 w 11269336"/>
              <a:gd name="connsiteY196" fmla="*/ 2031671 h 2323145"/>
              <a:gd name="connsiteX197" fmla="*/ 2506437 w 11269336"/>
              <a:gd name="connsiteY197" fmla="*/ 2030918 h 2323145"/>
              <a:gd name="connsiteX198" fmla="*/ 2491752 w 11269336"/>
              <a:gd name="connsiteY198" fmla="*/ 2033906 h 2323145"/>
              <a:gd name="connsiteX199" fmla="*/ 2486338 w 11269336"/>
              <a:gd name="connsiteY199" fmla="*/ 2035862 h 2323145"/>
              <a:gd name="connsiteX200" fmla="*/ 2478186 w 11269336"/>
              <a:gd name="connsiteY200" fmla="*/ 2036953 h 2323145"/>
              <a:gd name="connsiteX201" fmla="*/ 2477950 w 11269336"/>
              <a:gd name="connsiteY201" fmla="*/ 2036715 h 2323145"/>
              <a:gd name="connsiteX202" fmla="*/ 2470381 w 11269336"/>
              <a:gd name="connsiteY202" fmla="*/ 2038256 h 2323145"/>
              <a:gd name="connsiteX203" fmla="*/ 2433781 w 11269336"/>
              <a:gd name="connsiteY203" fmla="*/ 2049140 h 2323145"/>
              <a:gd name="connsiteX204" fmla="*/ 2381172 w 11269336"/>
              <a:gd name="connsiteY204" fmla="*/ 2030645 h 2323145"/>
              <a:gd name="connsiteX205" fmla="*/ 2360198 w 11269336"/>
              <a:gd name="connsiteY205" fmla="*/ 2029059 h 2323145"/>
              <a:gd name="connsiteX206" fmla="*/ 2348815 w 11269336"/>
              <a:gd name="connsiteY206" fmla="*/ 2026798 h 2323145"/>
              <a:gd name="connsiteX207" fmla="*/ 2347988 w 11269336"/>
              <a:gd name="connsiteY207" fmla="*/ 2025745 h 2323145"/>
              <a:gd name="connsiteX208" fmla="*/ 2312920 w 11269336"/>
              <a:gd name="connsiteY208" fmla="*/ 2036311 h 2323145"/>
              <a:gd name="connsiteX209" fmla="*/ 2307986 w 11269336"/>
              <a:gd name="connsiteY209" fmla="*/ 2035583 h 2323145"/>
              <a:gd name="connsiteX210" fmla="*/ 2285481 w 11269336"/>
              <a:gd name="connsiteY210" fmla="*/ 2045197 h 2323145"/>
              <a:gd name="connsiteX211" fmla="*/ 2273666 w 11269336"/>
              <a:gd name="connsiteY211" fmla="*/ 2048710 h 2323145"/>
              <a:gd name="connsiteX212" fmla="*/ 2270719 w 11269336"/>
              <a:gd name="connsiteY212" fmla="*/ 2052702 h 2323145"/>
              <a:gd name="connsiteX213" fmla="*/ 2253080 w 11269336"/>
              <a:gd name="connsiteY213" fmla="*/ 2056363 h 2323145"/>
              <a:gd name="connsiteX214" fmla="*/ 2250906 w 11269336"/>
              <a:gd name="connsiteY214" fmla="*/ 2055654 h 2323145"/>
              <a:gd name="connsiteX215" fmla="*/ 2236905 w 11269336"/>
              <a:gd name="connsiteY215" fmla="*/ 2062882 h 2323145"/>
              <a:gd name="connsiteX216" fmla="*/ 2225830 w 11269336"/>
              <a:gd name="connsiteY216" fmla="*/ 2074027 h 2323145"/>
              <a:gd name="connsiteX217" fmla="*/ 2073776 w 11269336"/>
              <a:gd name="connsiteY217" fmla="*/ 2089244 h 2323145"/>
              <a:gd name="connsiteX218" fmla="*/ 1948256 w 11269336"/>
              <a:gd name="connsiteY218" fmla="*/ 2146616 h 2323145"/>
              <a:gd name="connsiteX219" fmla="*/ 1865582 w 11269336"/>
              <a:gd name="connsiteY219" fmla="*/ 2153738 h 2323145"/>
              <a:gd name="connsiteX220" fmla="*/ 1835210 w 11269336"/>
              <a:gd name="connsiteY220" fmla="*/ 2134244 h 2323145"/>
              <a:gd name="connsiteX221" fmla="*/ 1632661 w 11269336"/>
              <a:gd name="connsiteY221" fmla="*/ 2173882 h 2323145"/>
              <a:gd name="connsiteX222" fmla="*/ 1579590 w 11269336"/>
              <a:gd name="connsiteY222" fmla="*/ 2173680 h 2323145"/>
              <a:gd name="connsiteX223" fmla="*/ 1535601 w 11269336"/>
              <a:gd name="connsiteY223" fmla="*/ 2194590 h 2323145"/>
              <a:gd name="connsiteX224" fmla="*/ 1515594 w 11269336"/>
              <a:gd name="connsiteY224" fmla="*/ 2189622 h 2323145"/>
              <a:gd name="connsiteX225" fmla="*/ 1512113 w 11269336"/>
              <a:gd name="connsiteY225" fmla="*/ 2188534 h 2323145"/>
              <a:gd name="connsiteX226" fmla="*/ 1498838 w 11269336"/>
              <a:gd name="connsiteY226" fmla="*/ 2189213 h 2323145"/>
              <a:gd name="connsiteX227" fmla="*/ 1494279 w 11269336"/>
              <a:gd name="connsiteY227" fmla="*/ 2183112 h 2323145"/>
              <a:gd name="connsiteX228" fmla="*/ 1473714 w 11269336"/>
              <a:gd name="connsiteY228" fmla="*/ 2179625 h 2323145"/>
              <a:gd name="connsiteX229" fmla="*/ 1449503 w 11269336"/>
              <a:gd name="connsiteY229" fmla="*/ 2182633 h 2323145"/>
              <a:gd name="connsiteX230" fmla="*/ 1266687 w 11269336"/>
              <a:gd name="connsiteY230" fmla="*/ 2212688 h 2323145"/>
              <a:gd name="connsiteX231" fmla="*/ 1239614 w 11269336"/>
              <a:gd name="connsiteY231" fmla="*/ 2209727 h 2323145"/>
              <a:gd name="connsiteX232" fmla="*/ 1202436 w 11269336"/>
              <a:gd name="connsiteY232" fmla="*/ 2209817 h 2323145"/>
              <a:gd name="connsiteX233" fmla="*/ 1136097 w 11269336"/>
              <a:gd name="connsiteY233" fmla="*/ 2205112 h 2323145"/>
              <a:gd name="connsiteX234" fmla="*/ 988232 w 11269336"/>
              <a:gd name="connsiteY234" fmla="*/ 2235635 h 2323145"/>
              <a:gd name="connsiteX235" fmla="*/ 981959 w 11269336"/>
              <a:gd name="connsiteY235" fmla="*/ 2231607 h 2323145"/>
              <a:gd name="connsiteX236" fmla="*/ 938600 w 11269336"/>
              <a:gd name="connsiteY236" fmla="*/ 2238113 h 2323145"/>
              <a:gd name="connsiteX237" fmla="*/ 791788 w 11269336"/>
              <a:gd name="connsiteY237" fmla="*/ 2293224 h 2323145"/>
              <a:gd name="connsiteX238" fmla="*/ 706914 w 11269336"/>
              <a:gd name="connsiteY238" fmla="*/ 2305046 h 2323145"/>
              <a:gd name="connsiteX239" fmla="*/ 675971 w 11269336"/>
              <a:gd name="connsiteY239" fmla="*/ 2304030 h 2323145"/>
              <a:gd name="connsiteX240" fmla="*/ 624180 w 11269336"/>
              <a:gd name="connsiteY240" fmla="*/ 2302650 h 2323145"/>
              <a:gd name="connsiteX241" fmla="*/ 583453 w 11269336"/>
              <a:gd name="connsiteY241" fmla="*/ 2288788 h 2323145"/>
              <a:gd name="connsiteX242" fmla="*/ 540946 w 11269336"/>
              <a:gd name="connsiteY242" fmla="*/ 2292721 h 2323145"/>
              <a:gd name="connsiteX243" fmla="*/ 533680 w 11269336"/>
              <a:gd name="connsiteY243" fmla="*/ 2310233 h 2323145"/>
              <a:gd name="connsiteX244" fmla="*/ 487366 w 11269336"/>
              <a:gd name="connsiteY244" fmla="*/ 2309053 h 2323145"/>
              <a:gd name="connsiteX245" fmla="*/ 416820 w 11269336"/>
              <a:gd name="connsiteY245" fmla="*/ 2305443 h 2323145"/>
              <a:gd name="connsiteX246" fmla="*/ 376805 w 11269336"/>
              <a:gd name="connsiteY246" fmla="*/ 2307647 h 2323145"/>
              <a:gd name="connsiteX247" fmla="*/ 266777 w 11269336"/>
              <a:gd name="connsiteY247" fmla="*/ 2309012 h 2323145"/>
              <a:gd name="connsiteX248" fmla="*/ 156013 w 11269336"/>
              <a:gd name="connsiteY248" fmla="*/ 2306832 h 2323145"/>
              <a:gd name="connsiteX249" fmla="*/ 87258 w 11269336"/>
              <a:gd name="connsiteY249" fmla="*/ 2285511 h 2323145"/>
              <a:gd name="connsiteX250" fmla="*/ 23798 w 11269336"/>
              <a:gd name="connsiteY250" fmla="*/ 2281822 h 2323145"/>
              <a:gd name="connsiteX251" fmla="*/ 0 w 11269336"/>
              <a:gd name="connsiteY251" fmla="*/ 2285369 h 2323145"/>
              <a:gd name="connsiteX252" fmla="*/ 0 w 11269336"/>
              <a:gd name="connsiteY25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405765 w 11269336"/>
              <a:gd name="connsiteY141" fmla="*/ 2199902 h 2323145"/>
              <a:gd name="connsiteX142" fmla="*/ 4401354 w 11269336"/>
              <a:gd name="connsiteY142" fmla="*/ 2194745 h 2323145"/>
              <a:gd name="connsiteX143" fmla="*/ 4366646 w 11269336"/>
              <a:gd name="connsiteY143" fmla="*/ 2198564 h 2323145"/>
              <a:gd name="connsiteX144" fmla="*/ 4354009 w 11269336"/>
              <a:gd name="connsiteY144" fmla="*/ 2204984 h 2323145"/>
              <a:gd name="connsiteX145" fmla="*/ 4348284 w 11269336"/>
              <a:gd name="connsiteY145" fmla="*/ 2205270 h 2323145"/>
              <a:gd name="connsiteX146" fmla="*/ 4333906 w 11269336"/>
              <a:gd name="connsiteY146" fmla="*/ 2205251 h 2323145"/>
              <a:gd name="connsiteX147" fmla="*/ 4308819 w 11269336"/>
              <a:gd name="connsiteY147" fmla="*/ 2203822 h 2323145"/>
              <a:gd name="connsiteX148" fmla="*/ 4301210 w 11269336"/>
              <a:gd name="connsiteY148" fmla="*/ 2204456 h 2323145"/>
              <a:gd name="connsiteX149" fmla="*/ 4283095 w 11269336"/>
              <a:gd name="connsiteY149" fmla="*/ 2198177 h 2323145"/>
              <a:gd name="connsiteX150" fmla="*/ 4250119 w 11269336"/>
              <a:gd name="connsiteY150" fmla="*/ 2196342 h 2323145"/>
              <a:gd name="connsiteX151" fmla="*/ 4189203 w 11269336"/>
              <a:gd name="connsiteY151" fmla="*/ 2178994 h 2323145"/>
              <a:gd name="connsiteX152" fmla="*/ 4154035 w 11269336"/>
              <a:gd name="connsiteY152" fmla="*/ 2171950 h 2323145"/>
              <a:gd name="connsiteX153" fmla="*/ 4129569 w 11269336"/>
              <a:gd name="connsiteY153" fmla="*/ 2163850 h 2323145"/>
              <a:gd name="connsiteX154" fmla="*/ 4061250 w 11269336"/>
              <a:gd name="connsiteY154" fmla="*/ 2159236 h 2323145"/>
              <a:gd name="connsiteX155" fmla="*/ 3945480 w 11269336"/>
              <a:gd name="connsiteY155" fmla="*/ 2158279 h 2323145"/>
              <a:gd name="connsiteX156" fmla="*/ 3921468 w 11269336"/>
              <a:gd name="connsiteY156" fmla="*/ 2156588 h 2323145"/>
              <a:gd name="connsiteX157" fmla="*/ 3903348 w 11269336"/>
              <a:gd name="connsiteY157" fmla="*/ 2149220 h 2323145"/>
              <a:gd name="connsiteX158" fmla="*/ 3901342 w 11269336"/>
              <a:gd name="connsiteY158" fmla="*/ 2142355 h 2323145"/>
              <a:gd name="connsiteX159" fmla="*/ 3888539 w 11269336"/>
              <a:gd name="connsiteY159" fmla="*/ 2140476 h 2323145"/>
              <a:gd name="connsiteX160" fmla="*/ 3885662 w 11269336"/>
              <a:gd name="connsiteY160" fmla="*/ 2138740 h 2323145"/>
              <a:gd name="connsiteX161" fmla="*/ 3868627 w 11269336"/>
              <a:gd name="connsiteY161" fmla="*/ 2130023 h 2323145"/>
              <a:gd name="connsiteX162" fmla="*/ 3819177 w 11269336"/>
              <a:gd name="connsiteY162" fmla="*/ 2142111 h 2323145"/>
              <a:gd name="connsiteX163" fmla="*/ 3769100 w 11269336"/>
              <a:gd name="connsiteY163" fmla="*/ 2131731 h 2323145"/>
              <a:gd name="connsiteX164" fmla="*/ 3562752 w 11269336"/>
              <a:gd name="connsiteY164" fmla="*/ 2131785 h 2323145"/>
              <a:gd name="connsiteX165" fmla="*/ 3541402 w 11269336"/>
              <a:gd name="connsiteY165" fmla="*/ 2106821 h 2323145"/>
              <a:gd name="connsiteX166" fmla="*/ 3365341 w 11269336"/>
              <a:gd name="connsiteY166" fmla="*/ 2077638 h 2323145"/>
              <a:gd name="connsiteX167" fmla="*/ 3170922 w 11269336"/>
              <a:gd name="connsiteY167" fmla="*/ 2115957 h 2323145"/>
              <a:gd name="connsiteX168" fmla="*/ 3156256 w 11269336"/>
              <a:gd name="connsiteY168" fmla="*/ 2124773 h 2323145"/>
              <a:gd name="connsiteX169" fmla="*/ 3140298 w 11269336"/>
              <a:gd name="connsiteY169" fmla="*/ 2129182 h 2323145"/>
              <a:gd name="connsiteX170" fmla="*/ 3138514 w 11269336"/>
              <a:gd name="connsiteY170" fmla="*/ 2128069 h 2323145"/>
              <a:gd name="connsiteX171" fmla="*/ 3120467 w 11269336"/>
              <a:gd name="connsiteY171" fmla="*/ 2128281 h 2323145"/>
              <a:gd name="connsiteX172" fmla="*/ 3116175 w 11269336"/>
              <a:gd name="connsiteY172" fmla="*/ 2131633 h 2323145"/>
              <a:gd name="connsiteX173" fmla="*/ 3103685 w 11269336"/>
              <a:gd name="connsiteY173" fmla="*/ 2132814 h 2323145"/>
              <a:gd name="connsiteX174" fmla="*/ 3078794 w 11269336"/>
              <a:gd name="connsiteY174" fmla="*/ 2137935 h 2323145"/>
              <a:gd name="connsiteX175" fmla="*/ 3074407 w 11269336"/>
              <a:gd name="connsiteY175" fmla="*/ 2136274 h 2323145"/>
              <a:gd name="connsiteX176" fmla="*/ 3037285 w 11269336"/>
              <a:gd name="connsiteY176" fmla="*/ 2139919 h 2323145"/>
              <a:gd name="connsiteX177" fmla="*/ 3036901 w 11269336"/>
              <a:gd name="connsiteY177" fmla="*/ 2138726 h 2323145"/>
              <a:gd name="connsiteX178" fmla="*/ 3026996 w 11269336"/>
              <a:gd name="connsiteY178" fmla="*/ 2134322 h 2323145"/>
              <a:gd name="connsiteX179" fmla="*/ 3007772 w 11269336"/>
              <a:gd name="connsiteY179" fmla="*/ 2128742 h 2323145"/>
              <a:gd name="connsiteX180" fmla="*/ 2965030 w 11269336"/>
              <a:gd name="connsiteY180" fmla="*/ 2100494 h 2323145"/>
              <a:gd name="connsiteX181" fmla="*/ 2926342 w 11269336"/>
              <a:gd name="connsiteY181" fmla="*/ 2104155 h 2323145"/>
              <a:gd name="connsiteX182" fmla="*/ 2918608 w 11269336"/>
              <a:gd name="connsiteY182" fmla="*/ 2104215 h 2323145"/>
              <a:gd name="connsiteX183" fmla="*/ 2918475 w 11269336"/>
              <a:gd name="connsiteY183" fmla="*/ 2103937 h 2323145"/>
              <a:gd name="connsiteX184" fmla="*/ 2910360 w 11269336"/>
              <a:gd name="connsiteY184" fmla="*/ 2103444 h 2323145"/>
              <a:gd name="connsiteX185" fmla="*/ 2904507 w 11269336"/>
              <a:gd name="connsiteY185" fmla="*/ 2104326 h 2323145"/>
              <a:gd name="connsiteX186" fmla="*/ 2889503 w 11269336"/>
              <a:gd name="connsiteY186" fmla="*/ 2104443 h 2323145"/>
              <a:gd name="connsiteX187" fmla="*/ 2884480 w 11269336"/>
              <a:gd name="connsiteY187" fmla="*/ 2102626 h 2323145"/>
              <a:gd name="connsiteX188" fmla="*/ 2882689 w 11269336"/>
              <a:gd name="connsiteY188" fmla="*/ 2099228 h 2323145"/>
              <a:gd name="connsiteX189" fmla="*/ 2881291 w 11269336"/>
              <a:gd name="connsiteY189" fmla="*/ 2099618 h 2323145"/>
              <a:gd name="connsiteX190" fmla="*/ 2853979 w 11269336"/>
              <a:gd name="connsiteY190" fmla="*/ 2090388 h 2323145"/>
              <a:gd name="connsiteX191" fmla="*/ 2791790 w 11269336"/>
              <a:gd name="connsiteY191" fmla="*/ 2080332 h 2323145"/>
              <a:gd name="connsiteX192" fmla="*/ 2755844 w 11269336"/>
              <a:gd name="connsiteY192" fmla="*/ 2078874 h 2323145"/>
              <a:gd name="connsiteX193" fmla="*/ 2657742 w 11269336"/>
              <a:gd name="connsiteY193" fmla="*/ 2070179 h 2323145"/>
              <a:gd name="connsiteX194" fmla="*/ 2559549 w 11269336"/>
              <a:gd name="connsiteY194" fmla="*/ 2057873 h 2323145"/>
              <a:gd name="connsiteX195" fmla="*/ 2512054 w 11269336"/>
              <a:gd name="connsiteY195" fmla="*/ 2031671 h 2323145"/>
              <a:gd name="connsiteX196" fmla="*/ 2506437 w 11269336"/>
              <a:gd name="connsiteY196" fmla="*/ 2030918 h 2323145"/>
              <a:gd name="connsiteX197" fmla="*/ 2491752 w 11269336"/>
              <a:gd name="connsiteY197" fmla="*/ 2033906 h 2323145"/>
              <a:gd name="connsiteX198" fmla="*/ 2486338 w 11269336"/>
              <a:gd name="connsiteY198" fmla="*/ 2035862 h 2323145"/>
              <a:gd name="connsiteX199" fmla="*/ 2478186 w 11269336"/>
              <a:gd name="connsiteY199" fmla="*/ 2036953 h 2323145"/>
              <a:gd name="connsiteX200" fmla="*/ 2477950 w 11269336"/>
              <a:gd name="connsiteY200" fmla="*/ 2036715 h 2323145"/>
              <a:gd name="connsiteX201" fmla="*/ 2470381 w 11269336"/>
              <a:gd name="connsiteY201" fmla="*/ 2038256 h 2323145"/>
              <a:gd name="connsiteX202" fmla="*/ 2433781 w 11269336"/>
              <a:gd name="connsiteY202" fmla="*/ 2049140 h 2323145"/>
              <a:gd name="connsiteX203" fmla="*/ 2381172 w 11269336"/>
              <a:gd name="connsiteY203" fmla="*/ 2030645 h 2323145"/>
              <a:gd name="connsiteX204" fmla="*/ 2360198 w 11269336"/>
              <a:gd name="connsiteY204" fmla="*/ 2029059 h 2323145"/>
              <a:gd name="connsiteX205" fmla="*/ 2348815 w 11269336"/>
              <a:gd name="connsiteY205" fmla="*/ 2026798 h 2323145"/>
              <a:gd name="connsiteX206" fmla="*/ 2347988 w 11269336"/>
              <a:gd name="connsiteY206" fmla="*/ 2025745 h 2323145"/>
              <a:gd name="connsiteX207" fmla="*/ 2312920 w 11269336"/>
              <a:gd name="connsiteY207" fmla="*/ 2036311 h 2323145"/>
              <a:gd name="connsiteX208" fmla="*/ 2307986 w 11269336"/>
              <a:gd name="connsiteY208" fmla="*/ 2035583 h 2323145"/>
              <a:gd name="connsiteX209" fmla="*/ 2285481 w 11269336"/>
              <a:gd name="connsiteY209" fmla="*/ 2045197 h 2323145"/>
              <a:gd name="connsiteX210" fmla="*/ 2273666 w 11269336"/>
              <a:gd name="connsiteY210" fmla="*/ 2048710 h 2323145"/>
              <a:gd name="connsiteX211" fmla="*/ 2270719 w 11269336"/>
              <a:gd name="connsiteY211" fmla="*/ 2052702 h 2323145"/>
              <a:gd name="connsiteX212" fmla="*/ 2253080 w 11269336"/>
              <a:gd name="connsiteY212" fmla="*/ 2056363 h 2323145"/>
              <a:gd name="connsiteX213" fmla="*/ 2250906 w 11269336"/>
              <a:gd name="connsiteY213" fmla="*/ 2055654 h 2323145"/>
              <a:gd name="connsiteX214" fmla="*/ 2236905 w 11269336"/>
              <a:gd name="connsiteY214" fmla="*/ 2062882 h 2323145"/>
              <a:gd name="connsiteX215" fmla="*/ 2225830 w 11269336"/>
              <a:gd name="connsiteY215" fmla="*/ 2074027 h 2323145"/>
              <a:gd name="connsiteX216" fmla="*/ 2073776 w 11269336"/>
              <a:gd name="connsiteY216" fmla="*/ 2089244 h 2323145"/>
              <a:gd name="connsiteX217" fmla="*/ 1948256 w 11269336"/>
              <a:gd name="connsiteY217" fmla="*/ 2146616 h 2323145"/>
              <a:gd name="connsiteX218" fmla="*/ 1865582 w 11269336"/>
              <a:gd name="connsiteY218" fmla="*/ 2153738 h 2323145"/>
              <a:gd name="connsiteX219" fmla="*/ 1835210 w 11269336"/>
              <a:gd name="connsiteY219" fmla="*/ 2134244 h 2323145"/>
              <a:gd name="connsiteX220" fmla="*/ 1632661 w 11269336"/>
              <a:gd name="connsiteY220" fmla="*/ 2173882 h 2323145"/>
              <a:gd name="connsiteX221" fmla="*/ 1579590 w 11269336"/>
              <a:gd name="connsiteY221" fmla="*/ 2173680 h 2323145"/>
              <a:gd name="connsiteX222" fmla="*/ 1535601 w 11269336"/>
              <a:gd name="connsiteY222" fmla="*/ 2194590 h 2323145"/>
              <a:gd name="connsiteX223" fmla="*/ 1515594 w 11269336"/>
              <a:gd name="connsiteY223" fmla="*/ 2189622 h 2323145"/>
              <a:gd name="connsiteX224" fmla="*/ 1512113 w 11269336"/>
              <a:gd name="connsiteY224" fmla="*/ 2188534 h 2323145"/>
              <a:gd name="connsiteX225" fmla="*/ 1498838 w 11269336"/>
              <a:gd name="connsiteY225" fmla="*/ 2189213 h 2323145"/>
              <a:gd name="connsiteX226" fmla="*/ 1494279 w 11269336"/>
              <a:gd name="connsiteY226" fmla="*/ 2183112 h 2323145"/>
              <a:gd name="connsiteX227" fmla="*/ 1473714 w 11269336"/>
              <a:gd name="connsiteY227" fmla="*/ 2179625 h 2323145"/>
              <a:gd name="connsiteX228" fmla="*/ 1449503 w 11269336"/>
              <a:gd name="connsiteY228" fmla="*/ 2182633 h 2323145"/>
              <a:gd name="connsiteX229" fmla="*/ 1266687 w 11269336"/>
              <a:gd name="connsiteY229" fmla="*/ 2212688 h 2323145"/>
              <a:gd name="connsiteX230" fmla="*/ 1239614 w 11269336"/>
              <a:gd name="connsiteY230" fmla="*/ 2209727 h 2323145"/>
              <a:gd name="connsiteX231" fmla="*/ 1202436 w 11269336"/>
              <a:gd name="connsiteY231" fmla="*/ 2209817 h 2323145"/>
              <a:gd name="connsiteX232" fmla="*/ 1136097 w 11269336"/>
              <a:gd name="connsiteY232" fmla="*/ 2205112 h 2323145"/>
              <a:gd name="connsiteX233" fmla="*/ 988232 w 11269336"/>
              <a:gd name="connsiteY233" fmla="*/ 2235635 h 2323145"/>
              <a:gd name="connsiteX234" fmla="*/ 981959 w 11269336"/>
              <a:gd name="connsiteY234" fmla="*/ 2231607 h 2323145"/>
              <a:gd name="connsiteX235" fmla="*/ 938600 w 11269336"/>
              <a:gd name="connsiteY235" fmla="*/ 2238113 h 2323145"/>
              <a:gd name="connsiteX236" fmla="*/ 791788 w 11269336"/>
              <a:gd name="connsiteY236" fmla="*/ 2293224 h 2323145"/>
              <a:gd name="connsiteX237" fmla="*/ 706914 w 11269336"/>
              <a:gd name="connsiteY237" fmla="*/ 2305046 h 2323145"/>
              <a:gd name="connsiteX238" fmla="*/ 675971 w 11269336"/>
              <a:gd name="connsiteY238" fmla="*/ 2304030 h 2323145"/>
              <a:gd name="connsiteX239" fmla="*/ 624180 w 11269336"/>
              <a:gd name="connsiteY239" fmla="*/ 2302650 h 2323145"/>
              <a:gd name="connsiteX240" fmla="*/ 583453 w 11269336"/>
              <a:gd name="connsiteY240" fmla="*/ 2288788 h 2323145"/>
              <a:gd name="connsiteX241" fmla="*/ 540946 w 11269336"/>
              <a:gd name="connsiteY241" fmla="*/ 2292721 h 2323145"/>
              <a:gd name="connsiteX242" fmla="*/ 533680 w 11269336"/>
              <a:gd name="connsiteY242" fmla="*/ 2310233 h 2323145"/>
              <a:gd name="connsiteX243" fmla="*/ 487366 w 11269336"/>
              <a:gd name="connsiteY243" fmla="*/ 2309053 h 2323145"/>
              <a:gd name="connsiteX244" fmla="*/ 416820 w 11269336"/>
              <a:gd name="connsiteY244" fmla="*/ 2305443 h 2323145"/>
              <a:gd name="connsiteX245" fmla="*/ 376805 w 11269336"/>
              <a:gd name="connsiteY245" fmla="*/ 2307647 h 2323145"/>
              <a:gd name="connsiteX246" fmla="*/ 266777 w 11269336"/>
              <a:gd name="connsiteY246" fmla="*/ 2309012 h 2323145"/>
              <a:gd name="connsiteX247" fmla="*/ 156013 w 11269336"/>
              <a:gd name="connsiteY247" fmla="*/ 2306832 h 2323145"/>
              <a:gd name="connsiteX248" fmla="*/ 87258 w 11269336"/>
              <a:gd name="connsiteY248" fmla="*/ 2285511 h 2323145"/>
              <a:gd name="connsiteX249" fmla="*/ 23798 w 11269336"/>
              <a:gd name="connsiteY249" fmla="*/ 2281822 h 2323145"/>
              <a:gd name="connsiteX250" fmla="*/ 0 w 11269336"/>
              <a:gd name="connsiteY250" fmla="*/ 2285369 h 2323145"/>
              <a:gd name="connsiteX251" fmla="*/ 0 w 11269336"/>
              <a:gd name="connsiteY251" fmla="*/ 0 h 2323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</a:cxnLst>
            <a:rect l="l" t="t" r="r" b="b"/>
            <a:pathLst>
              <a:path w="11269336" h="2323145">
                <a:moveTo>
                  <a:pt x="0" y="0"/>
                </a:moveTo>
                <a:lnTo>
                  <a:pt x="11269336" y="0"/>
                </a:lnTo>
                <a:lnTo>
                  <a:pt x="11268645" y="511"/>
                </a:lnTo>
                <a:cubicBezTo>
                  <a:pt x="11257520" y="14091"/>
                  <a:pt x="11248967" y="32073"/>
                  <a:pt x="11230739" y="37096"/>
                </a:cubicBezTo>
                <a:cubicBezTo>
                  <a:pt x="11194283" y="47141"/>
                  <a:pt x="11124351" y="55013"/>
                  <a:pt x="11082485" y="78590"/>
                </a:cubicBezTo>
                <a:cubicBezTo>
                  <a:pt x="11064655" y="69818"/>
                  <a:pt x="11049588" y="97621"/>
                  <a:pt x="11031776" y="79197"/>
                </a:cubicBezTo>
                <a:cubicBezTo>
                  <a:pt x="11016683" y="85023"/>
                  <a:pt x="11009945" y="92832"/>
                  <a:pt x="10995894" y="83459"/>
                </a:cubicBezTo>
                <a:cubicBezTo>
                  <a:pt x="10971843" y="134740"/>
                  <a:pt x="10888992" y="106042"/>
                  <a:pt x="10861177" y="147419"/>
                </a:cubicBezTo>
                <a:cubicBezTo>
                  <a:pt x="10850370" y="129415"/>
                  <a:pt x="10807086" y="138624"/>
                  <a:pt x="10782732" y="135645"/>
                </a:cubicBezTo>
                <a:cubicBezTo>
                  <a:pt x="10869014" y="196205"/>
                  <a:pt x="10693356" y="147304"/>
                  <a:pt x="10660773" y="179312"/>
                </a:cubicBezTo>
                <a:cubicBezTo>
                  <a:pt x="10667385" y="121467"/>
                  <a:pt x="10595265" y="182241"/>
                  <a:pt x="10564442" y="160738"/>
                </a:cubicBezTo>
                <a:cubicBezTo>
                  <a:pt x="10544419" y="190949"/>
                  <a:pt x="10518436" y="167191"/>
                  <a:pt x="10490200" y="183533"/>
                </a:cubicBezTo>
                <a:cubicBezTo>
                  <a:pt x="10423905" y="202688"/>
                  <a:pt x="10362764" y="244779"/>
                  <a:pt x="10271351" y="243104"/>
                </a:cubicBezTo>
                <a:cubicBezTo>
                  <a:pt x="10247818" y="329775"/>
                  <a:pt x="10135674" y="303068"/>
                  <a:pt x="10061033" y="364937"/>
                </a:cubicBezTo>
                <a:cubicBezTo>
                  <a:pt x="10014289" y="383940"/>
                  <a:pt x="9930032" y="360289"/>
                  <a:pt x="9921770" y="406154"/>
                </a:cubicBezTo>
                <a:cubicBezTo>
                  <a:pt x="9894276" y="384665"/>
                  <a:pt x="9881945" y="430851"/>
                  <a:pt x="9858388" y="439489"/>
                </a:cubicBezTo>
                <a:cubicBezTo>
                  <a:pt x="9835642" y="426888"/>
                  <a:pt x="9828901" y="443125"/>
                  <a:pt x="9811914" y="449865"/>
                </a:cubicBezTo>
                <a:cubicBezTo>
                  <a:pt x="9801869" y="441287"/>
                  <a:pt x="9787055" y="444835"/>
                  <a:pt x="9784394" y="457816"/>
                </a:cubicBezTo>
                <a:cubicBezTo>
                  <a:pt x="9797169" y="483924"/>
                  <a:pt x="9656844" y="450179"/>
                  <a:pt x="9656836" y="469967"/>
                </a:cubicBezTo>
                <a:cubicBezTo>
                  <a:pt x="9589537" y="485301"/>
                  <a:pt x="9662097" y="527310"/>
                  <a:pt x="9561575" y="559978"/>
                </a:cubicBezTo>
                <a:cubicBezTo>
                  <a:pt x="9479149" y="599104"/>
                  <a:pt x="9215234" y="670585"/>
                  <a:pt x="9162278" y="704724"/>
                </a:cubicBezTo>
                <a:cubicBezTo>
                  <a:pt x="9173017" y="730567"/>
                  <a:pt x="9063215" y="727685"/>
                  <a:pt x="9062863" y="754656"/>
                </a:cubicBezTo>
                <a:cubicBezTo>
                  <a:pt x="9021608" y="774940"/>
                  <a:pt x="8924639" y="816390"/>
                  <a:pt x="8914746" y="826428"/>
                </a:cubicBezTo>
                <a:lnTo>
                  <a:pt x="8917778" y="835198"/>
                </a:lnTo>
                <a:lnTo>
                  <a:pt x="8905560" y="838358"/>
                </a:lnTo>
                <a:lnTo>
                  <a:pt x="8897564" y="834287"/>
                </a:lnTo>
                <a:lnTo>
                  <a:pt x="8878040" y="844150"/>
                </a:lnTo>
                <a:cubicBezTo>
                  <a:pt x="8861112" y="848992"/>
                  <a:pt x="8812843" y="856499"/>
                  <a:pt x="8795998" y="863337"/>
                </a:cubicBezTo>
                <a:cubicBezTo>
                  <a:pt x="8792888" y="873975"/>
                  <a:pt x="8786153" y="880792"/>
                  <a:pt x="8776970" y="885177"/>
                </a:cubicBezTo>
                <a:lnTo>
                  <a:pt x="8755719" y="889754"/>
                </a:lnTo>
                <a:lnTo>
                  <a:pt x="8743257" y="904723"/>
                </a:lnTo>
                <a:cubicBezTo>
                  <a:pt x="8737642" y="908108"/>
                  <a:pt x="8730651" y="908759"/>
                  <a:pt x="8721366" y="904711"/>
                </a:cubicBezTo>
                <a:cubicBezTo>
                  <a:pt x="8711895" y="915873"/>
                  <a:pt x="8676250" y="900745"/>
                  <a:pt x="8678353" y="926318"/>
                </a:cubicBezTo>
                <a:cubicBezTo>
                  <a:pt x="8658506" y="928813"/>
                  <a:pt x="8647569" y="933735"/>
                  <a:pt x="8636849" y="937900"/>
                </a:cubicBezTo>
                <a:lnTo>
                  <a:pt x="8620213" y="943068"/>
                </a:lnTo>
                <a:lnTo>
                  <a:pt x="8612581" y="952695"/>
                </a:lnTo>
                <a:cubicBezTo>
                  <a:pt x="8605836" y="959769"/>
                  <a:pt x="8598255" y="964412"/>
                  <a:pt x="8589038" y="963892"/>
                </a:cubicBezTo>
                <a:lnTo>
                  <a:pt x="8579950" y="960899"/>
                </a:lnTo>
                <a:cubicBezTo>
                  <a:pt x="8579740" y="962476"/>
                  <a:pt x="8579529" y="964053"/>
                  <a:pt x="8579319" y="965630"/>
                </a:cubicBezTo>
                <a:cubicBezTo>
                  <a:pt x="8579138" y="972972"/>
                  <a:pt x="8576531" y="980010"/>
                  <a:pt x="8547429" y="984506"/>
                </a:cubicBezTo>
                <a:cubicBezTo>
                  <a:pt x="8529238" y="1001725"/>
                  <a:pt x="8505565" y="1015840"/>
                  <a:pt x="8478704" y="1025490"/>
                </a:cubicBezTo>
                <a:cubicBezTo>
                  <a:pt x="8473109" y="1019545"/>
                  <a:pt x="8465819" y="1032194"/>
                  <a:pt x="8461421" y="1035512"/>
                </a:cubicBezTo>
                <a:cubicBezTo>
                  <a:pt x="8459739" y="1031087"/>
                  <a:pt x="8447663" y="1032074"/>
                  <a:pt x="8445003" y="1036851"/>
                </a:cubicBezTo>
                <a:cubicBezTo>
                  <a:pt x="8366593" y="1075951"/>
                  <a:pt x="8398773" y="1021402"/>
                  <a:pt x="8357350" y="1060213"/>
                </a:cubicBezTo>
                <a:cubicBezTo>
                  <a:pt x="8349366" y="1063843"/>
                  <a:pt x="8342208" y="1063367"/>
                  <a:pt x="8335565" y="1061151"/>
                </a:cubicBezTo>
                <a:lnTo>
                  <a:pt x="8325267" y="1055919"/>
                </a:lnTo>
                <a:lnTo>
                  <a:pt x="8293586" y="1076144"/>
                </a:lnTo>
                <a:cubicBezTo>
                  <a:pt x="8277595" y="1084193"/>
                  <a:pt x="8260401" y="1090863"/>
                  <a:pt x="8242405" y="1095960"/>
                </a:cubicBezTo>
                <a:cubicBezTo>
                  <a:pt x="8226373" y="1101227"/>
                  <a:pt x="8224213" y="1102052"/>
                  <a:pt x="8197391" y="1107746"/>
                </a:cubicBezTo>
                <a:cubicBezTo>
                  <a:pt x="8090266" y="1152133"/>
                  <a:pt x="8141491" y="1082372"/>
                  <a:pt x="8081474" y="1130125"/>
                </a:cubicBezTo>
                <a:cubicBezTo>
                  <a:pt x="8070634" y="1134173"/>
                  <a:pt x="8061619" y="1132810"/>
                  <a:pt x="8053585" y="1129169"/>
                </a:cubicBezTo>
                <a:lnTo>
                  <a:pt x="8038422" y="1119092"/>
                </a:lnTo>
                <a:lnTo>
                  <a:pt x="8029450" y="1125592"/>
                </a:lnTo>
                <a:cubicBezTo>
                  <a:pt x="7992226" y="1133484"/>
                  <a:pt x="7978616" y="1122765"/>
                  <a:pt x="7959552" y="1140188"/>
                </a:cubicBezTo>
                <a:cubicBezTo>
                  <a:pt x="7922008" y="1119572"/>
                  <a:pt x="7937737" y="1141786"/>
                  <a:pt x="7914188" y="1150862"/>
                </a:cubicBezTo>
                <a:cubicBezTo>
                  <a:pt x="7896037" y="1160155"/>
                  <a:pt x="7933463" y="1163411"/>
                  <a:pt x="7914918" y="1168758"/>
                </a:cubicBezTo>
                <a:cubicBezTo>
                  <a:pt x="7893102" y="1165887"/>
                  <a:pt x="7898453" y="1187420"/>
                  <a:pt x="7875510" y="1183153"/>
                </a:cubicBezTo>
                <a:cubicBezTo>
                  <a:pt x="7877354" y="1165743"/>
                  <a:pt x="7834286" y="1194789"/>
                  <a:pt x="7829932" y="1180782"/>
                </a:cubicBezTo>
                <a:cubicBezTo>
                  <a:pt x="7816047" y="1204874"/>
                  <a:pt x="7801901" y="1181513"/>
                  <a:pt x="7779182" y="1192665"/>
                </a:cubicBezTo>
                <a:cubicBezTo>
                  <a:pt x="7769446" y="1202686"/>
                  <a:pt x="7761564" y="1205661"/>
                  <a:pt x="7748774" y="1199586"/>
                </a:cubicBezTo>
                <a:cubicBezTo>
                  <a:pt x="7704339" y="1247771"/>
                  <a:pt x="7717626" y="1207638"/>
                  <a:pt x="7671846" y="1231966"/>
                </a:cubicBezTo>
                <a:cubicBezTo>
                  <a:pt x="7632956" y="1255682"/>
                  <a:pt x="7587383" y="1275180"/>
                  <a:pt x="7554146" y="1319748"/>
                </a:cubicBezTo>
                <a:cubicBezTo>
                  <a:pt x="7548775" y="1331557"/>
                  <a:pt x="7531272" y="1339155"/>
                  <a:pt x="7515052" y="1336718"/>
                </a:cubicBezTo>
                <a:cubicBezTo>
                  <a:pt x="7512260" y="1336298"/>
                  <a:pt x="7509613" y="1335590"/>
                  <a:pt x="7507193" y="1334617"/>
                </a:cubicBezTo>
                <a:cubicBezTo>
                  <a:pt x="7488273" y="1365207"/>
                  <a:pt x="7468925" y="1356298"/>
                  <a:pt x="7461694" y="1375866"/>
                </a:cubicBezTo>
                <a:cubicBezTo>
                  <a:pt x="7422434" y="1391917"/>
                  <a:pt x="7384603" y="1382819"/>
                  <a:pt x="7377571" y="1400128"/>
                </a:cubicBezTo>
                <a:cubicBezTo>
                  <a:pt x="7356236" y="1403926"/>
                  <a:pt x="7322509" y="1393138"/>
                  <a:pt x="7311261" y="1412652"/>
                </a:cubicBezTo>
                <a:cubicBezTo>
                  <a:pt x="7305349" y="1400071"/>
                  <a:pt x="7289966" y="1428039"/>
                  <a:pt x="7275307" y="1422171"/>
                </a:cubicBezTo>
                <a:cubicBezTo>
                  <a:pt x="7264529" y="1416601"/>
                  <a:pt x="7257348" y="1423786"/>
                  <a:pt x="7247783" y="1426330"/>
                </a:cubicBezTo>
                <a:cubicBezTo>
                  <a:pt x="7233839" y="1423056"/>
                  <a:pt x="7194363" y="1442037"/>
                  <a:pt x="7185047" y="1451812"/>
                </a:cubicBezTo>
                <a:cubicBezTo>
                  <a:pt x="7164447" y="1483396"/>
                  <a:pt x="7101577" y="1475742"/>
                  <a:pt x="7084117" y="1500281"/>
                </a:cubicBezTo>
                <a:cubicBezTo>
                  <a:pt x="7076899" y="1504821"/>
                  <a:pt x="7069494" y="1507565"/>
                  <a:pt x="7062011" y="1509183"/>
                </a:cubicBezTo>
                <a:lnTo>
                  <a:pt x="7040555" y="1511207"/>
                </a:lnTo>
                <a:lnTo>
                  <a:pt x="7033438" y="1506772"/>
                </a:lnTo>
                <a:lnTo>
                  <a:pt x="7020886" y="1510764"/>
                </a:lnTo>
                <a:lnTo>
                  <a:pt x="7017033" y="1510650"/>
                </a:lnTo>
                <a:lnTo>
                  <a:pt x="6995460" y="1511173"/>
                </a:lnTo>
                <a:cubicBezTo>
                  <a:pt x="7010208" y="1537643"/>
                  <a:pt x="6938512" y="1522467"/>
                  <a:pt x="6962144" y="1541508"/>
                </a:cubicBezTo>
                <a:cubicBezTo>
                  <a:pt x="6926351" y="1550586"/>
                  <a:pt x="6958236" y="1566326"/>
                  <a:pt x="6910674" y="1554793"/>
                </a:cubicBezTo>
                <a:cubicBezTo>
                  <a:pt x="6859225" y="1589274"/>
                  <a:pt x="6769015" y="1598548"/>
                  <a:pt x="6732152" y="1642538"/>
                </a:cubicBezTo>
                <a:cubicBezTo>
                  <a:pt x="6734901" y="1628031"/>
                  <a:pt x="6709146" y="1622413"/>
                  <a:pt x="6694106" y="1632377"/>
                </a:cubicBezTo>
                <a:cubicBezTo>
                  <a:pt x="6702628" y="1575914"/>
                  <a:pt x="6638899" y="1692862"/>
                  <a:pt x="6617223" y="1659889"/>
                </a:cubicBezTo>
                <a:cubicBezTo>
                  <a:pt x="6623246" y="1693349"/>
                  <a:pt x="6561228" y="1764690"/>
                  <a:pt x="6521138" y="1744340"/>
                </a:cubicBezTo>
                <a:cubicBezTo>
                  <a:pt x="6469831" y="1761656"/>
                  <a:pt x="6438109" y="1796731"/>
                  <a:pt x="6380677" y="1796883"/>
                </a:cubicBezTo>
                <a:cubicBezTo>
                  <a:pt x="6379865" y="1801686"/>
                  <a:pt x="6377810" y="1805986"/>
                  <a:pt x="6374897" y="1809910"/>
                </a:cubicBezTo>
                <a:lnTo>
                  <a:pt x="6364545" y="1820090"/>
                </a:lnTo>
                <a:lnTo>
                  <a:pt x="6362126" y="1819991"/>
                </a:lnTo>
                <a:cubicBezTo>
                  <a:pt x="6353055" y="1821720"/>
                  <a:pt x="6348796" y="1824537"/>
                  <a:pt x="6346673" y="1827824"/>
                </a:cubicBezTo>
                <a:lnTo>
                  <a:pt x="6345588" y="1832232"/>
                </a:lnTo>
                <a:lnTo>
                  <a:pt x="6335708" y="1838451"/>
                </a:lnTo>
                <a:lnTo>
                  <a:pt x="6318182" y="1852975"/>
                </a:lnTo>
                <a:lnTo>
                  <a:pt x="6313084" y="1853561"/>
                </a:lnTo>
                <a:lnTo>
                  <a:pt x="6283816" y="1872148"/>
                </a:lnTo>
                <a:lnTo>
                  <a:pt x="6282550" y="1871392"/>
                </a:lnTo>
                <a:cubicBezTo>
                  <a:pt x="6279041" y="1870121"/>
                  <a:pt x="6275192" y="1869982"/>
                  <a:pt x="6270527" y="1872208"/>
                </a:cubicBezTo>
                <a:cubicBezTo>
                  <a:pt x="6265029" y="1853962"/>
                  <a:pt x="6262790" y="1867903"/>
                  <a:pt x="6249518" y="1876079"/>
                </a:cubicBezTo>
                <a:cubicBezTo>
                  <a:pt x="6238019" y="1849564"/>
                  <a:pt x="6207959" y="1881750"/>
                  <a:pt x="6190386" y="1872478"/>
                </a:cubicBezTo>
                <a:cubicBezTo>
                  <a:pt x="6180893" y="1879083"/>
                  <a:pt x="6170646" y="1885584"/>
                  <a:pt x="6159777" y="1891745"/>
                </a:cubicBezTo>
                <a:lnTo>
                  <a:pt x="6153131" y="1895079"/>
                </a:lnTo>
                <a:lnTo>
                  <a:pt x="6152798" y="1894920"/>
                </a:lnTo>
                <a:cubicBezTo>
                  <a:pt x="6150925" y="1895166"/>
                  <a:pt x="6148578" y="1896082"/>
                  <a:pt x="6145388" y="1897990"/>
                </a:cubicBezTo>
                <a:lnTo>
                  <a:pt x="6141014" y="1901155"/>
                </a:lnTo>
                <a:lnTo>
                  <a:pt x="6128122" y="1907623"/>
                </a:lnTo>
                <a:lnTo>
                  <a:pt x="6122351" y="1908359"/>
                </a:lnTo>
                <a:cubicBezTo>
                  <a:pt x="6099508" y="1905910"/>
                  <a:pt x="6088334" y="1869006"/>
                  <a:pt x="6064750" y="1896394"/>
                </a:cubicBezTo>
                <a:cubicBezTo>
                  <a:pt x="6025977" y="1903785"/>
                  <a:pt x="5997095" y="1889190"/>
                  <a:pt x="5964230" y="1910038"/>
                </a:cubicBezTo>
                <a:cubicBezTo>
                  <a:pt x="5927910" y="1916874"/>
                  <a:pt x="5894873" y="1914928"/>
                  <a:pt x="5865399" y="1926966"/>
                </a:cubicBezTo>
                <a:cubicBezTo>
                  <a:pt x="5851644" y="1923038"/>
                  <a:pt x="5839380" y="1922808"/>
                  <a:pt x="5829951" y="1934755"/>
                </a:cubicBezTo>
                <a:cubicBezTo>
                  <a:pt x="5795498" y="1938369"/>
                  <a:pt x="5784532" y="1926246"/>
                  <a:pt x="5765285" y="1941322"/>
                </a:cubicBezTo>
                <a:cubicBezTo>
                  <a:pt x="5741789" y="1922874"/>
                  <a:pt x="5742385" y="1931607"/>
                  <a:pt x="5734750" y="1939793"/>
                </a:cubicBezTo>
                <a:lnTo>
                  <a:pt x="5733569" y="1940505"/>
                </a:lnTo>
                <a:lnTo>
                  <a:pt x="5730329" y="1937845"/>
                </a:lnTo>
                <a:lnTo>
                  <a:pt x="5724661" y="1937455"/>
                </a:lnTo>
                <a:lnTo>
                  <a:pt x="5710186" y="1941370"/>
                </a:lnTo>
                <a:lnTo>
                  <a:pt x="5704910" y="1943663"/>
                </a:lnTo>
                <a:cubicBezTo>
                  <a:pt x="5701213" y="1944937"/>
                  <a:pt x="5698678" y="1945391"/>
                  <a:pt x="5696836" y="1945271"/>
                </a:cubicBezTo>
                <a:lnTo>
                  <a:pt x="5696583" y="1945050"/>
                </a:lnTo>
                <a:lnTo>
                  <a:pt x="5689123" y="1947067"/>
                </a:lnTo>
                <a:cubicBezTo>
                  <a:pt x="5676655" y="1951072"/>
                  <a:pt x="5664639" y="1955533"/>
                  <a:pt x="5653291" y="1960245"/>
                </a:cubicBezTo>
                <a:cubicBezTo>
                  <a:pt x="5640346" y="1947636"/>
                  <a:pt x="5600180" y="1973739"/>
                  <a:pt x="5599385" y="1945198"/>
                </a:cubicBezTo>
                <a:cubicBezTo>
                  <a:pt x="5583913" y="1950736"/>
                  <a:pt x="5576590" y="1964134"/>
                  <a:pt x="5578300" y="1944963"/>
                </a:cubicBezTo>
                <a:cubicBezTo>
                  <a:pt x="5573104" y="1946266"/>
                  <a:pt x="5569560" y="1945382"/>
                  <a:pt x="5566758" y="1943441"/>
                </a:cubicBezTo>
                <a:lnTo>
                  <a:pt x="5565857" y="1942445"/>
                </a:lnTo>
                <a:lnTo>
                  <a:pt x="5531534" y="1955208"/>
                </a:lnTo>
                <a:lnTo>
                  <a:pt x="5526552" y="1954799"/>
                </a:lnTo>
                <a:lnTo>
                  <a:pt x="5504723" y="1965811"/>
                </a:lnTo>
                <a:lnTo>
                  <a:pt x="5493156" y="1970063"/>
                </a:lnTo>
                <a:lnTo>
                  <a:pt x="5490486" y="1974227"/>
                </a:lnTo>
                <a:cubicBezTo>
                  <a:pt x="5487271" y="1977077"/>
                  <a:pt x="5482233" y="1979045"/>
                  <a:pt x="5473107" y="1979001"/>
                </a:cubicBezTo>
                <a:lnTo>
                  <a:pt x="5470885" y="1978432"/>
                </a:lnTo>
                <a:lnTo>
                  <a:pt x="5457393" y="1986525"/>
                </a:lnTo>
                <a:cubicBezTo>
                  <a:pt x="5453194" y="1989853"/>
                  <a:pt x="5449663" y="1993721"/>
                  <a:pt x="5447102" y="1998329"/>
                </a:cubicBezTo>
                <a:cubicBezTo>
                  <a:pt x="5386283" y="2017364"/>
                  <a:pt x="5223545" y="2015483"/>
                  <a:pt x="5159151" y="2029640"/>
                </a:cubicBezTo>
                <a:cubicBezTo>
                  <a:pt x="5141359" y="2036610"/>
                  <a:pt x="5090827" y="2076822"/>
                  <a:pt x="5098838" y="2062961"/>
                </a:cubicBezTo>
                <a:cubicBezTo>
                  <a:pt x="5047883" y="2099457"/>
                  <a:pt x="4922007" y="2111466"/>
                  <a:pt x="4860988" y="2135698"/>
                </a:cubicBezTo>
                <a:cubicBezTo>
                  <a:pt x="4805413" y="2152292"/>
                  <a:pt x="4784714" y="2158665"/>
                  <a:pt x="4765388" y="2162525"/>
                </a:cubicBezTo>
                <a:cubicBezTo>
                  <a:pt x="4758560" y="2161978"/>
                  <a:pt x="4751823" y="2160531"/>
                  <a:pt x="4745033" y="2158859"/>
                </a:cubicBezTo>
                <a:lnTo>
                  <a:pt x="4741475" y="2157998"/>
                </a:lnTo>
                <a:lnTo>
                  <a:pt x="4728247" y="2159526"/>
                </a:lnTo>
                <a:lnTo>
                  <a:pt x="4723263" y="2153742"/>
                </a:lnTo>
                <a:lnTo>
                  <a:pt x="4593061" y="2171597"/>
                </a:lnTo>
                <a:lnTo>
                  <a:pt x="4405765" y="2199902"/>
                </a:lnTo>
                <a:cubicBezTo>
                  <a:pt x="4403942" y="2198353"/>
                  <a:pt x="4402457" y="2196614"/>
                  <a:pt x="4401354" y="2194745"/>
                </a:cubicBezTo>
                <a:lnTo>
                  <a:pt x="4366646" y="2198564"/>
                </a:lnTo>
                <a:lnTo>
                  <a:pt x="4354009" y="2204984"/>
                </a:lnTo>
                <a:lnTo>
                  <a:pt x="4348284" y="2205270"/>
                </a:lnTo>
                <a:lnTo>
                  <a:pt x="4333906" y="2205251"/>
                </a:lnTo>
                <a:cubicBezTo>
                  <a:pt x="4326429" y="2204713"/>
                  <a:pt x="4318024" y="2203940"/>
                  <a:pt x="4308819" y="2203822"/>
                </a:cubicBezTo>
                <a:lnTo>
                  <a:pt x="4301210" y="2204456"/>
                </a:lnTo>
                <a:lnTo>
                  <a:pt x="4283095" y="2198177"/>
                </a:lnTo>
                <a:cubicBezTo>
                  <a:pt x="4269863" y="2193337"/>
                  <a:pt x="4259612" y="2190345"/>
                  <a:pt x="4250119" y="2196342"/>
                </a:cubicBezTo>
                <a:cubicBezTo>
                  <a:pt x="4230702" y="2190559"/>
                  <a:pt x="4213171" y="2166890"/>
                  <a:pt x="4189203" y="2178994"/>
                </a:cubicBezTo>
                <a:cubicBezTo>
                  <a:pt x="4194512" y="2165594"/>
                  <a:pt x="4160734" y="2183257"/>
                  <a:pt x="4154035" y="2171950"/>
                </a:cubicBezTo>
                <a:cubicBezTo>
                  <a:pt x="4150098" y="2162547"/>
                  <a:pt x="4138934" y="2165714"/>
                  <a:pt x="4129569" y="2163850"/>
                </a:cubicBezTo>
                <a:cubicBezTo>
                  <a:pt x="4121391" y="2155090"/>
                  <a:pt x="4076089" y="2154737"/>
                  <a:pt x="4061250" y="2159236"/>
                </a:cubicBezTo>
                <a:cubicBezTo>
                  <a:pt x="4020618" y="2177811"/>
                  <a:pt x="3978175" y="2144465"/>
                  <a:pt x="3945480" y="2158279"/>
                </a:cubicBezTo>
                <a:cubicBezTo>
                  <a:pt x="3936362" y="2159139"/>
                  <a:pt x="3928502" y="2158369"/>
                  <a:pt x="3921468" y="2156588"/>
                </a:cubicBezTo>
                <a:lnTo>
                  <a:pt x="3903348" y="2149220"/>
                </a:lnTo>
                <a:lnTo>
                  <a:pt x="3901342" y="2142355"/>
                </a:lnTo>
                <a:lnTo>
                  <a:pt x="3888539" y="2140476"/>
                </a:lnTo>
                <a:lnTo>
                  <a:pt x="3885662" y="2138740"/>
                </a:lnTo>
                <a:cubicBezTo>
                  <a:pt x="3880178" y="2135398"/>
                  <a:pt x="3874645" y="2132286"/>
                  <a:pt x="3868627" y="2130023"/>
                </a:cubicBezTo>
                <a:cubicBezTo>
                  <a:pt x="3859240" y="2159198"/>
                  <a:pt x="3815892" y="2115590"/>
                  <a:pt x="3819177" y="2142111"/>
                </a:cubicBezTo>
                <a:cubicBezTo>
                  <a:pt x="3784478" y="2134756"/>
                  <a:pt x="3796708" y="2161930"/>
                  <a:pt x="3769100" y="2131731"/>
                </a:cubicBezTo>
                <a:cubicBezTo>
                  <a:pt x="3702423" y="2139704"/>
                  <a:pt x="3625642" y="2109386"/>
                  <a:pt x="3562752" y="2131785"/>
                </a:cubicBezTo>
                <a:cubicBezTo>
                  <a:pt x="3576244" y="2120400"/>
                  <a:pt x="3560801" y="2104591"/>
                  <a:pt x="3541402" y="2106821"/>
                </a:cubicBezTo>
                <a:cubicBezTo>
                  <a:pt x="3592232" y="2061584"/>
                  <a:pt x="3356194" y="2115384"/>
                  <a:pt x="3365341" y="2077638"/>
                </a:cubicBezTo>
                <a:cubicBezTo>
                  <a:pt x="3303594" y="2079161"/>
                  <a:pt x="3221644" y="2111487"/>
                  <a:pt x="3170922" y="2115957"/>
                </a:cubicBezTo>
                <a:cubicBezTo>
                  <a:pt x="3166532" y="2119769"/>
                  <a:pt x="3161579" y="2122617"/>
                  <a:pt x="3156256" y="2124773"/>
                </a:cubicBezTo>
                <a:lnTo>
                  <a:pt x="3140298" y="2129182"/>
                </a:lnTo>
                <a:lnTo>
                  <a:pt x="3138514" y="2128069"/>
                </a:lnTo>
                <a:cubicBezTo>
                  <a:pt x="3130169" y="2125710"/>
                  <a:pt x="3124679" y="2126336"/>
                  <a:pt x="3120467" y="2128281"/>
                </a:cubicBezTo>
                <a:lnTo>
                  <a:pt x="3116175" y="2131633"/>
                </a:lnTo>
                <a:lnTo>
                  <a:pt x="3103685" y="2132814"/>
                </a:lnTo>
                <a:lnTo>
                  <a:pt x="3078794" y="2137935"/>
                </a:lnTo>
                <a:lnTo>
                  <a:pt x="3074407" y="2136274"/>
                </a:lnTo>
                <a:lnTo>
                  <a:pt x="3037285" y="2139919"/>
                </a:lnTo>
                <a:lnTo>
                  <a:pt x="3036901" y="2138726"/>
                </a:lnTo>
                <a:cubicBezTo>
                  <a:pt x="3035193" y="2136135"/>
                  <a:pt x="3032337" y="2134379"/>
                  <a:pt x="3026996" y="2134322"/>
                </a:cubicBezTo>
                <a:cubicBezTo>
                  <a:pt x="3037063" y="2116196"/>
                  <a:pt x="3024412" y="2127308"/>
                  <a:pt x="3007772" y="2128742"/>
                </a:cubicBezTo>
                <a:cubicBezTo>
                  <a:pt x="3019697" y="2100910"/>
                  <a:pt x="2971305" y="2115987"/>
                  <a:pt x="2965030" y="2100494"/>
                </a:cubicBezTo>
                <a:cubicBezTo>
                  <a:pt x="2952539" y="2102174"/>
                  <a:pt x="2939545" y="2103445"/>
                  <a:pt x="2926342" y="2104155"/>
                </a:cubicBezTo>
                <a:lnTo>
                  <a:pt x="2918608" y="2104215"/>
                </a:lnTo>
                <a:cubicBezTo>
                  <a:pt x="2918564" y="2104122"/>
                  <a:pt x="2918519" y="2104030"/>
                  <a:pt x="2918475" y="2103937"/>
                </a:cubicBezTo>
                <a:cubicBezTo>
                  <a:pt x="2916840" y="2103354"/>
                  <a:pt x="2914314" y="2103149"/>
                  <a:pt x="2910360" y="2103444"/>
                </a:cubicBezTo>
                <a:lnTo>
                  <a:pt x="2904507" y="2104326"/>
                </a:lnTo>
                <a:lnTo>
                  <a:pt x="2889503" y="2104443"/>
                </a:lnTo>
                <a:lnTo>
                  <a:pt x="2884480" y="2102626"/>
                </a:lnTo>
                <a:lnTo>
                  <a:pt x="2882689" y="2099228"/>
                </a:lnTo>
                <a:lnTo>
                  <a:pt x="2881291" y="2099618"/>
                </a:lnTo>
                <a:cubicBezTo>
                  <a:pt x="2870663" y="2105606"/>
                  <a:pt x="2867338" y="2114210"/>
                  <a:pt x="2853979" y="2090388"/>
                </a:cubicBezTo>
                <a:cubicBezTo>
                  <a:pt x="2829652" y="2100099"/>
                  <a:pt x="2824975" y="2085577"/>
                  <a:pt x="2791790" y="2080332"/>
                </a:cubicBezTo>
                <a:cubicBezTo>
                  <a:pt x="2777850" y="2089504"/>
                  <a:pt x="2766709" y="2086170"/>
                  <a:pt x="2755844" y="2078874"/>
                </a:cubicBezTo>
                <a:cubicBezTo>
                  <a:pt x="2723488" y="2083049"/>
                  <a:pt x="2694065" y="2072780"/>
                  <a:pt x="2657742" y="2070179"/>
                </a:cubicBezTo>
                <a:cubicBezTo>
                  <a:pt x="2618372" y="2082020"/>
                  <a:pt x="2598368" y="2060559"/>
                  <a:pt x="2559549" y="2057873"/>
                </a:cubicBezTo>
                <a:cubicBezTo>
                  <a:pt x="2525789" y="2078403"/>
                  <a:pt x="2531908" y="2039838"/>
                  <a:pt x="2512054" y="2031671"/>
                </a:cubicBezTo>
                <a:lnTo>
                  <a:pt x="2506437" y="2030918"/>
                </a:lnTo>
                <a:lnTo>
                  <a:pt x="2491752" y="2033906"/>
                </a:lnTo>
                <a:lnTo>
                  <a:pt x="2486338" y="2035862"/>
                </a:lnTo>
                <a:cubicBezTo>
                  <a:pt x="2482568" y="2036899"/>
                  <a:pt x="2480011" y="2037191"/>
                  <a:pt x="2478186" y="2036953"/>
                </a:cubicBezTo>
                <a:lnTo>
                  <a:pt x="2477950" y="2036715"/>
                </a:lnTo>
                <a:lnTo>
                  <a:pt x="2470381" y="2038256"/>
                </a:lnTo>
                <a:cubicBezTo>
                  <a:pt x="2457686" y="2041461"/>
                  <a:pt x="2445410" y="2045155"/>
                  <a:pt x="2433781" y="2049140"/>
                </a:cubicBezTo>
                <a:cubicBezTo>
                  <a:pt x="2421781" y="2035703"/>
                  <a:pt x="2379959" y="2059234"/>
                  <a:pt x="2381172" y="2030645"/>
                </a:cubicBezTo>
                <a:cubicBezTo>
                  <a:pt x="2365380" y="2035192"/>
                  <a:pt x="2357148" y="2048120"/>
                  <a:pt x="2360198" y="2029059"/>
                </a:cubicBezTo>
                <a:cubicBezTo>
                  <a:pt x="2354933" y="2030031"/>
                  <a:pt x="2351467" y="2028919"/>
                  <a:pt x="2348815" y="2026798"/>
                </a:cubicBezTo>
                <a:lnTo>
                  <a:pt x="2347988" y="2025745"/>
                </a:lnTo>
                <a:lnTo>
                  <a:pt x="2312920" y="2036311"/>
                </a:lnTo>
                <a:lnTo>
                  <a:pt x="2307986" y="2035583"/>
                </a:lnTo>
                <a:lnTo>
                  <a:pt x="2285481" y="2045197"/>
                </a:lnTo>
                <a:lnTo>
                  <a:pt x="2273666" y="2048710"/>
                </a:lnTo>
                <a:lnTo>
                  <a:pt x="2270719" y="2052702"/>
                </a:lnTo>
                <a:cubicBezTo>
                  <a:pt x="2267315" y="2055347"/>
                  <a:pt x="2262161" y="2056992"/>
                  <a:pt x="2253080" y="2056363"/>
                </a:cubicBezTo>
                <a:lnTo>
                  <a:pt x="2250906" y="2055654"/>
                </a:lnTo>
                <a:lnTo>
                  <a:pt x="2236905" y="2062882"/>
                </a:lnTo>
                <a:cubicBezTo>
                  <a:pt x="2232493" y="2065942"/>
                  <a:pt x="2228705" y="2069583"/>
                  <a:pt x="2225830" y="2074027"/>
                </a:cubicBezTo>
                <a:cubicBezTo>
                  <a:pt x="2173117" y="2059597"/>
                  <a:pt x="2128486" y="2085502"/>
                  <a:pt x="2073776" y="2089244"/>
                </a:cubicBezTo>
                <a:cubicBezTo>
                  <a:pt x="2046050" y="2059365"/>
                  <a:pt x="1957570" y="2112693"/>
                  <a:pt x="1948256" y="2146616"/>
                </a:cubicBezTo>
                <a:cubicBezTo>
                  <a:pt x="1943005" y="2109192"/>
                  <a:pt x="1832736" y="2206239"/>
                  <a:pt x="1865582" y="2153738"/>
                </a:cubicBezTo>
                <a:cubicBezTo>
                  <a:pt x="1847376" y="2159567"/>
                  <a:pt x="1826258" y="2147592"/>
                  <a:pt x="1835210" y="2134244"/>
                </a:cubicBezTo>
                <a:cubicBezTo>
                  <a:pt x="1781916" y="2167476"/>
                  <a:pt x="1695112" y="2153556"/>
                  <a:pt x="1632661" y="2173882"/>
                </a:cubicBezTo>
                <a:cubicBezTo>
                  <a:pt x="1594177" y="2150642"/>
                  <a:pt x="1616426" y="2173975"/>
                  <a:pt x="1579590" y="2173680"/>
                </a:cubicBezTo>
                <a:cubicBezTo>
                  <a:pt x="1592812" y="2198112"/>
                  <a:pt x="1533818" y="2165220"/>
                  <a:pt x="1535601" y="2194590"/>
                </a:cubicBezTo>
                <a:cubicBezTo>
                  <a:pt x="1528840" y="2193608"/>
                  <a:pt x="1522236" y="2191728"/>
                  <a:pt x="1515594" y="2189622"/>
                </a:cubicBezTo>
                <a:lnTo>
                  <a:pt x="1512113" y="2188534"/>
                </a:lnTo>
                <a:lnTo>
                  <a:pt x="1498838" y="2189213"/>
                </a:lnTo>
                <a:lnTo>
                  <a:pt x="1494279" y="2183112"/>
                </a:lnTo>
                <a:lnTo>
                  <a:pt x="1473714" y="2179625"/>
                </a:lnTo>
                <a:cubicBezTo>
                  <a:pt x="1466138" y="2179292"/>
                  <a:pt x="1458132" y="2180071"/>
                  <a:pt x="1449503" y="2182633"/>
                </a:cubicBezTo>
                <a:lnTo>
                  <a:pt x="1266687" y="2212688"/>
                </a:lnTo>
                <a:cubicBezTo>
                  <a:pt x="1256792" y="2212722"/>
                  <a:pt x="1247024" y="2217857"/>
                  <a:pt x="1239614" y="2209727"/>
                </a:cubicBezTo>
                <a:cubicBezTo>
                  <a:pt x="1228778" y="2200326"/>
                  <a:pt x="1202276" y="2223497"/>
                  <a:pt x="1202436" y="2209817"/>
                </a:cubicBezTo>
                <a:cubicBezTo>
                  <a:pt x="1183471" y="2225854"/>
                  <a:pt x="1157340" y="2206849"/>
                  <a:pt x="1136097" y="2205112"/>
                </a:cubicBezTo>
                <a:cubicBezTo>
                  <a:pt x="1100396" y="2209415"/>
                  <a:pt x="1013922" y="2231219"/>
                  <a:pt x="988232" y="2235635"/>
                </a:cubicBezTo>
                <a:cubicBezTo>
                  <a:pt x="986445" y="2234079"/>
                  <a:pt x="984332" y="2232722"/>
                  <a:pt x="981959" y="2231607"/>
                </a:cubicBezTo>
                <a:cubicBezTo>
                  <a:pt x="968170" y="2225130"/>
                  <a:pt x="948759" y="2228043"/>
                  <a:pt x="938600" y="2238113"/>
                </a:cubicBezTo>
                <a:cubicBezTo>
                  <a:pt x="888371" y="2272824"/>
                  <a:pt x="837950" y="2280135"/>
                  <a:pt x="791788" y="2293224"/>
                </a:cubicBezTo>
                <a:cubicBezTo>
                  <a:pt x="739035" y="2305159"/>
                  <a:pt x="769009" y="2269676"/>
                  <a:pt x="706914" y="2305046"/>
                </a:cubicBezTo>
                <a:cubicBezTo>
                  <a:pt x="697882" y="2295919"/>
                  <a:pt x="689339" y="2296797"/>
                  <a:pt x="675971" y="2304030"/>
                </a:cubicBezTo>
                <a:cubicBezTo>
                  <a:pt x="650201" y="2309060"/>
                  <a:pt x="647591" y="2282853"/>
                  <a:pt x="624180" y="2302650"/>
                </a:cubicBezTo>
                <a:cubicBezTo>
                  <a:pt x="626400" y="2287987"/>
                  <a:pt x="574045" y="2305175"/>
                  <a:pt x="583453" y="2288788"/>
                </a:cubicBezTo>
                <a:cubicBezTo>
                  <a:pt x="564313" y="2278832"/>
                  <a:pt x="559671" y="2301039"/>
                  <a:pt x="540946" y="2292721"/>
                </a:cubicBezTo>
                <a:cubicBezTo>
                  <a:pt x="521576" y="2293191"/>
                  <a:pt x="554439" y="2305843"/>
                  <a:pt x="533680" y="2310233"/>
                </a:cubicBezTo>
                <a:cubicBezTo>
                  <a:pt x="508069" y="2313043"/>
                  <a:pt x="512638" y="2338541"/>
                  <a:pt x="487366" y="2309053"/>
                </a:cubicBezTo>
                <a:cubicBezTo>
                  <a:pt x="462164" y="2321083"/>
                  <a:pt x="454441" y="2307251"/>
                  <a:pt x="416820" y="2305443"/>
                </a:cubicBezTo>
                <a:cubicBezTo>
                  <a:pt x="403012" y="2315890"/>
                  <a:pt x="390105" y="2313733"/>
                  <a:pt x="376805" y="2307647"/>
                </a:cubicBezTo>
                <a:cubicBezTo>
                  <a:pt x="341751" y="2315035"/>
                  <a:pt x="307408" y="2307897"/>
                  <a:pt x="266777" y="2309012"/>
                </a:cubicBezTo>
                <a:cubicBezTo>
                  <a:pt x="225310" y="2324664"/>
                  <a:pt x="199419" y="2305548"/>
                  <a:pt x="156013" y="2306832"/>
                </a:cubicBezTo>
                <a:cubicBezTo>
                  <a:pt x="117457" y="2333851"/>
                  <a:pt x="122965" y="2279562"/>
                  <a:pt x="87258" y="2285511"/>
                </a:cubicBezTo>
                <a:cubicBezTo>
                  <a:pt x="38977" y="2309189"/>
                  <a:pt x="74043" y="2277969"/>
                  <a:pt x="23798" y="2281822"/>
                </a:cubicBezTo>
                <a:lnTo>
                  <a:pt x="0" y="2285369"/>
                </a:lnTo>
                <a:lnTo>
                  <a:pt x="0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3E3E382B-0E93-7266-9A08-7E8C5005470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7973" y="393380"/>
            <a:ext cx="7655427" cy="739881"/>
          </a:xfrm>
        </p:spPr>
        <p:txBody>
          <a:bodyPr>
            <a:normAutofit fontScale="90000"/>
          </a:bodyPr>
          <a:lstStyle/>
          <a:p>
            <a:pPr algn="l"/>
            <a:r>
              <a:rPr lang="pl-PL" sz="3600" b="1" dirty="0"/>
              <a:t>Analiza otoczenia dalszego </a:t>
            </a:r>
            <a:r>
              <a:rPr lang="pl-PL" sz="3600" b="1" dirty="0" err="1"/>
              <a:t>pzs</a:t>
            </a:r>
            <a:r>
              <a:rPr lang="pl-PL" sz="3600" b="1" dirty="0"/>
              <a:t> (</a:t>
            </a:r>
            <a:r>
              <a:rPr lang="pl-PL" sz="3600" b="1" dirty="0" err="1"/>
              <a:t>makrootoczenia</a:t>
            </a:r>
            <a:r>
              <a:rPr lang="pl-PL" sz="3600" b="1" dirty="0"/>
              <a:t>)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FDF195F-784B-4D00-8C92-6FC1B0499E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307088" y="6277971"/>
            <a:ext cx="6884912" cy="580030"/>
          </a:xfrm>
          <a:custGeom>
            <a:avLst/>
            <a:gdLst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59043 h 1161397"/>
              <a:gd name="connsiteX5" fmla="*/ 119094 w 6884912"/>
              <a:gd name="connsiteY5" fmla="*/ 1148463 h 1161397"/>
              <a:gd name="connsiteX6" fmla="*/ 171824 w 6884912"/>
              <a:gd name="connsiteY6" fmla="*/ 1133224 h 1161397"/>
              <a:gd name="connsiteX7" fmla="*/ 376455 w 6884912"/>
              <a:gd name="connsiteY7" fmla="*/ 1137381 h 1161397"/>
              <a:gd name="connsiteX8" fmla="*/ 478946 w 6884912"/>
              <a:gd name="connsiteY8" fmla="*/ 1106011 h 1161397"/>
              <a:gd name="connsiteX9" fmla="*/ 512111 w 6884912"/>
              <a:gd name="connsiteY9" fmla="*/ 1085599 h 1161397"/>
              <a:gd name="connsiteX10" fmla="*/ 567875 w 6884912"/>
              <a:gd name="connsiteY10" fmla="*/ 1051976 h 1161397"/>
              <a:gd name="connsiteX11" fmla="*/ 601644 w 6884912"/>
              <a:gd name="connsiteY11" fmla="*/ 1003997 h 1161397"/>
              <a:gd name="connsiteX12" fmla="*/ 651408 w 6884912"/>
              <a:gd name="connsiteY12" fmla="*/ 984938 h 1161397"/>
              <a:gd name="connsiteX13" fmla="*/ 673197 w 6884912"/>
              <a:gd name="connsiteY13" fmla="*/ 1010060 h 1161397"/>
              <a:gd name="connsiteX14" fmla="*/ 723108 w 6884912"/>
              <a:gd name="connsiteY14" fmla="*/ 980081 h 1161397"/>
              <a:gd name="connsiteX15" fmla="*/ 797699 w 6884912"/>
              <a:gd name="connsiteY15" fmla="*/ 931362 h 1161397"/>
              <a:gd name="connsiteX16" fmla="*/ 843359 w 6884912"/>
              <a:gd name="connsiteY16" fmla="*/ 910894 h 1161397"/>
              <a:gd name="connsiteX17" fmla="*/ 965215 w 6884912"/>
              <a:gd name="connsiteY17" fmla="*/ 846701 h 1161397"/>
              <a:gd name="connsiteX18" fmla="*/ 1085080 w 6884912"/>
              <a:gd name="connsiteY18" fmla="*/ 776086 h 1161397"/>
              <a:gd name="connsiteX19" fmla="*/ 1131224 w 6884912"/>
              <a:gd name="connsiteY19" fmla="*/ 706160 h 1161397"/>
              <a:gd name="connsiteX20" fmla="*/ 1138051 w 6884912"/>
              <a:gd name="connsiteY20" fmla="*/ 702034 h 1161397"/>
              <a:gd name="connsiteX21" fmla="*/ 1158800 w 6884912"/>
              <a:gd name="connsiteY21" fmla="*/ 700004 h 1161397"/>
              <a:gd name="connsiteX22" fmla="*/ 1166947 w 6884912"/>
              <a:gd name="connsiteY22" fmla="*/ 700762 h 1161397"/>
              <a:gd name="connsiteX23" fmla="*/ 1178135 w 6884912"/>
              <a:gd name="connsiteY23" fmla="*/ 698631 h 1161397"/>
              <a:gd name="connsiteX24" fmla="*/ 1178301 w 6884912"/>
              <a:gd name="connsiteY24" fmla="*/ 698094 h 1161397"/>
              <a:gd name="connsiteX25" fmla="*/ 1188995 w 6884912"/>
              <a:gd name="connsiteY25" fmla="*/ 697048 h 1161397"/>
              <a:gd name="connsiteX26" fmla="*/ 1242716 w 6884912"/>
              <a:gd name="connsiteY26" fmla="*/ 698052 h 1161397"/>
              <a:gd name="connsiteX27" fmla="*/ 1299977 w 6884912"/>
              <a:gd name="connsiteY27" fmla="*/ 639196 h 1161397"/>
              <a:gd name="connsiteX28" fmla="*/ 1326190 w 6884912"/>
              <a:gd name="connsiteY28" fmla="*/ 625955 h 1161397"/>
              <a:gd name="connsiteX29" fmla="*/ 1339600 w 6884912"/>
              <a:gd name="connsiteY29" fmla="*/ 616295 h 1161397"/>
              <a:gd name="connsiteX30" fmla="*/ 1340054 w 6884912"/>
              <a:gd name="connsiteY30" fmla="*/ 614022 h 1161397"/>
              <a:gd name="connsiteX31" fmla="*/ 1391606 w 6884912"/>
              <a:gd name="connsiteY31" fmla="*/ 615229 h 1161397"/>
              <a:gd name="connsiteX32" fmla="*/ 1397565 w 6884912"/>
              <a:gd name="connsiteY32" fmla="*/ 611490 h 1161397"/>
              <a:gd name="connsiteX33" fmla="*/ 1432302 w 6884912"/>
              <a:gd name="connsiteY33" fmla="*/ 617267 h 1161397"/>
              <a:gd name="connsiteX34" fmla="*/ 1449644 w 6884912"/>
              <a:gd name="connsiteY34" fmla="*/ 617591 h 1161397"/>
              <a:gd name="connsiteX35" fmla="*/ 1455793 w 6884912"/>
              <a:gd name="connsiteY35" fmla="*/ 623174 h 1161397"/>
              <a:gd name="connsiteX36" fmla="*/ 1480758 w 6884912"/>
              <a:gd name="connsiteY36" fmla="*/ 620863 h 1161397"/>
              <a:gd name="connsiteX37" fmla="*/ 1483154 w 6884912"/>
              <a:gd name="connsiteY37" fmla="*/ 618527 h 1161397"/>
              <a:gd name="connsiteX38" fmla="*/ 1505495 w 6884912"/>
              <a:gd name="connsiteY38" fmla="*/ 624325 h 1161397"/>
              <a:gd name="connsiteX39" fmla="*/ 1526340 w 6884912"/>
              <a:gd name="connsiteY39" fmla="*/ 638496 h 1161397"/>
              <a:gd name="connsiteX40" fmla="*/ 1731986 w 6884912"/>
              <a:gd name="connsiteY40" fmla="*/ 589682 h 1161397"/>
              <a:gd name="connsiteX41" fmla="*/ 1927935 w 6884912"/>
              <a:gd name="connsiteY41" fmla="*/ 628540 h 1161397"/>
              <a:gd name="connsiteX42" fmla="*/ 2039075 w 6884912"/>
              <a:gd name="connsiteY42" fmla="*/ 599964 h 1161397"/>
              <a:gd name="connsiteX43" fmla="*/ 2066980 w 6884912"/>
              <a:gd name="connsiteY43" fmla="*/ 550413 h 1161397"/>
              <a:gd name="connsiteX44" fmla="*/ 2352236 w 6884912"/>
              <a:gd name="connsiteY44" fmla="*/ 519602 h 1161397"/>
              <a:gd name="connsiteX45" fmla="*/ 2420791 w 6884912"/>
              <a:gd name="connsiteY45" fmla="*/ 492826 h 1161397"/>
              <a:gd name="connsiteX46" fmla="*/ 2489932 w 6884912"/>
              <a:gd name="connsiteY46" fmla="*/ 507864 h 1161397"/>
              <a:gd name="connsiteX47" fmla="*/ 2512917 w 6884912"/>
              <a:gd name="connsiteY47" fmla="*/ 489127 h 1161397"/>
              <a:gd name="connsiteX48" fmla="*/ 2516783 w 6884912"/>
              <a:gd name="connsiteY48" fmla="*/ 485473 h 1161397"/>
              <a:gd name="connsiteX49" fmla="*/ 2534360 w 6884912"/>
              <a:gd name="connsiteY49" fmla="*/ 480064 h 1161397"/>
              <a:gd name="connsiteX50" fmla="*/ 2536691 w 6884912"/>
              <a:gd name="connsiteY50" fmla="*/ 467018 h 1161397"/>
              <a:gd name="connsiteX51" fmla="*/ 2561265 w 6884912"/>
              <a:gd name="connsiteY51" fmla="*/ 450623 h 1161397"/>
              <a:gd name="connsiteX52" fmla="*/ 2594349 w 6884912"/>
              <a:gd name="connsiteY52" fmla="*/ 443884 h 1161397"/>
              <a:gd name="connsiteX53" fmla="*/ 2754324 w 6884912"/>
              <a:gd name="connsiteY53" fmla="*/ 424766 h 1161397"/>
              <a:gd name="connsiteX54" fmla="*/ 2848470 w 6884912"/>
              <a:gd name="connsiteY54" fmla="*/ 405966 h 1161397"/>
              <a:gd name="connsiteX55" fmla="*/ 2881772 w 6884912"/>
              <a:gd name="connsiteY55" fmla="*/ 387260 h 1161397"/>
              <a:gd name="connsiteX56" fmla="*/ 2929932 w 6884912"/>
              <a:gd name="connsiteY56" fmla="*/ 368912 h 1161397"/>
              <a:gd name="connsiteX57" fmla="*/ 3013020 w 6884912"/>
              <a:gd name="connsiteY57" fmla="*/ 327578 h 1161397"/>
              <a:gd name="connsiteX58" fmla="*/ 3127968 w 6884912"/>
              <a:gd name="connsiteY58" fmla="*/ 287613 h 1161397"/>
              <a:gd name="connsiteX59" fmla="*/ 3222191 w 6884912"/>
              <a:gd name="connsiteY59" fmla="*/ 307887 h 1161397"/>
              <a:gd name="connsiteX60" fmla="*/ 3227953 w 6884912"/>
              <a:gd name="connsiteY60" fmla="*/ 297650 h 1161397"/>
              <a:gd name="connsiteX61" fmla="*/ 3287859 w 6884912"/>
              <a:gd name="connsiteY61" fmla="*/ 287558 h 1161397"/>
              <a:gd name="connsiteX62" fmla="*/ 3510042 w 6884912"/>
              <a:gd name="connsiteY62" fmla="*/ 311820 h 1161397"/>
              <a:gd name="connsiteX63" fmla="*/ 3626773 w 6884912"/>
              <a:gd name="connsiteY63" fmla="*/ 290452 h 1161397"/>
              <a:gd name="connsiteX64" fmla="*/ 3666217 w 6884912"/>
              <a:gd name="connsiteY64" fmla="*/ 273255 h 1161397"/>
              <a:gd name="connsiteX65" fmla="*/ 3732427 w 6884912"/>
              <a:gd name="connsiteY65" fmla="*/ 245039 h 1161397"/>
              <a:gd name="connsiteX66" fmla="*/ 3777022 w 6884912"/>
              <a:gd name="connsiteY66" fmla="*/ 200276 h 1161397"/>
              <a:gd name="connsiteX67" fmla="*/ 3791246 w 6884912"/>
              <a:gd name="connsiteY67" fmla="*/ 189996 h 1161397"/>
              <a:gd name="connsiteX68" fmla="*/ 3819864 w 6884912"/>
              <a:gd name="connsiteY68" fmla="*/ 194605 h 1161397"/>
              <a:gd name="connsiteX69" fmla="*/ 3830398 w 6884912"/>
              <a:gd name="connsiteY69" fmla="*/ 188383 h 1161397"/>
              <a:gd name="connsiteX70" fmla="*/ 3834360 w 6884912"/>
              <a:gd name="connsiteY70" fmla="*/ 188992 h 1161397"/>
              <a:gd name="connsiteX71" fmla="*/ 3843715 w 6884912"/>
              <a:gd name="connsiteY71" fmla="*/ 188752 h 1161397"/>
              <a:gd name="connsiteX72" fmla="*/ 3842609 w 6884912"/>
              <a:gd name="connsiteY72" fmla="*/ 197386 h 1161397"/>
              <a:gd name="connsiteX73" fmla="*/ 3853961 w 6884912"/>
              <a:gd name="connsiteY73" fmla="*/ 213380 h 1161397"/>
              <a:gd name="connsiteX74" fmla="*/ 3907640 w 6884912"/>
              <a:gd name="connsiteY74" fmla="*/ 207568 h 1161397"/>
              <a:gd name="connsiteX75" fmla="*/ 3910449 w 6884912"/>
              <a:gd name="connsiteY75" fmla="*/ 197808 h 1161397"/>
              <a:gd name="connsiteX76" fmla="*/ 3917197 w 6884912"/>
              <a:gd name="connsiteY76" fmla="*/ 196121 h 1161397"/>
              <a:gd name="connsiteX77" fmla="*/ 3922400 w 6884912"/>
              <a:gd name="connsiteY77" fmla="*/ 205056 h 1161397"/>
              <a:gd name="connsiteX78" fmla="*/ 4013061 w 6884912"/>
              <a:gd name="connsiteY78" fmla="*/ 224874 h 1161397"/>
              <a:gd name="connsiteX79" fmla="*/ 4134285 w 6884912"/>
              <a:gd name="connsiteY79" fmla="*/ 235592 h 1161397"/>
              <a:gd name="connsiteX80" fmla="*/ 4220717 w 6884912"/>
              <a:gd name="connsiteY80" fmla="*/ 192946 h 1161397"/>
              <a:gd name="connsiteX81" fmla="*/ 4228802 w 6884912"/>
              <a:gd name="connsiteY81" fmla="*/ 201468 h 1161397"/>
              <a:gd name="connsiteX82" fmla="*/ 4289361 w 6884912"/>
              <a:gd name="connsiteY82" fmla="*/ 196642 h 1161397"/>
              <a:gd name="connsiteX83" fmla="*/ 4498913 w 6884912"/>
              <a:gd name="connsiteY83" fmla="*/ 118915 h 1161397"/>
              <a:gd name="connsiteX84" fmla="*/ 4617330 w 6884912"/>
              <a:gd name="connsiteY84" fmla="*/ 111163 h 1161397"/>
              <a:gd name="connsiteX85" fmla="*/ 4659778 w 6884912"/>
              <a:gd name="connsiteY85" fmla="*/ 118219 h 1161397"/>
              <a:gd name="connsiteX86" fmla="*/ 4730870 w 6884912"/>
              <a:gd name="connsiteY86" fmla="*/ 129432 h 1161397"/>
              <a:gd name="connsiteX87" fmla="*/ 4785037 w 6884912"/>
              <a:gd name="connsiteY87" fmla="*/ 161964 h 1161397"/>
              <a:gd name="connsiteX88" fmla="*/ 4844073 w 6884912"/>
              <a:gd name="connsiteY88" fmla="*/ 161768 h 1161397"/>
              <a:gd name="connsiteX89" fmla="*/ 4856454 w 6884912"/>
              <a:gd name="connsiteY89" fmla="*/ 130488 h 1161397"/>
              <a:gd name="connsiteX90" fmla="*/ 4920038 w 6884912"/>
              <a:gd name="connsiteY90" fmla="*/ 140418 h 1161397"/>
              <a:gd name="connsiteX91" fmla="*/ 5016639 w 6884912"/>
              <a:gd name="connsiteY91" fmla="*/ 158905 h 1161397"/>
              <a:gd name="connsiteX92" fmla="*/ 5072009 w 6884912"/>
              <a:gd name="connsiteY92" fmla="*/ 161502 h 1161397"/>
              <a:gd name="connsiteX93" fmla="*/ 5223626 w 6884912"/>
              <a:gd name="connsiteY93" fmla="*/ 177356 h 1161397"/>
              <a:gd name="connsiteX94" fmla="*/ 5375773 w 6884912"/>
              <a:gd name="connsiteY94" fmla="*/ 199913 h 1161397"/>
              <a:gd name="connsiteX95" fmla="*/ 5467502 w 6884912"/>
              <a:gd name="connsiteY95" fmla="*/ 250963 h 1161397"/>
              <a:gd name="connsiteX96" fmla="*/ 5592395 w 6884912"/>
              <a:gd name="connsiteY96" fmla="*/ 265434 h 1161397"/>
              <a:gd name="connsiteX97" fmla="*/ 5613532 w 6884912"/>
              <a:gd name="connsiteY97" fmla="*/ 273379 h 1161397"/>
              <a:gd name="connsiteX98" fmla="*/ 5642173 w 6884912"/>
              <a:gd name="connsiteY98" fmla="*/ 266904 h 1161397"/>
              <a:gd name="connsiteX99" fmla="*/ 5756910 w 6884912"/>
              <a:gd name="connsiteY99" fmla="*/ 239211 h 1161397"/>
              <a:gd name="connsiteX100" fmla="*/ 5846667 w 6884912"/>
              <a:gd name="connsiteY100" fmla="*/ 201786 h 1161397"/>
              <a:gd name="connsiteX101" fmla="*/ 5960732 w 6884912"/>
              <a:gd name="connsiteY101" fmla="*/ 220708 h 1161397"/>
              <a:gd name="connsiteX102" fmla="*/ 6029542 w 6884912"/>
              <a:gd name="connsiteY102" fmla="*/ 210339 h 1161397"/>
              <a:gd name="connsiteX103" fmla="*/ 6141123 w 6884912"/>
              <a:gd name="connsiteY103" fmla="*/ 159923 h 1161397"/>
              <a:gd name="connsiteX104" fmla="*/ 6290640 w 6884912"/>
              <a:gd name="connsiteY104" fmla="*/ 167441 h 1161397"/>
              <a:gd name="connsiteX105" fmla="*/ 6322806 w 6884912"/>
              <a:gd name="connsiteY105" fmla="*/ 213293 h 1161397"/>
              <a:gd name="connsiteX106" fmla="*/ 6364914 w 6884912"/>
              <a:gd name="connsiteY106" fmla="*/ 240140 h 1161397"/>
              <a:gd name="connsiteX107" fmla="*/ 6380420 w 6884912"/>
              <a:gd name="connsiteY107" fmla="*/ 173195 h 1161397"/>
              <a:gd name="connsiteX108" fmla="*/ 6507891 w 6884912"/>
              <a:gd name="connsiteY108" fmla="*/ 118474 h 1161397"/>
              <a:gd name="connsiteX109" fmla="*/ 6571807 w 6884912"/>
              <a:gd name="connsiteY109" fmla="*/ 98636 h 1161397"/>
              <a:gd name="connsiteX110" fmla="*/ 6671880 w 6884912"/>
              <a:gd name="connsiteY110" fmla="*/ 82931 h 1161397"/>
              <a:gd name="connsiteX111" fmla="*/ 6702266 w 6884912"/>
              <a:gd name="connsiteY111" fmla="*/ 75470 h 1161397"/>
              <a:gd name="connsiteX112" fmla="*/ 6845802 w 6884912"/>
              <a:gd name="connsiteY112" fmla="*/ 24496 h 1161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6884912" h="1161397">
                <a:moveTo>
                  <a:pt x="6884912" y="0"/>
                </a:moveTo>
                <a:lnTo>
                  <a:pt x="6884912" y="1161397"/>
                </a:lnTo>
                <a:lnTo>
                  <a:pt x="0" y="1161397"/>
                </a:lnTo>
                <a:lnTo>
                  <a:pt x="27135" y="1147460"/>
                </a:lnTo>
                <a:cubicBezTo>
                  <a:pt x="57431" y="1167048"/>
                  <a:pt x="61886" y="1135904"/>
                  <a:pt x="115388" y="1159043"/>
                </a:cubicBezTo>
                <a:cubicBezTo>
                  <a:pt x="116121" y="1155340"/>
                  <a:pt x="117370" y="1151777"/>
                  <a:pt x="119094" y="1148463"/>
                </a:cubicBezTo>
                <a:cubicBezTo>
                  <a:pt x="129121" y="1129214"/>
                  <a:pt x="152727" y="1122391"/>
                  <a:pt x="171824" y="1133224"/>
                </a:cubicBezTo>
                <a:cubicBezTo>
                  <a:pt x="254344" y="1161369"/>
                  <a:pt x="315458" y="1143220"/>
                  <a:pt x="376455" y="1137381"/>
                </a:cubicBezTo>
                <a:cubicBezTo>
                  <a:pt x="443775" y="1125614"/>
                  <a:pt x="382885" y="1083927"/>
                  <a:pt x="478946" y="1106011"/>
                </a:cubicBezTo>
                <a:cubicBezTo>
                  <a:pt x="481662" y="1085172"/>
                  <a:pt x="491731" y="1081489"/>
                  <a:pt x="512111" y="1085599"/>
                </a:cubicBezTo>
                <a:cubicBezTo>
                  <a:pt x="544368" y="1078502"/>
                  <a:pt x="526559" y="1032754"/>
                  <a:pt x="567875" y="1051976"/>
                </a:cubicBezTo>
                <a:cubicBezTo>
                  <a:pt x="553871" y="1028602"/>
                  <a:pt x="624901" y="1025930"/>
                  <a:pt x="601644" y="1003997"/>
                </a:cubicBezTo>
                <a:cubicBezTo>
                  <a:pt x="614803" y="975652"/>
                  <a:pt x="637415" y="1010272"/>
                  <a:pt x="651408" y="984938"/>
                </a:cubicBezTo>
                <a:cubicBezTo>
                  <a:pt x="673042" y="974024"/>
                  <a:pt x="646948" y="1015207"/>
                  <a:pt x="673197" y="1010060"/>
                </a:cubicBezTo>
                <a:cubicBezTo>
                  <a:pt x="703527" y="999318"/>
                  <a:pt x="718626" y="1045053"/>
                  <a:pt x="723108" y="980081"/>
                </a:cubicBezTo>
                <a:cubicBezTo>
                  <a:pt x="760262" y="985126"/>
                  <a:pt x="757827" y="957145"/>
                  <a:pt x="797699" y="931362"/>
                </a:cubicBezTo>
                <a:cubicBezTo>
                  <a:pt x="821097" y="940623"/>
                  <a:pt x="833565" y="929189"/>
                  <a:pt x="843359" y="910894"/>
                </a:cubicBezTo>
                <a:cubicBezTo>
                  <a:pt x="887668" y="902160"/>
                  <a:pt x="919738" y="869376"/>
                  <a:pt x="965215" y="846701"/>
                </a:cubicBezTo>
                <a:cubicBezTo>
                  <a:pt x="1023081" y="848019"/>
                  <a:pt x="1036422" y="800154"/>
                  <a:pt x="1085080" y="776086"/>
                </a:cubicBezTo>
                <a:cubicBezTo>
                  <a:pt x="1140763" y="795544"/>
                  <a:pt x="1110309" y="730471"/>
                  <a:pt x="1131224" y="706160"/>
                </a:cubicBezTo>
                <a:lnTo>
                  <a:pt x="1138051" y="702034"/>
                </a:lnTo>
                <a:lnTo>
                  <a:pt x="1158800" y="700004"/>
                </a:lnTo>
                <a:lnTo>
                  <a:pt x="1166947" y="700762"/>
                </a:lnTo>
                <a:cubicBezTo>
                  <a:pt x="1172432" y="700717"/>
                  <a:pt x="1175913" y="699961"/>
                  <a:pt x="1178135" y="698631"/>
                </a:cubicBezTo>
                <a:lnTo>
                  <a:pt x="1178301" y="698094"/>
                </a:lnTo>
                <a:lnTo>
                  <a:pt x="1188995" y="697048"/>
                </a:lnTo>
                <a:cubicBezTo>
                  <a:pt x="1207294" y="696390"/>
                  <a:pt x="1225337" y="696802"/>
                  <a:pt x="1242716" y="698052"/>
                </a:cubicBezTo>
                <a:cubicBezTo>
                  <a:pt x="1250387" y="668345"/>
                  <a:pt x="1318259" y="689091"/>
                  <a:pt x="1299977" y="639196"/>
                </a:cubicBezTo>
                <a:cubicBezTo>
                  <a:pt x="1323072" y="639367"/>
                  <a:pt x="1341279" y="658105"/>
                  <a:pt x="1326190" y="625955"/>
                </a:cubicBezTo>
                <a:cubicBezTo>
                  <a:pt x="1333572" y="625050"/>
                  <a:pt x="1337406" y="621362"/>
                  <a:pt x="1339600" y="616295"/>
                </a:cubicBezTo>
                <a:lnTo>
                  <a:pt x="1340054" y="614022"/>
                </a:lnTo>
                <a:lnTo>
                  <a:pt x="1391606" y="615229"/>
                </a:lnTo>
                <a:lnTo>
                  <a:pt x="1397565" y="611490"/>
                </a:lnTo>
                <a:lnTo>
                  <a:pt x="1432302" y="617267"/>
                </a:lnTo>
                <a:lnTo>
                  <a:pt x="1449644" y="617591"/>
                </a:lnTo>
                <a:lnTo>
                  <a:pt x="1455793" y="623174"/>
                </a:lnTo>
                <a:cubicBezTo>
                  <a:pt x="1461744" y="626151"/>
                  <a:pt x="1469373" y="626493"/>
                  <a:pt x="1480758" y="620863"/>
                </a:cubicBezTo>
                <a:lnTo>
                  <a:pt x="1483154" y="618527"/>
                </a:lnTo>
                <a:lnTo>
                  <a:pt x="1505495" y="624325"/>
                </a:lnTo>
                <a:cubicBezTo>
                  <a:pt x="1512992" y="627532"/>
                  <a:pt x="1520025" y="632078"/>
                  <a:pt x="1526340" y="638496"/>
                </a:cubicBezTo>
                <a:cubicBezTo>
                  <a:pt x="1586113" y="586768"/>
                  <a:pt x="1659006" y="610309"/>
                  <a:pt x="1731986" y="589682"/>
                </a:cubicBezTo>
                <a:cubicBezTo>
                  <a:pt x="1750397" y="523106"/>
                  <a:pt x="1896056" y="573257"/>
                  <a:pt x="1927935" y="628540"/>
                </a:cubicBezTo>
                <a:cubicBezTo>
                  <a:pt x="1912854" y="559823"/>
                  <a:pt x="2112261" y="676347"/>
                  <a:pt x="2039075" y="599964"/>
                </a:cubicBezTo>
                <a:cubicBezTo>
                  <a:pt x="2066036" y="601198"/>
                  <a:pt x="2086366" y="569532"/>
                  <a:pt x="2066980" y="550413"/>
                </a:cubicBezTo>
                <a:cubicBezTo>
                  <a:pt x="2155364" y="582582"/>
                  <a:pt x="2259548" y="514786"/>
                  <a:pt x="2352236" y="519602"/>
                </a:cubicBezTo>
                <a:cubicBezTo>
                  <a:pt x="2388450" y="459394"/>
                  <a:pt x="2373298" y="511682"/>
                  <a:pt x="2420791" y="492826"/>
                </a:cubicBezTo>
                <a:cubicBezTo>
                  <a:pt x="2417962" y="542563"/>
                  <a:pt x="2475071" y="455098"/>
                  <a:pt x="2489932" y="507864"/>
                </a:cubicBezTo>
                <a:cubicBezTo>
                  <a:pt x="2498105" y="502761"/>
                  <a:pt x="2505553" y="496153"/>
                  <a:pt x="2512917" y="489127"/>
                </a:cubicBezTo>
                <a:lnTo>
                  <a:pt x="2516783" y="485473"/>
                </a:lnTo>
                <a:lnTo>
                  <a:pt x="2534360" y="480064"/>
                </a:lnTo>
                <a:lnTo>
                  <a:pt x="2536691" y="467018"/>
                </a:lnTo>
                <a:lnTo>
                  <a:pt x="2561265" y="450623"/>
                </a:lnTo>
                <a:cubicBezTo>
                  <a:pt x="2570872" y="446262"/>
                  <a:pt x="2581686" y="443655"/>
                  <a:pt x="2594349" y="443884"/>
                </a:cubicBezTo>
                <a:cubicBezTo>
                  <a:pt x="2640435" y="464638"/>
                  <a:pt x="2696955" y="396361"/>
                  <a:pt x="2754324" y="424766"/>
                </a:cubicBezTo>
                <a:cubicBezTo>
                  <a:pt x="2775130" y="430896"/>
                  <a:pt x="2837731" y="423458"/>
                  <a:pt x="2848470" y="405966"/>
                </a:cubicBezTo>
                <a:cubicBezTo>
                  <a:pt x="2861295" y="401100"/>
                  <a:pt x="2876936" y="405309"/>
                  <a:pt x="2881772" y="387260"/>
                </a:cubicBezTo>
                <a:cubicBezTo>
                  <a:pt x="2890299" y="365261"/>
                  <a:pt x="2938134" y="392997"/>
                  <a:pt x="2929932" y="368912"/>
                </a:cubicBezTo>
                <a:cubicBezTo>
                  <a:pt x="2963844" y="387799"/>
                  <a:pt x="2986550" y="341223"/>
                  <a:pt x="3013020" y="327578"/>
                </a:cubicBezTo>
                <a:cubicBezTo>
                  <a:pt x="3040041" y="346996"/>
                  <a:pt x="3068934" y="299222"/>
                  <a:pt x="3127968" y="287613"/>
                </a:cubicBezTo>
                <a:cubicBezTo>
                  <a:pt x="3157770" y="310215"/>
                  <a:pt x="3167695" y="279445"/>
                  <a:pt x="3222191" y="307887"/>
                </a:cubicBezTo>
                <a:cubicBezTo>
                  <a:pt x="3223593" y="304249"/>
                  <a:pt x="3225533" y="300801"/>
                  <a:pt x="3227953" y="297650"/>
                </a:cubicBezTo>
                <a:cubicBezTo>
                  <a:pt x="3242008" y="279345"/>
                  <a:pt x="3268831" y="274825"/>
                  <a:pt x="3287859" y="287558"/>
                </a:cubicBezTo>
                <a:cubicBezTo>
                  <a:pt x="3373144" y="323866"/>
                  <a:pt x="3442657" y="311681"/>
                  <a:pt x="3510042" y="311820"/>
                </a:cubicBezTo>
                <a:cubicBezTo>
                  <a:pt x="3585274" y="306641"/>
                  <a:pt x="3525753" y="258887"/>
                  <a:pt x="3626773" y="290452"/>
                </a:cubicBezTo>
                <a:cubicBezTo>
                  <a:pt x="3633124" y="269835"/>
                  <a:pt x="3644693" y="267134"/>
                  <a:pt x="3666217" y="273255"/>
                </a:cubicBezTo>
                <a:cubicBezTo>
                  <a:pt x="3702502" y="269310"/>
                  <a:pt x="3690563" y="221720"/>
                  <a:pt x="3732427" y="245039"/>
                </a:cubicBezTo>
                <a:cubicBezTo>
                  <a:pt x="3720985" y="220241"/>
                  <a:pt x="3798776" y="224539"/>
                  <a:pt x="3777022" y="200276"/>
                </a:cubicBezTo>
                <a:cubicBezTo>
                  <a:pt x="3781759" y="193499"/>
                  <a:pt x="3786499" y="190723"/>
                  <a:pt x="3791246" y="189996"/>
                </a:cubicBezTo>
                <a:cubicBezTo>
                  <a:pt x="3800740" y="188542"/>
                  <a:pt x="3810265" y="195284"/>
                  <a:pt x="3819864" y="194605"/>
                </a:cubicBezTo>
                <a:lnTo>
                  <a:pt x="3830398" y="188383"/>
                </a:lnTo>
                <a:lnTo>
                  <a:pt x="3834360" y="188992"/>
                </a:lnTo>
                <a:lnTo>
                  <a:pt x="3843715" y="188752"/>
                </a:lnTo>
                <a:lnTo>
                  <a:pt x="3842609" y="197386"/>
                </a:lnTo>
                <a:cubicBezTo>
                  <a:pt x="3840673" y="205638"/>
                  <a:pt x="3839248" y="214671"/>
                  <a:pt x="3853961" y="213380"/>
                </a:cubicBezTo>
                <a:cubicBezTo>
                  <a:pt x="3884396" y="206569"/>
                  <a:pt x="3895082" y="241941"/>
                  <a:pt x="3907640" y="207568"/>
                </a:cubicBezTo>
                <a:lnTo>
                  <a:pt x="3910449" y="197808"/>
                </a:lnTo>
                <a:lnTo>
                  <a:pt x="3917197" y="196121"/>
                </a:lnTo>
                <a:cubicBezTo>
                  <a:pt x="3920833" y="196372"/>
                  <a:pt x="3922919" y="198717"/>
                  <a:pt x="3922400" y="205056"/>
                </a:cubicBezTo>
                <a:cubicBezTo>
                  <a:pt x="3950680" y="178467"/>
                  <a:pt x="3984062" y="218098"/>
                  <a:pt x="4013061" y="224874"/>
                </a:cubicBezTo>
                <a:cubicBezTo>
                  <a:pt x="4034530" y="199451"/>
                  <a:pt x="4074202" y="238734"/>
                  <a:pt x="4134285" y="235592"/>
                </a:cubicBezTo>
                <a:cubicBezTo>
                  <a:pt x="4157674" y="206403"/>
                  <a:pt x="4174806" y="233822"/>
                  <a:pt x="4220717" y="192946"/>
                </a:cubicBezTo>
                <a:cubicBezTo>
                  <a:pt x="4222964" y="196132"/>
                  <a:pt x="4225687" y="199002"/>
                  <a:pt x="4228802" y="201468"/>
                </a:cubicBezTo>
                <a:cubicBezTo>
                  <a:pt x="4246898" y="215792"/>
                  <a:pt x="4274013" y="213632"/>
                  <a:pt x="4289361" y="196642"/>
                </a:cubicBezTo>
                <a:cubicBezTo>
                  <a:pt x="4363212" y="140627"/>
                  <a:pt x="4433598" y="135488"/>
                  <a:pt x="4498913" y="118915"/>
                </a:cubicBezTo>
                <a:cubicBezTo>
                  <a:pt x="4573135" y="105586"/>
                  <a:pt x="4527062" y="166416"/>
                  <a:pt x="4617330" y="111163"/>
                </a:cubicBezTo>
                <a:cubicBezTo>
                  <a:pt x="4628518" y="129608"/>
                  <a:pt x="4640397" y="129405"/>
                  <a:pt x="4659778" y="118219"/>
                </a:cubicBezTo>
                <a:cubicBezTo>
                  <a:pt x="4695929" y="113193"/>
                  <a:pt x="4695958" y="162259"/>
                  <a:pt x="4730870" y="129432"/>
                </a:cubicBezTo>
                <a:cubicBezTo>
                  <a:pt x="4725822" y="156271"/>
                  <a:pt x="4800214" y="133127"/>
                  <a:pt x="4785037" y="161964"/>
                </a:cubicBezTo>
                <a:cubicBezTo>
                  <a:pt x="4810025" y="183633"/>
                  <a:pt x="4819434" y="143205"/>
                  <a:pt x="4844073" y="161768"/>
                </a:cubicBezTo>
                <a:cubicBezTo>
                  <a:pt x="4870797" y="164132"/>
                  <a:pt x="4827288" y="135164"/>
                  <a:pt x="4856454" y="130488"/>
                </a:cubicBezTo>
                <a:cubicBezTo>
                  <a:pt x="4892086" y="129553"/>
                  <a:pt x="4889263" y="81477"/>
                  <a:pt x="4920038" y="140418"/>
                </a:cubicBezTo>
                <a:cubicBezTo>
                  <a:pt x="4956358" y="122308"/>
                  <a:pt x="4965108" y="149263"/>
                  <a:pt x="5016639" y="158905"/>
                </a:cubicBezTo>
                <a:cubicBezTo>
                  <a:pt x="5037063" y="141828"/>
                  <a:pt x="5054534" y="147986"/>
                  <a:pt x="5072009" y="161502"/>
                </a:cubicBezTo>
                <a:cubicBezTo>
                  <a:pt x="5121260" y="153653"/>
                  <a:pt x="5167555" y="172635"/>
                  <a:pt x="5223626" y="177356"/>
                </a:cubicBezTo>
                <a:cubicBezTo>
                  <a:pt x="5282824" y="155243"/>
                  <a:pt x="5315859" y="195041"/>
                  <a:pt x="5375773" y="199913"/>
                </a:cubicBezTo>
                <a:cubicBezTo>
                  <a:pt x="5432511" y="156218"/>
                  <a:pt x="5417550" y="256036"/>
                  <a:pt x="5467502" y="250963"/>
                </a:cubicBezTo>
                <a:cubicBezTo>
                  <a:pt x="5547124" y="209975"/>
                  <a:pt x="5467171" y="283839"/>
                  <a:pt x="5592395" y="265434"/>
                </a:cubicBezTo>
                <a:cubicBezTo>
                  <a:pt x="5599201" y="258867"/>
                  <a:pt x="5614752" y="264706"/>
                  <a:pt x="5613532" y="273379"/>
                </a:cubicBezTo>
                <a:cubicBezTo>
                  <a:pt x="5621390" y="270408"/>
                  <a:pt x="5639720" y="253173"/>
                  <a:pt x="5642173" y="266904"/>
                </a:cubicBezTo>
                <a:cubicBezTo>
                  <a:pt x="5682296" y="267049"/>
                  <a:pt x="5721812" y="257513"/>
                  <a:pt x="5756910" y="239211"/>
                </a:cubicBezTo>
                <a:cubicBezTo>
                  <a:pt x="5834998" y="260050"/>
                  <a:pt x="5790596" y="197229"/>
                  <a:pt x="5846667" y="201786"/>
                </a:cubicBezTo>
                <a:cubicBezTo>
                  <a:pt x="5892444" y="227312"/>
                  <a:pt x="5908324" y="204527"/>
                  <a:pt x="5960732" y="220708"/>
                </a:cubicBezTo>
                <a:cubicBezTo>
                  <a:pt x="5977124" y="175349"/>
                  <a:pt x="6009640" y="223654"/>
                  <a:pt x="6029542" y="210339"/>
                </a:cubicBezTo>
                <a:cubicBezTo>
                  <a:pt x="6063108" y="261420"/>
                  <a:pt x="6107411" y="160034"/>
                  <a:pt x="6141123" y="159923"/>
                </a:cubicBezTo>
                <a:cubicBezTo>
                  <a:pt x="6198068" y="167749"/>
                  <a:pt x="6260628" y="219715"/>
                  <a:pt x="6290640" y="167441"/>
                </a:cubicBezTo>
                <a:cubicBezTo>
                  <a:pt x="6295193" y="188689"/>
                  <a:pt x="6290494" y="217816"/>
                  <a:pt x="6322806" y="213293"/>
                </a:cubicBezTo>
                <a:cubicBezTo>
                  <a:pt x="6335911" y="223881"/>
                  <a:pt x="6338726" y="256581"/>
                  <a:pt x="6364914" y="240140"/>
                </a:cubicBezTo>
                <a:cubicBezTo>
                  <a:pt x="6331888" y="211628"/>
                  <a:pt x="6385856" y="207033"/>
                  <a:pt x="6380420" y="173195"/>
                </a:cubicBezTo>
                <a:cubicBezTo>
                  <a:pt x="6420580" y="151473"/>
                  <a:pt x="6513519" y="179296"/>
                  <a:pt x="6507891" y="118474"/>
                </a:cubicBezTo>
                <a:cubicBezTo>
                  <a:pt x="6519398" y="82452"/>
                  <a:pt x="6571830" y="137398"/>
                  <a:pt x="6571807" y="98636"/>
                </a:cubicBezTo>
                <a:cubicBezTo>
                  <a:pt x="6594702" y="123421"/>
                  <a:pt x="6634676" y="82071"/>
                  <a:pt x="6671880" y="82931"/>
                </a:cubicBezTo>
                <a:cubicBezTo>
                  <a:pt x="6678855" y="65407"/>
                  <a:pt x="6687415" y="66196"/>
                  <a:pt x="6702266" y="75470"/>
                </a:cubicBezTo>
                <a:cubicBezTo>
                  <a:pt x="6747004" y="78450"/>
                  <a:pt x="6798307" y="53072"/>
                  <a:pt x="6845802" y="24496"/>
                </a:cubicBez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odtytuł 7">
            <a:extLst>
              <a:ext uri="{FF2B5EF4-FFF2-40B4-BE49-F238E27FC236}">
                <a16:creationId xmlns:a16="http://schemas.microsoft.com/office/drawing/2014/main" id="{A577B416-7652-C4BF-4C14-B3A5503F16D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C050B3F3-B476-48C1-9C34-FD1350FAA0FA}"/>
              </a:ext>
            </a:extLst>
          </p:cNvPr>
          <p:cNvSpPr txBox="1"/>
          <p:nvPr/>
        </p:nvSpPr>
        <p:spPr>
          <a:xfrm>
            <a:off x="3498242" y="3889817"/>
            <a:ext cx="20552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dirty="0">
                <a:solidFill>
                  <a:schemeClr val="bg1"/>
                </a:solidFill>
              </a:rPr>
              <a:t>Organizacja</a:t>
            </a:r>
          </a:p>
          <a:p>
            <a:pPr algn="ctr"/>
            <a:r>
              <a:rPr lang="pl-PL" dirty="0">
                <a:solidFill>
                  <a:schemeClr val="bg1"/>
                </a:solidFill>
              </a:rPr>
              <a:t>(</a:t>
            </a:r>
            <a:r>
              <a:rPr lang="pl-PL" dirty="0" err="1">
                <a:solidFill>
                  <a:schemeClr val="bg1"/>
                </a:solidFill>
              </a:rPr>
              <a:t>pzs</a:t>
            </a:r>
            <a:r>
              <a:rPr lang="pl-PL" dirty="0">
                <a:solidFill>
                  <a:schemeClr val="bg1"/>
                </a:solidFill>
              </a:rPr>
              <a:t>)</a:t>
            </a:r>
          </a:p>
        </p:txBody>
      </p:sp>
      <p:pic>
        <p:nvPicPr>
          <p:cNvPr id="16" name="Obraz 5">
            <a:extLst>
              <a:ext uri="{FF2B5EF4-FFF2-40B4-BE49-F238E27FC236}">
                <a16:creationId xmlns:a16="http://schemas.microsoft.com/office/drawing/2014/main" id="{95CFF77D-05B1-A1C9-765B-914078FC53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1381477"/>
            <a:ext cx="5289037" cy="4095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Google Shape;79;p16">
            <a:extLst>
              <a:ext uri="{FF2B5EF4-FFF2-40B4-BE49-F238E27FC236}">
                <a16:creationId xmlns:a16="http://schemas.microsoft.com/office/drawing/2014/main" id="{EFAB0430-A2FE-CC80-C08D-23F18312C47A}"/>
              </a:ext>
            </a:extLst>
          </p:cNvPr>
          <p:cNvSpPr txBox="1">
            <a:spLocks/>
          </p:cNvSpPr>
          <p:nvPr/>
        </p:nvSpPr>
        <p:spPr>
          <a:xfrm>
            <a:off x="7538754" y="1002428"/>
            <a:ext cx="4471415" cy="29030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572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Arial"/>
              <a:buChar char="●"/>
              <a:tabLst/>
              <a:defRPr/>
            </a:pPr>
            <a:r>
              <a:rPr kumimoji="0" lang="pl-PL" sz="24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Odmiany: SL(</a:t>
            </a:r>
            <a:r>
              <a:rPr kumimoji="0" lang="pl-PL" sz="2400" b="0" i="0" u="none" strike="noStrike" kern="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egal</a:t>
            </a:r>
            <a:r>
              <a:rPr kumimoji="0" lang="pl-PL" sz="24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)EPT, STEE(</a:t>
            </a:r>
            <a:r>
              <a:rPr kumimoji="0" lang="pl-PL" sz="2400" b="0" i="0" u="none" strike="noStrike" kern="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nviroment</a:t>
            </a:r>
            <a:r>
              <a:rPr kumimoji="0" lang="pl-PL" sz="24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)P, PESTEL, STEEPLE(</a:t>
            </a:r>
            <a:r>
              <a:rPr kumimoji="0" lang="pl-PL" sz="2400" b="0" i="0" u="none" strike="noStrike" kern="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ducation</a:t>
            </a:r>
            <a:r>
              <a:rPr kumimoji="0" lang="pl-PL" sz="24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), STEEPLED(</a:t>
            </a:r>
            <a:r>
              <a:rPr kumimoji="0" lang="pl-PL" sz="2400" b="0" i="0" u="none" strike="noStrike" kern="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mografic</a:t>
            </a:r>
            <a:r>
              <a:rPr kumimoji="0" lang="pl-PL" sz="24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), </a:t>
            </a:r>
          </a:p>
          <a:p>
            <a:pPr marL="0" marR="0" lvl="0" indent="0" algn="ctr" defTabSz="914400" rtl="0" eaLnBrk="1" fontAlgn="auto" latinLnBrk="0" hangingPunct="1">
              <a:lnSpc>
                <a:spcPct val="114999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Arial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id="{703B18B0-CED3-F214-47B6-4ACF2D585AD9}"/>
              </a:ext>
            </a:extLst>
          </p:cNvPr>
          <p:cNvSpPr txBox="1"/>
          <p:nvPr/>
        </p:nvSpPr>
        <p:spPr>
          <a:xfrm>
            <a:off x="9999133" y="6139471"/>
            <a:ext cx="42081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/>
              <a:t>Źródło: K. </a:t>
            </a:r>
            <a:r>
              <a:rPr lang="pl-PL" sz="1200" dirty="0" err="1"/>
              <a:t>Obłój</a:t>
            </a:r>
            <a:r>
              <a:rPr lang="pl-PL" sz="1200" dirty="0"/>
              <a:t> (2007) </a:t>
            </a:r>
          </a:p>
        </p:txBody>
      </p:sp>
    </p:spTree>
    <p:extLst>
      <p:ext uri="{BB962C8B-B14F-4D97-AF65-F5344CB8AC3E}">
        <p14:creationId xmlns:p14="http://schemas.microsoft.com/office/powerpoint/2010/main" val="40962054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9E9EF8A-A9BB-1168-987A-ADD270A4F0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47D44278-5260-E5B0-FD19-0B2CDF2462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3D15F27A-314F-3715-6B1D-F92AEF2D40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1269336" cy="2008639"/>
          </a:xfrm>
          <a:custGeom>
            <a:avLst/>
            <a:gdLst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296127 w 11269336"/>
              <a:gd name="connsiteY139" fmla="*/ 2023208 h 2323145"/>
              <a:gd name="connsiteX140" fmla="*/ 5174645 w 11269336"/>
              <a:gd name="connsiteY140" fmla="*/ 2088358 h 2323145"/>
              <a:gd name="connsiteX141" fmla="*/ 5092476 w 11269336"/>
              <a:gd name="connsiteY141" fmla="*/ 2100737 h 2323145"/>
              <a:gd name="connsiteX142" fmla="*/ 5060738 w 11269336"/>
              <a:gd name="connsiteY142" fmla="*/ 2083274 h 2323145"/>
              <a:gd name="connsiteX143" fmla="*/ 4860988 w 11269336"/>
              <a:gd name="connsiteY143" fmla="*/ 2135698 h 2323145"/>
              <a:gd name="connsiteX144" fmla="*/ 4807902 w 11269336"/>
              <a:gd name="connsiteY144" fmla="*/ 2138894 h 2323145"/>
              <a:gd name="connsiteX145" fmla="*/ 4765388 w 11269336"/>
              <a:gd name="connsiteY145" fmla="*/ 2162525 h 2323145"/>
              <a:gd name="connsiteX146" fmla="*/ 4745033 w 11269336"/>
              <a:gd name="connsiteY146" fmla="*/ 2158859 h 2323145"/>
              <a:gd name="connsiteX147" fmla="*/ 4741475 w 11269336"/>
              <a:gd name="connsiteY147" fmla="*/ 2157998 h 2323145"/>
              <a:gd name="connsiteX148" fmla="*/ 4728247 w 11269336"/>
              <a:gd name="connsiteY148" fmla="*/ 2159526 h 2323145"/>
              <a:gd name="connsiteX149" fmla="*/ 4723263 w 11269336"/>
              <a:gd name="connsiteY149" fmla="*/ 2153742 h 2323145"/>
              <a:gd name="connsiteX150" fmla="*/ 4702453 w 11269336"/>
              <a:gd name="connsiteY150" fmla="*/ 2151586 h 2323145"/>
              <a:gd name="connsiteX151" fmla="*/ 4678455 w 11269336"/>
              <a:gd name="connsiteY151" fmla="*/ 2156131 h 2323145"/>
              <a:gd name="connsiteX152" fmla="*/ 4593061 w 11269336"/>
              <a:gd name="connsiteY152" fmla="*/ 2171597 h 2323145"/>
              <a:gd name="connsiteX153" fmla="*/ 4579902 w 11269336"/>
              <a:gd name="connsiteY153" fmla="*/ 2177927 h 2323145"/>
              <a:gd name="connsiteX154" fmla="*/ 4533444 w 11269336"/>
              <a:gd name="connsiteY154" fmla="*/ 2181200 h 2323145"/>
              <a:gd name="connsiteX155" fmla="*/ 4492832 w 11269336"/>
              <a:gd name="connsiteY155" fmla="*/ 2188033 h 2323145"/>
              <a:gd name="connsiteX156" fmla="*/ 4467257 w 11269336"/>
              <a:gd name="connsiteY156" fmla="*/ 2196121 h 2323145"/>
              <a:gd name="connsiteX157" fmla="*/ 4459937 w 11269336"/>
              <a:gd name="connsiteY157" fmla="*/ 2195182 h 2323145"/>
              <a:gd name="connsiteX158" fmla="*/ 4433312 w 11269336"/>
              <a:gd name="connsiteY158" fmla="*/ 2199004 h 2323145"/>
              <a:gd name="connsiteX159" fmla="*/ 4420601 w 11269336"/>
              <a:gd name="connsiteY159" fmla="*/ 2205158 h 2323145"/>
              <a:gd name="connsiteX160" fmla="*/ 4405765 w 11269336"/>
              <a:gd name="connsiteY160" fmla="*/ 2199902 h 2323145"/>
              <a:gd name="connsiteX161" fmla="*/ 4401354 w 11269336"/>
              <a:gd name="connsiteY161" fmla="*/ 2194745 h 2323145"/>
              <a:gd name="connsiteX162" fmla="*/ 4383151 w 11269336"/>
              <a:gd name="connsiteY162" fmla="*/ 2201140 h 2323145"/>
              <a:gd name="connsiteX163" fmla="*/ 4366646 w 11269336"/>
              <a:gd name="connsiteY163" fmla="*/ 2198564 h 2323145"/>
              <a:gd name="connsiteX164" fmla="*/ 4354009 w 11269336"/>
              <a:gd name="connsiteY164" fmla="*/ 2204984 h 2323145"/>
              <a:gd name="connsiteX165" fmla="*/ 4348284 w 11269336"/>
              <a:gd name="connsiteY165" fmla="*/ 2205270 h 2323145"/>
              <a:gd name="connsiteX166" fmla="*/ 4333906 w 11269336"/>
              <a:gd name="connsiteY166" fmla="*/ 2205251 h 2323145"/>
              <a:gd name="connsiteX167" fmla="*/ 4308819 w 11269336"/>
              <a:gd name="connsiteY167" fmla="*/ 2203822 h 2323145"/>
              <a:gd name="connsiteX168" fmla="*/ 4301210 w 11269336"/>
              <a:gd name="connsiteY168" fmla="*/ 2204456 h 2323145"/>
              <a:gd name="connsiteX169" fmla="*/ 4283095 w 11269336"/>
              <a:gd name="connsiteY169" fmla="*/ 2198177 h 2323145"/>
              <a:gd name="connsiteX170" fmla="*/ 4250119 w 11269336"/>
              <a:gd name="connsiteY170" fmla="*/ 2196342 h 2323145"/>
              <a:gd name="connsiteX171" fmla="*/ 4189203 w 11269336"/>
              <a:gd name="connsiteY171" fmla="*/ 2178994 h 2323145"/>
              <a:gd name="connsiteX172" fmla="*/ 4154035 w 11269336"/>
              <a:gd name="connsiteY172" fmla="*/ 2171950 h 2323145"/>
              <a:gd name="connsiteX173" fmla="*/ 4129569 w 11269336"/>
              <a:gd name="connsiteY173" fmla="*/ 2163850 h 2323145"/>
              <a:gd name="connsiteX174" fmla="*/ 4061250 w 11269336"/>
              <a:gd name="connsiteY174" fmla="*/ 2159236 h 2323145"/>
              <a:gd name="connsiteX175" fmla="*/ 3945480 w 11269336"/>
              <a:gd name="connsiteY175" fmla="*/ 2158279 h 2323145"/>
              <a:gd name="connsiteX176" fmla="*/ 3921468 w 11269336"/>
              <a:gd name="connsiteY176" fmla="*/ 2156588 h 2323145"/>
              <a:gd name="connsiteX177" fmla="*/ 3903348 w 11269336"/>
              <a:gd name="connsiteY177" fmla="*/ 2149220 h 2323145"/>
              <a:gd name="connsiteX178" fmla="*/ 3901342 w 11269336"/>
              <a:gd name="connsiteY178" fmla="*/ 2142355 h 2323145"/>
              <a:gd name="connsiteX179" fmla="*/ 3888539 w 11269336"/>
              <a:gd name="connsiteY179" fmla="*/ 2140476 h 2323145"/>
              <a:gd name="connsiteX180" fmla="*/ 3885662 w 11269336"/>
              <a:gd name="connsiteY180" fmla="*/ 2138740 h 2323145"/>
              <a:gd name="connsiteX181" fmla="*/ 3868627 w 11269336"/>
              <a:gd name="connsiteY181" fmla="*/ 2130023 h 2323145"/>
              <a:gd name="connsiteX182" fmla="*/ 3819177 w 11269336"/>
              <a:gd name="connsiteY182" fmla="*/ 2142111 h 2323145"/>
              <a:gd name="connsiteX183" fmla="*/ 3769100 w 11269336"/>
              <a:gd name="connsiteY183" fmla="*/ 2131731 h 2323145"/>
              <a:gd name="connsiteX184" fmla="*/ 3562752 w 11269336"/>
              <a:gd name="connsiteY184" fmla="*/ 2131785 h 2323145"/>
              <a:gd name="connsiteX185" fmla="*/ 3541402 w 11269336"/>
              <a:gd name="connsiteY185" fmla="*/ 2106821 h 2323145"/>
              <a:gd name="connsiteX186" fmla="*/ 3460591 w 11269336"/>
              <a:gd name="connsiteY186" fmla="*/ 2097951 h 2323145"/>
              <a:gd name="connsiteX187" fmla="*/ 3320348 w 11269336"/>
              <a:gd name="connsiteY187" fmla="*/ 2130191 h 2323145"/>
              <a:gd name="connsiteX188" fmla="*/ 3170922 w 11269336"/>
              <a:gd name="connsiteY188" fmla="*/ 2115957 h 2323145"/>
              <a:gd name="connsiteX189" fmla="*/ 3156256 w 11269336"/>
              <a:gd name="connsiteY189" fmla="*/ 2124773 h 2323145"/>
              <a:gd name="connsiteX190" fmla="*/ 3140298 w 11269336"/>
              <a:gd name="connsiteY190" fmla="*/ 2129182 h 2323145"/>
              <a:gd name="connsiteX191" fmla="*/ 3138514 w 11269336"/>
              <a:gd name="connsiteY191" fmla="*/ 2128069 h 2323145"/>
              <a:gd name="connsiteX192" fmla="*/ 3120467 w 11269336"/>
              <a:gd name="connsiteY192" fmla="*/ 2128281 h 2323145"/>
              <a:gd name="connsiteX193" fmla="*/ 3116175 w 11269336"/>
              <a:gd name="connsiteY193" fmla="*/ 2131633 h 2323145"/>
              <a:gd name="connsiteX194" fmla="*/ 3103685 w 11269336"/>
              <a:gd name="connsiteY194" fmla="*/ 2132814 h 2323145"/>
              <a:gd name="connsiteX195" fmla="*/ 3078794 w 11269336"/>
              <a:gd name="connsiteY195" fmla="*/ 2137935 h 2323145"/>
              <a:gd name="connsiteX196" fmla="*/ 3074407 w 11269336"/>
              <a:gd name="connsiteY196" fmla="*/ 2136274 h 2323145"/>
              <a:gd name="connsiteX197" fmla="*/ 3037285 w 11269336"/>
              <a:gd name="connsiteY197" fmla="*/ 2139919 h 2323145"/>
              <a:gd name="connsiteX198" fmla="*/ 3036901 w 11269336"/>
              <a:gd name="connsiteY198" fmla="*/ 2138726 h 2323145"/>
              <a:gd name="connsiteX199" fmla="*/ 3026996 w 11269336"/>
              <a:gd name="connsiteY199" fmla="*/ 2134322 h 2323145"/>
              <a:gd name="connsiteX200" fmla="*/ 3007772 w 11269336"/>
              <a:gd name="connsiteY200" fmla="*/ 2128742 h 2323145"/>
              <a:gd name="connsiteX201" fmla="*/ 2965030 w 11269336"/>
              <a:gd name="connsiteY201" fmla="*/ 2100494 h 2323145"/>
              <a:gd name="connsiteX202" fmla="*/ 2926342 w 11269336"/>
              <a:gd name="connsiteY202" fmla="*/ 2104155 h 2323145"/>
              <a:gd name="connsiteX203" fmla="*/ 2918608 w 11269336"/>
              <a:gd name="connsiteY203" fmla="*/ 2104215 h 2323145"/>
              <a:gd name="connsiteX204" fmla="*/ 2918475 w 11269336"/>
              <a:gd name="connsiteY204" fmla="*/ 2103937 h 2323145"/>
              <a:gd name="connsiteX205" fmla="*/ 2910360 w 11269336"/>
              <a:gd name="connsiteY205" fmla="*/ 2103444 h 2323145"/>
              <a:gd name="connsiteX206" fmla="*/ 2904507 w 11269336"/>
              <a:gd name="connsiteY206" fmla="*/ 2104326 h 2323145"/>
              <a:gd name="connsiteX207" fmla="*/ 2889503 w 11269336"/>
              <a:gd name="connsiteY207" fmla="*/ 2104443 h 2323145"/>
              <a:gd name="connsiteX208" fmla="*/ 2884480 w 11269336"/>
              <a:gd name="connsiteY208" fmla="*/ 2102626 h 2323145"/>
              <a:gd name="connsiteX209" fmla="*/ 2882689 w 11269336"/>
              <a:gd name="connsiteY209" fmla="*/ 2099228 h 2323145"/>
              <a:gd name="connsiteX210" fmla="*/ 2881291 w 11269336"/>
              <a:gd name="connsiteY210" fmla="*/ 2099618 h 2323145"/>
              <a:gd name="connsiteX211" fmla="*/ 2853979 w 11269336"/>
              <a:gd name="connsiteY211" fmla="*/ 2090388 h 2323145"/>
              <a:gd name="connsiteX212" fmla="*/ 2791790 w 11269336"/>
              <a:gd name="connsiteY212" fmla="*/ 2080332 h 2323145"/>
              <a:gd name="connsiteX213" fmla="*/ 2755844 w 11269336"/>
              <a:gd name="connsiteY213" fmla="*/ 2078874 h 2323145"/>
              <a:gd name="connsiteX214" fmla="*/ 2657742 w 11269336"/>
              <a:gd name="connsiteY214" fmla="*/ 2070179 h 2323145"/>
              <a:gd name="connsiteX215" fmla="*/ 2559549 w 11269336"/>
              <a:gd name="connsiteY215" fmla="*/ 2057873 h 2323145"/>
              <a:gd name="connsiteX216" fmla="*/ 2512054 w 11269336"/>
              <a:gd name="connsiteY216" fmla="*/ 2031671 h 2323145"/>
              <a:gd name="connsiteX217" fmla="*/ 2506437 w 11269336"/>
              <a:gd name="connsiteY217" fmla="*/ 2030918 h 2323145"/>
              <a:gd name="connsiteX218" fmla="*/ 2491752 w 11269336"/>
              <a:gd name="connsiteY218" fmla="*/ 2033906 h 2323145"/>
              <a:gd name="connsiteX219" fmla="*/ 2486338 w 11269336"/>
              <a:gd name="connsiteY219" fmla="*/ 2035862 h 2323145"/>
              <a:gd name="connsiteX220" fmla="*/ 2478186 w 11269336"/>
              <a:gd name="connsiteY220" fmla="*/ 2036953 h 2323145"/>
              <a:gd name="connsiteX221" fmla="*/ 2477950 w 11269336"/>
              <a:gd name="connsiteY221" fmla="*/ 2036715 h 2323145"/>
              <a:gd name="connsiteX222" fmla="*/ 2470381 w 11269336"/>
              <a:gd name="connsiteY222" fmla="*/ 2038256 h 2323145"/>
              <a:gd name="connsiteX223" fmla="*/ 2433781 w 11269336"/>
              <a:gd name="connsiteY223" fmla="*/ 2049140 h 2323145"/>
              <a:gd name="connsiteX224" fmla="*/ 2381172 w 11269336"/>
              <a:gd name="connsiteY224" fmla="*/ 2030645 h 2323145"/>
              <a:gd name="connsiteX225" fmla="*/ 2360198 w 11269336"/>
              <a:gd name="connsiteY225" fmla="*/ 2029059 h 2323145"/>
              <a:gd name="connsiteX226" fmla="*/ 2348815 w 11269336"/>
              <a:gd name="connsiteY226" fmla="*/ 2026798 h 2323145"/>
              <a:gd name="connsiteX227" fmla="*/ 2347988 w 11269336"/>
              <a:gd name="connsiteY227" fmla="*/ 2025745 h 2323145"/>
              <a:gd name="connsiteX228" fmla="*/ 2312920 w 11269336"/>
              <a:gd name="connsiteY228" fmla="*/ 2036311 h 2323145"/>
              <a:gd name="connsiteX229" fmla="*/ 2307986 w 11269336"/>
              <a:gd name="connsiteY229" fmla="*/ 2035583 h 2323145"/>
              <a:gd name="connsiteX230" fmla="*/ 2285481 w 11269336"/>
              <a:gd name="connsiteY230" fmla="*/ 2045197 h 2323145"/>
              <a:gd name="connsiteX231" fmla="*/ 2273666 w 11269336"/>
              <a:gd name="connsiteY231" fmla="*/ 2048710 h 2323145"/>
              <a:gd name="connsiteX232" fmla="*/ 2270719 w 11269336"/>
              <a:gd name="connsiteY232" fmla="*/ 2052702 h 2323145"/>
              <a:gd name="connsiteX233" fmla="*/ 2253080 w 11269336"/>
              <a:gd name="connsiteY233" fmla="*/ 2056363 h 2323145"/>
              <a:gd name="connsiteX234" fmla="*/ 2250906 w 11269336"/>
              <a:gd name="connsiteY234" fmla="*/ 2055654 h 2323145"/>
              <a:gd name="connsiteX235" fmla="*/ 2236905 w 11269336"/>
              <a:gd name="connsiteY235" fmla="*/ 2062882 h 2323145"/>
              <a:gd name="connsiteX236" fmla="*/ 2225830 w 11269336"/>
              <a:gd name="connsiteY236" fmla="*/ 2074027 h 2323145"/>
              <a:gd name="connsiteX237" fmla="*/ 2073776 w 11269336"/>
              <a:gd name="connsiteY237" fmla="*/ 2089244 h 2323145"/>
              <a:gd name="connsiteX238" fmla="*/ 1948256 w 11269336"/>
              <a:gd name="connsiteY238" fmla="*/ 2146616 h 2323145"/>
              <a:gd name="connsiteX239" fmla="*/ 1865582 w 11269336"/>
              <a:gd name="connsiteY239" fmla="*/ 2153738 h 2323145"/>
              <a:gd name="connsiteX240" fmla="*/ 1835210 w 11269336"/>
              <a:gd name="connsiteY240" fmla="*/ 2134244 h 2323145"/>
              <a:gd name="connsiteX241" fmla="*/ 1632661 w 11269336"/>
              <a:gd name="connsiteY241" fmla="*/ 2173882 h 2323145"/>
              <a:gd name="connsiteX242" fmla="*/ 1579590 w 11269336"/>
              <a:gd name="connsiteY242" fmla="*/ 2173680 h 2323145"/>
              <a:gd name="connsiteX243" fmla="*/ 1535601 w 11269336"/>
              <a:gd name="connsiteY243" fmla="*/ 2194590 h 2323145"/>
              <a:gd name="connsiteX244" fmla="*/ 1515594 w 11269336"/>
              <a:gd name="connsiteY244" fmla="*/ 2189622 h 2323145"/>
              <a:gd name="connsiteX245" fmla="*/ 1512113 w 11269336"/>
              <a:gd name="connsiteY245" fmla="*/ 2188534 h 2323145"/>
              <a:gd name="connsiteX246" fmla="*/ 1498838 w 11269336"/>
              <a:gd name="connsiteY246" fmla="*/ 2189213 h 2323145"/>
              <a:gd name="connsiteX247" fmla="*/ 1494279 w 11269336"/>
              <a:gd name="connsiteY247" fmla="*/ 2183112 h 2323145"/>
              <a:gd name="connsiteX248" fmla="*/ 1473714 w 11269336"/>
              <a:gd name="connsiteY248" fmla="*/ 2179625 h 2323145"/>
              <a:gd name="connsiteX249" fmla="*/ 1449503 w 11269336"/>
              <a:gd name="connsiteY249" fmla="*/ 2182633 h 2323145"/>
              <a:gd name="connsiteX250" fmla="*/ 1335495 w 11269336"/>
              <a:gd name="connsiteY250" fmla="*/ 2203940 h 2323145"/>
              <a:gd name="connsiteX251" fmla="*/ 1266687 w 11269336"/>
              <a:gd name="connsiteY251" fmla="*/ 2212688 h 2323145"/>
              <a:gd name="connsiteX252" fmla="*/ 1239614 w 11269336"/>
              <a:gd name="connsiteY252" fmla="*/ 2209727 h 2323145"/>
              <a:gd name="connsiteX253" fmla="*/ 1202436 w 11269336"/>
              <a:gd name="connsiteY253" fmla="*/ 2209817 h 2323145"/>
              <a:gd name="connsiteX254" fmla="*/ 1136097 w 11269336"/>
              <a:gd name="connsiteY254" fmla="*/ 2205112 h 2323145"/>
              <a:gd name="connsiteX255" fmla="*/ 1048229 w 11269336"/>
              <a:gd name="connsiteY255" fmla="*/ 2207249 h 2323145"/>
              <a:gd name="connsiteX256" fmla="*/ 988232 w 11269336"/>
              <a:gd name="connsiteY256" fmla="*/ 2235635 h 2323145"/>
              <a:gd name="connsiteX257" fmla="*/ 981959 w 11269336"/>
              <a:gd name="connsiteY257" fmla="*/ 2231607 h 2323145"/>
              <a:gd name="connsiteX258" fmla="*/ 938600 w 11269336"/>
              <a:gd name="connsiteY258" fmla="*/ 2238113 h 2323145"/>
              <a:gd name="connsiteX259" fmla="*/ 791788 w 11269336"/>
              <a:gd name="connsiteY259" fmla="*/ 2293224 h 2323145"/>
              <a:gd name="connsiteX260" fmla="*/ 706914 w 11269336"/>
              <a:gd name="connsiteY260" fmla="*/ 2305046 h 2323145"/>
              <a:gd name="connsiteX261" fmla="*/ 675971 w 11269336"/>
              <a:gd name="connsiteY261" fmla="*/ 2304030 h 2323145"/>
              <a:gd name="connsiteX262" fmla="*/ 624180 w 11269336"/>
              <a:gd name="connsiteY262" fmla="*/ 2302650 h 2323145"/>
              <a:gd name="connsiteX263" fmla="*/ 583453 w 11269336"/>
              <a:gd name="connsiteY263" fmla="*/ 2288788 h 2323145"/>
              <a:gd name="connsiteX264" fmla="*/ 540946 w 11269336"/>
              <a:gd name="connsiteY264" fmla="*/ 2292721 h 2323145"/>
              <a:gd name="connsiteX265" fmla="*/ 533680 w 11269336"/>
              <a:gd name="connsiteY265" fmla="*/ 2310233 h 2323145"/>
              <a:gd name="connsiteX266" fmla="*/ 487366 w 11269336"/>
              <a:gd name="connsiteY266" fmla="*/ 2309053 h 2323145"/>
              <a:gd name="connsiteX267" fmla="*/ 416820 w 11269336"/>
              <a:gd name="connsiteY267" fmla="*/ 2305443 h 2323145"/>
              <a:gd name="connsiteX268" fmla="*/ 376805 w 11269336"/>
              <a:gd name="connsiteY268" fmla="*/ 2307647 h 2323145"/>
              <a:gd name="connsiteX269" fmla="*/ 266777 w 11269336"/>
              <a:gd name="connsiteY269" fmla="*/ 2309012 h 2323145"/>
              <a:gd name="connsiteX270" fmla="*/ 156013 w 11269336"/>
              <a:gd name="connsiteY270" fmla="*/ 2306832 h 2323145"/>
              <a:gd name="connsiteX271" fmla="*/ 87258 w 11269336"/>
              <a:gd name="connsiteY271" fmla="*/ 2285511 h 2323145"/>
              <a:gd name="connsiteX272" fmla="*/ 23798 w 11269336"/>
              <a:gd name="connsiteY272" fmla="*/ 2281822 h 2323145"/>
              <a:gd name="connsiteX273" fmla="*/ 0 w 11269336"/>
              <a:gd name="connsiteY273" fmla="*/ 2285369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296127 w 11269336"/>
              <a:gd name="connsiteY139" fmla="*/ 2023208 h 2323145"/>
              <a:gd name="connsiteX140" fmla="*/ 5092476 w 11269336"/>
              <a:gd name="connsiteY140" fmla="*/ 2100737 h 2323145"/>
              <a:gd name="connsiteX141" fmla="*/ 5060738 w 11269336"/>
              <a:gd name="connsiteY141" fmla="*/ 2083274 h 2323145"/>
              <a:gd name="connsiteX142" fmla="*/ 4860988 w 11269336"/>
              <a:gd name="connsiteY142" fmla="*/ 2135698 h 2323145"/>
              <a:gd name="connsiteX143" fmla="*/ 4807902 w 11269336"/>
              <a:gd name="connsiteY143" fmla="*/ 2138894 h 2323145"/>
              <a:gd name="connsiteX144" fmla="*/ 4765388 w 11269336"/>
              <a:gd name="connsiteY144" fmla="*/ 2162525 h 2323145"/>
              <a:gd name="connsiteX145" fmla="*/ 4745033 w 11269336"/>
              <a:gd name="connsiteY145" fmla="*/ 2158859 h 2323145"/>
              <a:gd name="connsiteX146" fmla="*/ 4741475 w 11269336"/>
              <a:gd name="connsiteY146" fmla="*/ 2157998 h 2323145"/>
              <a:gd name="connsiteX147" fmla="*/ 4728247 w 11269336"/>
              <a:gd name="connsiteY147" fmla="*/ 2159526 h 2323145"/>
              <a:gd name="connsiteX148" fmla="*/ 4723263 w 11269336"/>
              <a:gd name="connsiteY148" fmla="*/ 2153742 h 2323145"/>
              <a:gd name="connsiteX149" fmla="*/ 4702453 w 11269336"/>
              <a:gd name="connsiteY149" fmla="*/ 2151586 h 2323145"/>
              <a:gd name="connsiteX150" fmla="*/ 4678455 w 11269336"/>
              <a:gd name="connsiteY150" fmla="*/ 2156131 h 2323145"/>
              <a:gd name="connsiteX151" fmla="*/ 4593061 w 11269336"/>
              <a:gd name="connsiteY151" fmla="*/ 2171597 h 2323145"/>
              <a:gd name="connsiteX152" fmla="*/ 4579902 w 11269336"/>
              <a:gd name="connsiteY152" fmla="*/ 2177927 h 2323145"/>
              <a:gd name="connsiteX153" fmla="*/ 4533444 w 11269336"/>
              <a:gd name="connsiteY153" fmla="*/ 2181200 h 2323145"/>
              <a:gd name="connsiteX154" fmla="*/ 4492832 w 11269336"/>
              <a:gd name="connsiteY154" fmla="*/ 2188033 h 2323145"/>
              <a:gd name="connsiteX155" fmla="*/ 4467257 w 11269336"/>
              <a:gd name="connsiteY155" fmla="*/ 2196121 h 2323145"/>
              <a:gd name="connsiteX156" fmla="*/ 4459937 w 11269336"/>
              <a:gd name="connsiteY156" fmla="*/ 2195182 h 2323145"/>
              <a:gd name="connsiteX157" fmla="*/ 4433312 w 11269336"/>
              <a:gd name="connsiteY157" fmla="*/ 2199004 h 2323145"/>
              <a:gd name="connsiteX158" fmla="*/ 4420601 w 11269336"/>
              <a:gd name="connsiteY158" fmla="*/ 2205158 h 2323145"/>
              <a:gd name="connsiteX159" fmla="*/ 4405765 w 11269336"/>
              <a:gd name="connsiteY159" fmla="*/ 2199902 h 2323145"/>
              <a:gd name="connsiteX160" fmla="*/ 4401354 w 11269336"/>
              <a:gd name="connsiteY160" fmla="*/ 2194745 h 2323145"/>
              <a:gd name="connsiteX161" fmla="*/ 4383151 w 11269336"/>
              <a:gd name="connsiteY161" fmla="*/ 2201140 h 2323145"/>
              <a:gd name="connsiteX162" fmla="*/ 4366646 w 11269336"/>
              <a:gd name="connsiteY162" fmla="*/ 2198564 h 2323145"/>
              <a:gd name="connsiteX163" fmla="*/ 4354009 w 11269336"/>
              <a:gd name="connsiteY163" fmla="*/ 2204984 h 2323145"/>
              <a:gd name="connsiteX164" fmla="*/ 4348284 w 11269336"/>
              <a:gd name="connsiteY164" fmla="*/ 2205270 h 2323145"/>
              <a:gd name="connsiteX165" fmla="*/ 4333906 w 11269336"/>
              <a:gd name="connsiteY165" fmla="*/ 2205251 h 2323145"/>
              <a:gd name="connsiteX166" fmla="*/ 4308819 w 11269336"/>
              <a:gd name="connsiteY166" fmla="*/ 2203822 h 2323145"/>
              <a:gd name="connsiteX167" fmla="*/ 4301210 w 11269336"/>
              <a:gd name="connsiteY167" fmla="*/ 2204456 h 2323145"/>
              <a:gd name="connsiteX168" fmla="*/ 4283095 w 11269336"/>
              <a:gd name="connsiteY168" fmla="*/ 2198177 h 2323145"/>
              <a:gd name="connsiteX169" fmla="*/ 4250119 w 11269336"/>
              <a:gd name="connsiteY169" fmla="*/ 2196342 h 2323145"/>
              <a:gd name="connsiteX170" fmla="*/ 4189203 w 11269336"/>
              <a:gd name="connsiteY170" fmla="*/ 2178994 h 2323145"/>
              <a:gd name="connsiteX171" fmla="*/ 4154035 w 11269336"/>
              <a:gd name="connsiteY171" fmla="*/ 2171950 h 2323145"/>
              <a:gd name="connsiteX172" fmla="*/ 4129569 w 11269336"/>
              <a:gd name="connsiteY172" fmla="*/ 2163850 h 2323145"/>
              <a:gd name="connsiteX173" fmla="*/ 4061250 w 11269336"/>
              <a:gd name="connsiteY173" fmla="*/ 2159236 h 2323145"/>
              <a:gd name="connsiteX174" fmla="*/ 3945480 w 11269336"/>
              <a:gd name="connsiteY174" fmla="*/ 2158279 h 2323145"/>
              <a:gd name="connsiteX175" fmla="*/ 3921468 w 11269336"/>
              <a:gd name="connsiteY175" fmla="*/ 2156588 h 2323145"/>
              <a:gd name="connsiteX176" fmla="*/ 3903348 w 11269336"/>
              <a:gd name="connsiteY176" fmla="*/ 2149220 h 2323145"/>
              <a:gd name="connsiteX177" fmla="*/ 3901342 w 11269336"/>
              <a:gd name="connsiteY177" fmla="*/ 2142355 h 2323145"/>
              <a:gd name="connsiteX178" fmla="*/ 3888539 w 11269336"/>
              <a:gd name="connsiteY178" fmla="*/ 2140476 h 2323145"/>
              <a:gd name="connsiteX179" fmla="*/ 3885662 w 11269336"/>
              <a:gd name="connsiteY179" fmla="*/ 2138740 h 2323145"/>
              <a:gd name="connsiteX180" fmla="*/ 3868627 w 11269336"/>
              <a:gd name="connsiteY180" fmla="*/ 2130023 h 2323145"/>
              <a:gd name="connsiteX181" fmla="*/ 3819177 w 11269336"/>
              <a:gd name="connsiteY181" fmla="*/ 2142111 h 2323145"/>
              <a:gd name="connsiteX182" fmla="*/ 3769100 w 11269336"/>
              <a:gd name="connsiteY182" fmla="*/ 2131731 h 2323145"/>
              <a:gd name="connsiteX183" fmla="*/ 3562752 w 11269336"/>
              <a:gd name="connsiteY183" fmla="*/ 2131785 h 2323145"/>
              <a:gd name="connsiteX184" fmla="*/ 3541402 w 11269336"/>
              <a:gd name="connsiteY184" fmla="*/ 2106821 h 2323145"/>
              <a:gd name="connsiteX185" fmla="*/ 3460591 w 11269336"/>
              <a:gd name="connsiteY185" fmla="*/ 2097951 h 2323145"/>
              <a:gd name="connsiteX186" fmla="*/ 3320348 w 11269336"/>
              <a:gd name="connsiteY186" fmla="*/ 2130191 h 2323145"/>
              <a:gd name="connsiteX187" fmla="*/ 3170922 w 11269336"/>
              <a:gd name="connsiteY187" fmla="*/ 2115957 h 2323145"/>
              <a:gd name="connsiteX188" fmla="*/ 3156256 w 11269336"/>
              <a:gd name="connsiteY188" fmla="*/ 2124773 h 2323145"/>
              <a:gd name="connsiteX189" fmla="*/ 3140298 w 11269336"/>
              <a:gd name="connsiteY189" fmla="*/ 2129182 h 2323145"/>
              <a:gd name="connsiteX190" fmla="*/ 3138514 w 11269336"/>
              <a:gd name="connsiteY190" fmla="*/ 2128069 h 2323145"/>
              <a:gd name="connsiteX191" fmla="*/ 3120467 w 11269336"/>
              <a:gd name="connsiteY191" fmla="*/ 2128281 h 2323145"/>
              <a:gd name="connsiteX192" fmla="*/ 3116175 w 11269336"/>
              <a:gd name="connsiteY192" fmla="*/ 2131633 h 2323145"/>
              <a:gd name="connsiteX193" fmla="*/ 3103685 w 11269336"/>
              <a:gd name="connsiteY193" fmla="*/ 2132814 h 2323145"/>
              <a:gd name="connsiteX194" fmla="*/ 3078794 w 11269336"/>
              <a:gd name="connsiteY194" fmla="*/ 2137935 h 2323145"/>
              <a:gd name="connsiteX195" fmla="*/ 3074407 w 11269336"/>
              <a:gd name="connsiteY195" fmla="*/ 2136274 h 2323145"/>
              <a:gd name="connsiteX196" fmla="*/ 3037285 w 11269336"/>
              <a:gd name="connsiteY196" fmla="*/ 2139919 h 2323145"/>
              <a:gd name="connsiteX197" fmla="*/ 3036901 w 11269336"/>
              <a:gd name="connsiteY197" fmla="*/ 2138726 h 2323145"/>
              <a:gd name="connsiteX198" fmla="*/ 3026996 w 11269336"/>
              <a:gd name="connsiteY198" fmla="*/ 2134322 h 2323145"/>
              <a:gd name="connsiteX199" fmla="*/ 3007772 w 11269336"/>
              <a:gd name="connsiteY199" fmla="*/ 2128742 h 2323145"/>
              <a:gd name="connsiteX200" fmla="*/ 2965030 w 11269336"/>
              <a:gd name="connsiteY200" fmla="*/ 2100494 h 2323145"/>
              <a:gd name="connsiteX201" fmla="*/ 2926342 w 11269336"/>
              <a:gd name="connsiteY201" fmla="*/ 2104155 h 2323145"/>
              <a:gd name="connsiteX202" fmla="*/ 2918608 w 11269336"/>
              <a:gd name="connsiteY202" fmla="*/ 2104215 h 2323145"/>
              <a:gd name="connsiteX203" fmla="*/ 2918475 w 11269336"/>
              <a:gd name="connsiteY203" fmla="*/ 2103937 h 2323145"/>
              <a:gd name="connsiteX204" fmla="*/ 2910360 w 11269336"/>
              <a:gd name="connsiteY204" fmla="*/ 2103444 h 2323145"/>
              <a:gd name="connsiteX205" fmla="*/ 2904507 w 11269336"/>
              <a:gd name="connsiteY205" fmla="*/ 2104326 h 2323145"/>
              <a:gd name="connsiteX206" fmla="*/ 2889503 w 11269336"/>
              <a:gd name="connsiteY206" fmla="*/ 2104443 h 2323145"/>
              <a:gd name="connsiteX207" fmla="*/ 2884480 w 11269336"/>
              <a:gd name="connsiteY207" fmla="*/ 2102626 h 2323145"/>
              <a:gd name="connsiteX208" fmla="*/ 2882689 w 11269336"/>
              <a:gd name="connsiteY208" fmla="*/ 2099228 h 2323145"/>
              <a:gd name="connsiteX209" fmla="*/ 2881291 w 11269336"/>
              <a:gd name="connsiteY209" fmla="*/ 2099618 h 2323145"/>
              <a:gd name="connsiteX210" fmla="*/ 2853979 w 11269336"/>
              <a:gd name="connsiteY210" fmla="*/ 2090388 h 2323145"/>
              <a:gd name="connsiteX211" fmla="*/ 2791790 w 11269336"/>
              <a:gd name="connsiteY211" fmla="*/ 2080332 h 2323145"/>
              <a:gd name="connsiteX212" fmla="*/ 2755844 w 11269336"/>
              <a:gd name="connsiteY212" fmla="*/ 2078874 h 2323145"/>
              <a:gd name="connsiteX213" fmla="*/ 2657742 w 11269336"/>
              <a:gd name="connsiteY213" fmla="*/ 2070179 h 2323145"/>
              <a:gd name="connsiteX214" fmla="*/ 2559549 w 11269336"/>
              <a:gd name="connsiteY214" fmla="*/ 2057873 h 2323145"/>
              <a:gd name="connsiteX215" fmla="*/ 2512054 w 11269336"/>
              <a:gd name="connsiteY215" fmla="*/ 2031671 h 2323145"/>
              <a:gd name="connsiteX216" fmla="*/ 2506437 w 11269336"/>
              <a:gd name="connsiteY216" fmla="*/ 2030918 h 2323145"/>
              <a:gd name="connsiteX217" fmla="*/ 2491752 w 11269336"/>
              <a:gd name="connsiteY217" fmla="*/ 2033906 h 2323145"/>
              <a:gd name="connsiteX218" fmla="*/ 2486338 w 11269336"/>
              <a:gd name="connsiteY218" fmla="*/ 2035862 h 2323145"/>
              <a:gd name="connsiteX219" fmla="*/ 2478186 w 11269336"/>
              <a:gd name="connsiteY219" fmla="*/ 2036953 h 2323145"/>
              <a:gd name="connsiteX220" fmla="*/ 2477950 w 11269336"/>
              <a:gd name="connsiteY220" fmla="*/ 2036715 h 2323145"/>
              <a:gd name="connsiteX221" fmla="*/ 2470381 w 11269336"/>
              <a:gd name="connsiteY221" fmla="*/ 2038256 h 2323145"/>
              <a:gd name="connsiteX222" fmla="*/ 2433781 w 11269336"/>
              <a:gd name="connsiteY222" fmla="*/ 2049140 h 2323145"/>
              <a:gd name="connsiteX223" fmla="*/ 2381172 w 11269336"/>
              <a:gd name="connsiteY223" fmla="*/ 2030645 h 2323145"/>
              <a:gd name="connsiteX224" fmla="*/ 2360198 w 11269336"/>
              <a:gd name="connsiteY224" fmla="*/ 2029059 h 2323145"/>
              <a:gd name="connsiteX225" fmla="*/ 2348815 w 11269336"/>
              <a:gd name="connsiteY225" fmla="*/ 2026798 h 2323145"/>
              <a:gd name="connsiteX226" fmla="*/ 2347988 w 11269336"/>
              <a:gd name="connsiteY226" fmla="*/ 2025745 h 2323145"/>
              <a:gd name="connsiteX227" fmla="*/ 2312920 w 11269336"/>
              <a:gd name="connsiteY227" fmla="*/ 2036311 h 2323145"/>
              <a:gd name="connsiteX228" fmla="*/ 2307986 w 11269336"/>
              <a:gd name="connsiteY228" fmla="*/ 2035583 h 2323145"/>
              <a:gd name="connsiteX229" fmla="*/ 2285481 w 11269336"/>
              <a:gd name="connsiteY229" fmla="*/ 2045197 h 2323145"/>
              <a:gd name="connsiteX230" fmla="*/ 2273666 w 11269336"/>
              <a:gd name="connsiteY230" fmla="*/ 2048710 h 2323145"/>
              <a:gd name="connsiteX231" fmla="*/ 2270719 w 11269336"/>
              <a:gd name="connsiteY231" fmla="*/ 2052702 h 2323145"/>
              <a:gd name="connsiteX232" fmla="*/ 2253080 w 11269336"/>
              <a:gd name="connsiteY232" fmla="*/ 2056363 h 2323145"/>
              <a:gd name="connsiteX233" fmla="*/ 2250906 w 11269336"/>
              <a:gd name="connsiteY233" fmla="*/ 2055654 h 2323145"/>
              <a:gd name="connsiteX234" fmla="*/ 2236905 w 11269336"/>
              <a:gd name="connsiteY234" fmla="*/ 2062882 h 2323145"/>
              <a:gd name="connsiteX235" fmla="*/ 2225830 w 11269336"/>
              <a:gd name="connsiteY235" fmla="*/ 2074027 h 2323145"/>
              <a:gd name="connsiteX236" fmla="*/ 2073776 w 11269336"/>
              <a:gd name="connsiteY236" fmla="*/ 2089244 h 2323145"/>
              <a:gd name="connsiteX237" fmla="*/ 1948256 w 11269336"/>
              <a:gd name="connsiteY237" fmla="*/ 2146616 h 2323145"/>
              <a:gd name="connsiteX238" fmla="*/ 1865582 w 11269336"/>
              <a:gd name="connsiteY238" fmla="*/ 2153738 h 2323145"/>
              <a:gd name="connsiteX239" fmla="*/ 1835210 w 11269336"/>
              <a:gd name="connsiteY239" fmla="*/ 2134244 h 2323145"/>
              <a:gd name="connsiteX240" fmla="*/ 1632661 w 11269336"/>
              <a:gd name="connsiteY240" fmla="*/ 2173882 h 2323145"/>
              <a:gd name="connsiteX241" fmla="*/ 1579590 w 11269336"/>
              <a:gd name="connsiteY241" fmla="*/ 2173680 h 2323145"/>
              <a:gd name="connsiteX242" fmla="*/ 1535601 w 11269336"/>
              <a:gd name="connsiteY242" fmla="*/ 2194590 h 2323145"/>
              <a:gd name="connsiteX243" fmla="*/ 1515594 w 11269336"/>
              <a:gd name="connsiteY243" fmla="*/ 2189622 h 2323145"/>
              <a:gd name="connsiteX244" fmla="*/ 1512113 w 11269336"/>
              <a:gd name="connsiteY244" fmla="*/ 2188534 h 2323145"/>
              <a:gd name="connsiteX245" fmla="*/ 1498838 w 11269336"/>
              <a:gd name="connsiteY245" fmla="*/ 2189213 h 2323145"/>
              <a:gd name="connsiteX246" fmla="*/ 1494279 w 11269336"/>
              <a:gd name="connsiteY246" fmla="*/ 2183112 h 2323145"/>
              <a:gd name="connsiteX247" fmla="*/ 1473714 w 11269336"/>
              <a:gd name="connsiteY247" fmla="*/ 2179625 h 2323145"/>
              <a:gd name="connsiteX248" fmla="*/ 1449503 w 11269336"/>
              <a:gd name="connsiteY248" fmla="*/ 2182633 h 2323145"/>
              <a:gd name="connsiteX249" fmla="*/ 1335495 w 11269336"/>
              <a:gd name="connsiteY249" fmla="*/ 2203940 h 2323145"/>
              <a:gd name="connsiteX250" fmla="*/ 1266687 w 11269336"/>
              <a:gd name="connsiteY250" fmla="*/ 2212688 h 2323145"/>
              <a:gd name="connsiteX251" fmla="*/ 1239614 w 11269336"/>
              <a:gd name="connsiteY251" fmla="*/ 2209727 h 2323145"/>
              <a:gd name="connsiteX252" fmla="*/ 1202436 w 11269336"/>
              <a:gd name="connsiteY252" fmla="*/ 2209817 h 2323145"/>
              <a:gd name="connsiteX253" fmla="*/ 1136097 w 11269336"/>
              <a:gd name="connsiteY253" fmla="*/ 2205112 h 2323145"/>
              <a:gd name="connsiteX254" fmla="*/ 1048229 w 11269336"/>
              <a:gd name="connsiteY254" fmla="*/ 2207249 h 2323145"/>
              <a:gd name="connsiteX255" fmla="*/ 988232 w 11269336"/>
              <a:gd name="connsiteY255" fmla="*/ 2235635 h 2323145"/>
              <a:gd name="connsiteX256" fmla="*/ 981959 w 11269336"/>
              <a:gd name="connsiteY256" fmla="*/ 2231607 h 2323145"/>
              <a:gd name="connsiteX257" fmla="*/ 938600 w 11269336"/>
              <a:gd name="connsiteY257" fmla="*/ 2238113 h 2323145"/>
              <a:gd name="connsiteX258" fmla="*/ 791788 w 11269336"/>
              <a:gd name="connsiteY258" fmla="*/ 2293224 h 2323145"/>
              <a:gd name="connsiteX259" fmla="*/ 706914 w 11269336"/>
              <a:gd name="connsiteY259" fmla="*/ 2305046 h 2323145"/>
              <a:gd name="connsiteX260" fmla="*/ 675971 w 11269336"/>
              <a:gd name="connsiteY260" fmla="*/ 2304030 h 2323145"/>
              <a:gd name="connsiteX261" fmla="*/ 624180 w 11269336"/>
              <a:gd name="connsiteY261" fmla="*/ 2302650 h 2323145"/>
              <a:gd name="connsiteX262" fmla="*/ 583453 w 11269336"/>
              <a:gd name="connsiteY262" fmla="*/ 2288788 h 2323145"/>
              <a:gd name="connsiteX263" fmla="*/ 540946 w 11269336"/>
              <a:gd name="connsiteY263" fmla="*/ 2292721 h 2323145"/>
              <a:gd name="connsiteX264" fmla="*/ 533680 w 11269336"/>
              <a:gd name="connsiteY264" fmla="*/ 2310233 h 2323145"/>
              <a:gd name="connsiteX265" fmla="*/ 487366 w 11269336"/>
              <a:gd name="connsiteY265" fmla="*/ 2309053 h 2323145"/>
              <a:gd name="connsiteX266" fmla="*/ 416820 w 11269336"/>
              <a:gd name="connsiteY266" fmla="*/ 2305443 h 2323145"/>
              <a:gd name="connsiteX267" fmla="*/ 376805 w 11269336"/>
              <a:gd name="connsiteY267" fmla="*/ 2307647 h 2323145"/>
              <a:gd name="connsiteX268" fmla="*/ 266777 w 11269336"/>
              <a:gd name="connsiteY268" fmla="*/ 2309012 h 2323145"/>
              <a:gd name="connsiteX269" fmla="*/ 156013 w 11269336"/>
              <a:gd name="connsiteY269" fmla="*/ 2306832 h 2323145"/>
              <a:gd name="connsiteX270" fmla="*/ 87258 w 11269336"/>
              <a:gd name="connsiteY270" fmla="*/ 2285511 h 2323145"/>
              <a:gd name="connsiteX271" fmla="*/ 23798 w 11269336"/>
              <a:gd name="connsiteY271" fmla="*/ 2281822 h 2323145"/>
              <a:gd name="connsiteX272" fmla="*/ 0 w 11269336"/>
              <a:gd name="connsiteY272" fmla="*/ 2285369 h 2323145"/>
              <a:gd name="connsiteX273" fmla="*/ 0 w 11269336"/>
              <a:gd name="connsiteY27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092476 w 11269336"/>
              <a:gd name="connsiteY139" fmla="*/ 2100737 h 2323145"/>
              <a:gd name="connsiteX140" fmla="*/ 5060738 w 11269336"/>
              <a:gd name="connsiteY140" fmla="*/ 208327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60738 w 11269336"/>
              <a:gd name="connsiteY140" fmla="*/ 208327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320348 w 11269336"/>
              <a:gd name="connsiteY185" fmla="*/ 2130191 h 2323145"/>
              <a:gd name="connsiteX186" fmla="*/ 3170922 w 11269336"/>
              <a:gd name="connsiteY186" fmla="*/ 2115957 h 2323145"/>
              <a:gd name="connsiteX187" fmla="*/ 3156256 w 11269336"/>
              <a:gd name="connsiteY187" fmla="*/ 2124773 h 2323145"/>
              <a:gd name="connsiteX188" fmla="*/ 3140298 w 11269336"/>
              <a:gd name="connsiteY188" fmla="*/ 2129182 h 2323145"/>
              <a:gd name="connsiteX189" fmla="*/ 3138514 w 11269336"/>
              <a:gd name="connsiteY189" fmla="*/ 2128069 h 2323145"/>
              <a:gd name="connsiteX190" fmla="*/ 3120467 w 11269336"/>
              <a:gd name="connsiteY190" fmla="*/ 2128281 h 2323145"/>
              <a:gd name="connsiteX191" fmla="*/ 3116175 w 11269336"/>
              <a:gd name="connsiteY191" fmla="*/ 2131633 h 2323145"/>
              <a:gd name="connsiteX192" fmla="*/ 3103685 w 11269336"/>
              <a:gd name="connsiteY192" fmla="*/ 2132814 h 2323145"/>
              <a:gd name="connsiteX193" fmla="*/ 3078794 w 11269336"/>
              <a:gd name="connsiteY193" fmla="*/ 2137935 h 2323145"/>
              <a:gd name="connsiteX194" fmla="*/ 3074407 w 11269336"/>
              <a:gd name="connsiteY194" fmla="*/ 2136274 h 2323145"/>
              <a:gd name="connsiteX195" fmla="*/ 3037285 w 11269336"/>
              <a:gd name="connsiteY195" fmla="*/ 2139919 h 2323145"/>
              <a:gd name="connsiteX196" fmla="*/ 3036901 w 11269336"/>
              <a:gd name="connsiteY196" fmla="*/ 2138726 h 2323145"/>
              <a:gd name="connsiteX197" fmla="*/ 3026996 w 11269336"/>
              <a:gd name="connsiteY197" fmla="*/ 2134322 h 2323145"/>
              <a:gd name="connsiteX198" fmla="*/ 3007772 w 11269336"/>
              <a:gd name="connsiteY198" fmla="*/ 2128742 h 2323145"/>
              <a:gd name="connsiteX199" fmla="*/ 2965030 w 11269336"/>
              <a:gd name="connsiteY199" fmla="*/ 2100494 h 2323145"/>
              <a:gd name="connsiteX200" fmla="*/ 2926342 w 11269336"/>
              <a:gd name="connsiteY200" fmla="*/ 2104155 h 2323145"/>
              <a:gd name="connsiteX201" fmla="*/ 2918608 w 11269336"/>
              <a:gd name="connsiteY201" fmla="*/ 2104215 h 2323145"/>
              <a:gd name="connsiteX202" fmla="*/ 2918475 w 11269336"/>
              <a:gd name="connsiteY202" fmla="*/ 2103937 h 2323145"/>
              <a:gd name="connsiteX203" fmla="*/ 2910360 w 11269336"/>
              <a:gd name="connsiteY203" fmla="*/ 2103444 h 2323145"/>
              <a:gd name="connsiteX204" fmla="*/ 2904507 w 11269336"/>
              <a:gd name="connsiteY204" fmla="*/ 2104326 h 2323145"/>
              <a:gd name="connsiteX205" fmla="*/ 2889503 w 11269336"/>
              <a:gd name="connsiteY205" fmla="*/ 2104443 h 2323145"/>
              <a:gd name="connsiteX206" fmla="*/ 2884480 w 11269336"/>
              <a:gd name="connsiteY206" fmla="*/ 2102626 h 2323145"/>
              <a:gd name="connsiteX207" fmla="*/ 2882689 w 11269336"/>
              <a:gd name="connsiteY207" fmla="*/ 2099228 h 2323145"/>
              <a:gd name="connsiteX208" fmla="*/ 2881291 w 11269336"/>
              <a:gd name="connsiteY208" fmla="*/ 2099618 h 2323145"/>
              <a:gd name="connsiteX209" fmla="*/ 2853979 w 11269336"/>
              <a:gd name="connsiteY209" fmla="*/ 2090388 h 2323145"/>
              <a:gd name="connsiteX210" fmla="*/ 2791790 w 11269336"/>
              <a:gd name="connsiteY210" fmla="*/ 2080332 h 2323145"/>
              <a:gd name="connsiteX211" fmla="*/ 2755844 w 11269336"/>
              <a:gd name="connsiteY211" fmla="*/ 2078874 h 2323145"/>
              <a:gd name="connsiteX212" fmla="*/ 2657742 w 11269336"/>
              <a:gd name="connsiteY212" fmla="*/ 2070179 h 2323145"/>
              <a:gd name="connsiteX213" fmla="*/ 2559549 w 11269336"/>
              <a:gd name="connsiteY213" fmla="*/ 2057873 h 2323145"/>
              <a:gd name="connsiteX214" fmla="*/ 2512054 w 11269336"/>
              <a:gd name="connsiteY214" fmla="*/ 2031671 h 2323145"/>
              <a:gd name="connsiteX215" fmla="*/ 2506437 w 11269336"/>
              <a:gd name="connsiteY215" fmla="*/ 2030918 h 2323145"/>
              <a:gd name="connsiteX216" fmla="*/ 2491752 w 11269336"/>
              <a:gd name="connsiteY216" fmla="*/ 2033906 h 2323145"/>
              <a:gd name="connsiteX217" fmla="*/ 2486338 w 11269336"/>
              <a:gd name="connsiteY217" fmla="*/ 2035862 h 2323145"/>
              <a:gd name="connsiteX218" fmla="*/ 2478186 w 11269336"/>
              <a:gd name="connsiteY218" fmla="*/ 2036953 h 2323145"/>
              <a:gd name="connsiteX219" fmla="*/ 2477950 w 11269336"/>
              <a:gd name="connsiteY219" fmla="*/ 2036715 h 2323145"/>
              <a:gd name="connsiteX220" fmla="*/ 2470381 w 11269336"/>
              <a:gd name="connsiteY220" fmla="*/ 2038256 h 2323145"/>
              <a:gd name="connsiteX221" fmla="*/ 2433781 w 11269336"/>
              <a:gd name="connsiteY221" fmla="*/ 2049140 h 2323145"/>
              <a:gd name="connsiteX222" fmla="*/ 2381172 w 11269336"/>
              <a:gd name="connsiteY222" fmla="*/ 2030645 h 2323145"/>
              <a:gd name="connsiteX223" fmla="*/ 2360198 w 11269336"/>
              <a:gd name="connsiteY223" fmla="*/ 2029059 h 2323145"/>
              <a:gd name="connsiteX224" fmla="*/ 2348815 w 11269336"/>
              <a:gd name="connsiteY224" fmla="*/ 2026798 h 2323145"/>
              <a:gd name="connsiteX225" fmla="*/ 2347988 w 11269336"/>
              <a:gd name="connsiteY225" fmla="*/ 2025745 h 2323145"/>
              <a:gd name="connsiteX226" fmla="*/ 2312920 w 11269336"/>
              <a:gd name="connsiteY226" fmla="*/ 2036311 h 2323145"/>
              <a:gd name="connsiteX227" fmla="*/ 2307986 w 11269336"/>
              <a:gd name="connsiteY227" fmla="*/ 2035583 h 2323145"/>
              <a:gd name="connsiteX228" fmla="*/ 2285481 w 11269336"/>
              <a:gd name="connsiteY228" fmla="*/ 2045197 h 2323145"/>
              <a:gd name="connsiteX229" fmla="*/ 2273666 w 11269336"/>
              <a:gd name="connsiteY229" fmla="*/ 2048710 h 2323145"/>
              <a:gd name="connsiteX230" fmla="*/ 2270719 w 11269336"/>
              <a:gd name="connsiteY230" fmla="*/ 2052702 h 2323145"/>
              <a:gd name="connsiteX231" fmla="*/ 2253080 w 11269336"/>
              <a:gd name="connsiteY231" fmla="*/ 2056363 h 2323145"/>
              <a:gd name="connsiteX232" fmla="*/ 2250906 w 11269336"/>
              <a:gd name="connsiteY232" fmla="*/ 2055654 h 2323145"/>
              <a:gd name="connsiteX233" fmla="*/ 2236905 w 11269336"/>
              <a:gd name="connsiteY233" fmla="*/ 2062882 h 2323145"/>
              <a:gd name="connsiteX234" fmla="*/ 2225830 w 11269336"/>
              <a:gd name="connsiteY234" fmla="*/ 2074027 h 2323145"/>
              <a:gd name="connsiteX235" fmla="*/ 2073776 w 11269336"/>
              <a:gd name="connsiteY235" fmla="*/ 2089244 h 2323145"/>
              <a:gd name="connsiteX236" fmla="*/ 1948256 w 11269336"/>
              <a:gd name="connsiteY236" fmla="*/ 2146616 h 2323145"/>
              <a:gd name="connsiteX237" fmla="*/ 1865582 w 11269336"/>
              <a:gd name="connsiteY237" fmla="*/ 2153738 h 2323145"/>
              <a:gd name="connsiteX238" fmla="*/ 1835210 w 11269336"/>
              <a:gd name="connsiteY238" fmla="*/ 2134244 h 2323145"/>
              <a:gd name="connsiteX239" fmla="*/ 1632661 w 11269336"/>
              <a:gd name="connsiteY239" fmla="*/ 2173882 h 2323145"/>
              <a:gd name="connsiteX240" fmla="*/ 1579590 w 11269336"/>
              <a:gd name="connsiteY240" fmla="*/ 2173680 h 2323145"/>
              <a:gd name="connsiteX241" fmla="*/ 1535601 w 11269336"/>
              <a:gd name="connsiteY241" fmla="*/ 2194590 h 2323145"/>
              <a:gd name="connsiteX242" fmla="*/ 1515594 w 11269336"/>
              <a:gd name="connsiteY242" fmla="*/ 2189622 h 2323145"/>
              <a:gd name="connsiteX243" fmla="*/ 1512113 w 11269336"/>
              <a:gd name="connsiteY243" fmla="*/ 2188534 h 2323145"/>
              <a:gd name="connsiteX244" fmla="*/ 1498838 w 11269336"/>
              <a:gd name="connsiteY244" fmla="*/ 2189213 h 2323145"/>
              <a:gd name="connsiteX245" fmla="*/ 1494279 w 11269336"/>
              <a:gd name="connsiteY245" fmla="*/ 2183112 h 2323145"/>
              <a:gd name="connsiteX246" fmla="*/ 1473714 w 11269336"/>
              <a:gd name="connsiteY246" fmla="*/ 2179625 h 2323145"/>
              <a:gd name="connsiteX247" fmla="*/ 1449503 w 11269336"/>
              <a:gd name="connsiteY247" fmla="*/ 2182633 h 2323145"/>
              <a:gd name="connsiteX248" fmla="*/ 1335495 w 11269336"/>
              <a:gd name="connsiteY248" fmla="*/ 2203940 h 2323145"/>
              <a:gd name="connsiteX249" fmla="*/ 1266687 w 11269336"/>
              <a:gd name="connsiteY249" fmla="*/ 2212688 h 2323145"/>
              <a:gd name="connsiteX250" fmla="*/ 1239614 w 11269336"/>
              <a:gd name="connsiteY250" fmla="*/ 2209727 h 2323145"/>
              <a:gd name="connsiteX251" fmla="*/ 1202436 w 11269336"/>
              <a:gd name="connsiteY251" fmla="*/ 2209817 h 2323145"/>
              <a:gd name="connsiteX252" fmla="*/ 1136097 w 11269336"/>
              <a:gd name="connsiteY252" fmla="*/ 2205112 h 2323145"/>
              <a:gd name="connsiteX253" fmla="*/ 1048229 w 11269336"/>
              <a:gd name="connsiteY253" fmla="*/ 2207249 h 2323145"/>
              <a:gd name="connsiteX254" fmla="*/ 988232 w 11269336"/>
              <a:gd name="connsiteY254" fmla="*/ 2235635 h 2323145"/>
              <a:gd name="connsiteX255" fmla="*/ 981959 w 11269336"/>
              <a:gd name="connsiteY255" fmla="*/ 2231607 h 2323145"/>
              <a:gd name="connsiteX256" fmla="*/ 938600 w 11269336"/>
              <a:gd name="connsiteY256" fmla="*/ 2238113 h 2323145"/>
              <a:gd name="connsiteX257" fmla="*/ 791788 w 11269336"/>
              <a:gd name="connsiteY257" fmla="*/ 2293224 h 2323145"/>
              <a:gd name="connsiteX258" fmla="*/ 706914 w 11269336"/>
              <a:gd name="connsiteY258" fmla="*/ 2305046 h 2323145"/>
              <a:gd name="connsiteX259" fmla="*/ 675971 w 11269336"/>
              <a:gd name="connsiteY259" fmla="*/ 2304030 h 2323145"/>
              <a:gd name="connsiteX260" fmla="*/ 624180 w 11269336"/>
              <a:gd name="connsiteY260" fmla="*/ 2302650 h 2323145"/>
              <a:gd name="connsiteX261" fmla="*/ 583453 w 11269336"/>
              <a:gd name="connsiteY261" fmla="*/ 2288788 h 2323145"/>
              <a:gd name="connsiteX262" fmla="*/ 540946 w 11269336"/>
              <a:gd name="connsiteY262" fmla="*/ 2292721 h 2323145"/>
              <a:gd name="connsiteX263" fmla="*/ 533680 w 11269336"/>
              <a:gd name="connsiteY263" fmla="*/ 2310233 h 2323145"/>
              <a:gd name="connsiteX264" fmla="*/ 487366 w 11269336"/>
              <a:gd name="connsiteY264" fmla="*/ 2309053 h 2323145"/>
              <a:gd name="connsiteX265" fmla="*/ 416820 w 11269336"/>
              <a:gd name="connsiteY265" fmla="*/ 2305443 h 2323145"/>
              <a:gd name="connsiteX266" fmla="*/ 376805 w 11269336"/>
              <a:gd name="connsiteY266" fmla="*/ 2307647 h 2323145"/>
              <a:gd name="connsiteX267" fmla="*/ 266777 w 11269336"/>
              <a:gd name="connsiteY267" fmla="*/ 2309012 h 2323145"/>
              <a:gd name="connsiteX268" fmla="*/ 156013 w 11269336"/>
              <a:gd name="connsiteY268" fmla="*/ 2306832 h 2323145"/>
              <a:gd name="connsiteX269" fmla="*/ 87258 w 11269336"/>
              <a:gd name="connsiteY269" fmla="*/ 2285511 h 2323145"/>
              <a:gd name="connsiteX270" fmla="*/ 23798 w 11269336"/>
              <a:gd name="connsiteY270" fmla="*/ 2281822 h 2323145"/>
              <a:gd name="connsiteX271" fmla="*/ 0 w 11269336"/>
              <a:gd name="connsiteY271" fmla="*/ 2285369 h 2323145"/>
              <a:gd name="connsiteX272" fmla="*/ 0 w 11269336"/>
              <a:gd name="connsiteY27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460591 w 11269336"/>
              <a:gd name="connsiteY184" fmla="*/ 2097951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1048229 w 11269336"/>
              <a:gd name="connsiteY252" fmla="*/ 2207249 h 2323145"/>
              <a:gd name="connsiteX253" fmla="*/ 988232 w 11269336"/>
              <a:gd name="connsiteY253" fmla="*/ 2235635 h 2323145"/>
              <a:gd name="connsiteX254" fmla="*/ 981959 w 11269336"/>
              <a:gd name="connsiteY254" fmla="*/ 2231607 h 2323145"/>
              <a:gd name="connsiteX255" fmla="*/ 938600 w 11269336"/>
              <a:gd name="connsiteY255" fmla="*/ 2238113 h 2323145"/>
              <a:gd name="connsiteX256" fmla="*/ 791788 w 11269336"/>
              <a:gd name="connsiteY256" fmla="*/ 2293224 h 2323145"/>
              <a:gd name="connsiteX257" fmla="*/ 706914 w 11269336"/>
              <a:gd name="connsiteY257" fmla="*/ 2305046 h 2323145"/>
              <a:gd name="connsiteX258" fmla="*/ 675971 w 11269336"/>
              <a:gd name="connsiteY258" fmla="*/ 2304030 h 2323145"/>
              <a:gd name="connsiteX259" fmla="*/ 624180 w 11269336"/>
              <a:gd name="connsiteY259" fmla="*/ 2302650 h 2323145"/>
              <a:gd name="connsiteX260" fmla="*/ 583453 w 11269336"/>
              <a:gd name="connsiteY260" fmla="*/ 2288788 h 2323145"/>
              <a:gd name="connsiteX261" fmla="*/ 540946 w 11269336"/>
              <a:gd name="connsiteY261" fmla="*/ 2292721 h 2323145"/>
              <a:gd name="connsiteX262" fmla="*/ 533680 w 11269336"/>
              <a:gd name="connsiteY262" fmla="*/ 2310233 h 2323145"/>
              <a:gd name="connsiteX263" fmla="*/ 487366 w 11269336"/>
              <a:gd name="connsiteY263" fmla="*/ 2309053 h 2323145"/>
              <a:gd name="connsiteX264" fmla="*/ 416820 w 11269336"/>
              <a:gd name="connsiteY264" fmla="*/ 2305443 h 2323145"/>
              <a:gd name="connsiteX265" fmla="*/ 376805 w 11269336"/>
              <a:gd name="connsiteY265" fmla="*/ 2307647 h 2323145"/>
              <a:gd name="connsiteX266" fmla="*/ 266777 w 11269336"/>
              <a:gd name="connsiteY266" fmla="*/ 2309012 h 2323145"/>
              <a:gd name="connsiteX267" fmla="*/ 156013 w 11269336"/>
              <a:gd name="connsiteY267" fmla="*/ 2306832 h 2323145"/>
              <a:gd name="connsiteX268" fmla="*/ 87258 w 11269336"/>
              <a:gd name="connsiteY268" fmla="*/ 2285511 h 2323145"/>
              <a:gd name="connsiteX269" fmla="*/ 23798 w 11269336"/>
              <a:gd name="connsiteY269" fmla="*/ 2281822 h 2323145"/>
              <a:gd name="connsiteX270" fmla="*/ 0 w 11269336"/>
              <a:gd name="connsiteY270" fmla="*/ 2285369 h 2323145"/>
              <a:gd name="connsiteX271" fmla="*/ 0 w 11269336"/>
              <a:gd name="connsiteY27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1048229 w 11269336"/>
              <a:gd name="connsiteY252" fmla="*/ 2207249 h 2323145"/>
              <a:gd name="connsiteX253" fmla="*/ 988232 w 11269336"/>
              <a:gd name="connsiteY253" fmla="*/ 2235635 h 2323145"/>
              <a:gd name="connsiteX254" fmla="*/ 981959 w 11269336"/>
              <a:gd name="connsiteY254" fmla="*/ 2231607 h 2323145"/>
              <a:gd name="connsiteX255" fmla="*/ 938600 w 11269336"/>
              <a:gd name="connsiteY255" fmla="*/ 2238113 h 2323145"/>
              <a:gd name="connsiteX256" fmla="*/ 791788 w 11269336"/>
              <a:gd name="connsiteY256" fmla="*/ 2293224 h 2323145"/>
              <a:gd name="connsiteX257" fmla="*/ 706914 w 11269336"/>
              <a:gd name="connsiteY257" fmla="*/ 2305046 h 2323145"/>
              <a:gd name="connsiteX258" fmla="*/ 675971 w 11269336"/>
              <a:gd name="connsiteY258" fmla="*/ 2304030 h 2323145"/>
              <a:gd name="connsiteX259" fmla="*/ 624180 w 11269336"/>
              <a:gd name="connsiteY259" fmla="*/ 2302650 h 2323145"/>
              <a:gd name="connsiteX260" fmla="*/ 583453 w 11269336"/>
              <a:gd name="connsiteY260" fmla="*/ 2288788 h 2323145"/>
              <a:gd name="connsiteX261" fmla="*/ 540946 w 11269336"/>
              <a:gd name="connsiteY261" fmla="*/ 2292721 h 2323145"/>
              <a:gd name="connsiteX262" fmla="*/ 533680 w 11269336"/>
              <a:gd name="connsiteY262" fmla="*/ 2310233 h 2323145"/>
              <a:gd name="connsiteX263" fmla="*/ 487366 w 11269336"/>
              <a:gd name="connsiteY263" fmla="*/ 2309053 h 2323145"/>
              <a:gd name="connsiteX264" fmla="*/ 416820 w 11269336"/>
              <a:gd name="connsiteY264" fmla="*/ 2305443 h 2323145"/>
              <a:gd name="connsiteX265" fmla="*/ 376805 w 11269336"/>
              <a:gd name="connsiteY265" fmla="*/ 2307647 h 2323145"/>
              <a:gd name="connsiteX266" fmla="*/ 266777 w 11269336"/>
              <a:gd name="connsiteY266" fmla="*/ 2309012 h 2323145"/>
              <a:gd name="connsiteX267" fmla="*/ 156013 w 11269336"/>
              <a:gd name="connsiteY267" fmla="*/ 2306832 h 2323145"/>
              <a:gd name="connsiteX268" fmla="*/ 87258 w 11269336"/>
              <a:gd name="connsiteY268" fmla="*/ 2285511 h 2323145"/>
              <a:gd name="connsiteX269" fmla="*/ 23798 w 11269336"/>
              <a:gd name="connsiteY269" fmla="*/ 2281822 h 2323145"/>
              <a:gd name="connsiteX270" fmla="*/ 0 w 11269336"/>
              <a:gd name="connsiteY270" fmla="*/ 2285369 h 2323145"/>
              <a:gd name="connsiteX271" fmla="*/ 0 w 11269336"/>
              <a:gd name="connsiteY27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335495 w 11269336"/>
              <a:gd name="connsiteY247" fmla="*/ 2203940 h 2323145"/>
              <a:gd name="connsiteX248" fmla="*/ 1266687 w 11269336"/>
              <a:gd name="connsiteY248" fmla="*/ 2212688 h 2323145"/>
              <a:gd name="connsiteX249" fmla="*/ 1239614 w 11269336"/>
              <a:gd name="connsiteY249" fmla="*/ 2209727 h 2323145"/>
              <a:gd name="connsiteX250" fmla="*/ 1202436 w 11269336"/>
              <a:gd name="connsiteY250" fmla="*/ 2209817 h 2323145"/>
              <a:gd name="connsiteX251" fmla="*/ 1136097 w 11269336"/>
              <a:gd name="connsiteY251" fmla="*/ 2205112 h 2323145"/>
              <a:gd name="connsiteX252" fmla="*/ 988232 w 11269336"/>
              <a:gd name="connsiteY252" fmla="*/ 2235635 h 2323145"/>
              <a:gd name="connsiteX253" fmla="*/ 981959 w 11269336"/>
              <a:gd name="connsiteY253" fmla="*/ 2231607 h 2323145"/>
              <a:gd name="connsiteX254" fmla="*/ 938600 w 11269336"/>
              <a:gd name="connsiteY254" fmla="*/ 2238113 h 2323145"/>
              <a:gd name="connsiteX255" fmla="*/ 791788 w 11269336"/>
              <a:gd name="connsiteY255" fmla="*/ 2293224 h 2323145"/>
              <a:gd name="connsiteX256" fmla="*/ 706914 w 11269336"/>
              <a:gd name="connsiteY256" fmla="*/ 2305046 h 2323145"/>
              <a:gd name="connsiteX257" fmla="*/ 675971 w 11269336"/>
              <a:gd name="connsiteY257" fmla="*/ 2304030 h 2323145"/>
              <a:gd name="connsiteX258" fmla="*/ 624180 w 11269336"/>
              <a:gd name="connsiteY258" fmla="*/ 2302650 h 2323145"/>
              <a:gd name="connsiteX259" fmla="*/ 583453 w 11269336"/>
              <a:gd name="connsiteY259" fmla="*/ 2288788 h 2323145"/>
              <a:gd name="connsiteX260" fmla="*/ 540946 w 11269336"/>
              <a:gd name="connsiteY260" fmla="*/ 2292721 h 2323145"/>
              <a:gd name="connsiteX261" fmla="*/ 533680 w 11269336"/>
              <a:gd name="connsiteY261" fmla="*/ 2310233 h 2323145"/>
              <a:gd name="connsiteX262" fmla="*/ 487366 w 11269336"/>
              <a:gd name="connsiteY262" fmla="*/ 2309053 h 2323145"/>
              <a:gd name="connsiteX263" fmla="*/ 416820 w 11269336"/>
              <a:gd name="connsiteY263" fmla="*/ 2305443 h 2323145"/>
              <a:gd name="connsiteX264" fmla="*/ 376805 w 11269336"/>
              <a:gd name="connsiteY264" fmla="*/ 2307647 h 2323145"/>
              <a:gd name="connsiteX265" fmla="*/ 266777 w 11269336"/>
              <a:gd name="connsiteY265" fmla="*/ 2309012 h 2323145"/>
              <a:gd name="connsiteX266" fmla="*/ 156013 w 11269336"/>
              <a:gd name="connsiteY266" fmla="*/ 2306832 h 2323145"/>
              <a:gd name="connsiteX267" fmla="*/ 87258 w 11269336"/>
              <a:gd name="connsiteY267" fmla="*/ 2285511 h 2323145"/>
              <a:gd name="connsiteX268" fmla="*/ 23798 w 11269336"/>
              <a:gd name="connsiteY268" fmla="*/ 2281822 h 2323145"/>
              <a:gd name="connsiteX269" fmla="*/ 0 w 11269336"/>
              <a:gd name="connsiteY269" fmla="*/ 2285369 h 2323145"/>
              <a:gd name="connsiteX270" fmla="*/ 0 w 11269336"/>
              <a:gd name="connsiteY270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218531 w 11269336"/>
              <a:gd name="connsiteY54" fmla="*/ 1107622 h 2323145"/>
              <a:gd name="connsiteX55" fmla="*/ 8197391 w 11269336"/>
              <a:gd name="connsiteY55" fmla="*/ 1107746 h 2323145"/>
              <a:gd name="connsiteX56" fmla="*/ 8081474 w 11269336"/>
              <a:gd name="connsiteY56" fmla="*/ 1130125 h 2323145"/>
              <a:gd name="connsiteX57" fmla="*/ 8053585 w 11269336"/>
              <a:gd name="connsiteY57" fmla="*/ 1129169 h 2323145"/>
              <a:gd name="connsiteX58" fmla="*/ 8038422 w 11269336"/>
              <a:gd name="connsiteY58" fmla="*/ 1119092 h 2323145"/>
              <a:gd name="connsiteX59" fmla="*/ 8029450 w 11269336"/>
              <a:gd name="connsiteY59" fmla="*/ 1125592 h 2323145"/>
              <a:gd name="connsiteX60" fmla="*/ 7959552 w 11269336"/>
              <a:gd name="connsiteY60" fmla="*/ 1140188 h 2323145"/>
              <a:gd name="connsiteX61" fmla="*/ 7914188 w 11269336"/>
              <a:gd name="connsiteY61" fmla="*/ 1150862 h 2323145"/>
              <a:gd name="connsiteX62" fmla="*/ 7914918 w 11269336"/>
              <a:gd name="connsiteY62" fmla="*/ 1168758 h 2323145"/>
              <a:gd name="connsiteX63" fmla="*/ 7875510 w 11269336"/>
              <a:gd name="connsiteY63" fmla="*/ 1183153 h 2323145"/>
              <a:gd name="connsiteX64" fmla="*/ 7829932 w 11269336"/>
              <a:gd name="connsiteY64" fmla="*/ 1180782 h 2323145"/>
              <a:gd name="connsiteX65" fmla="*/ 7779182 w 11269336"/>
              <a:gd name="connsiteY65" fmla="*/ 1192665 h 2323145"/>
              <a:gd name="connsiteX66" fmla="*/ 7748774 w 11269336"/>
              <a:gd name="connsiteY66" fmla="*/ 1199586 h 2323145"/>
              <a:gd name="connsiteX67" fmla="*/ 7671846 w 11269336"/>
              <a:gd name="connsiteY67" fmla="*/ 1231966 h 2323145"/>
              <a:gd name="connsiteX68" fmla="*/ 7554146 w 11269336"/>
              <a:gd name="connsiteY68" fmla="*/ 1319748 h 2323145"/>
              <a:gd name="connsiteX69" fmla="*/ 7515052 w 11269336"/>
              <a:gd name="connsiteY69" fmla="*/ 1336718 h 2323145"/>
              <a:gd name="connsiteX70" fmla="*/ 7507193 w 11269336"/>
              <a:gd name="connsiteY70" fmla="*/ 1334617 h 2323145"/>
              <a:gd name="connsiteX71" fmla="*/ 7461694 w 11269336"/>
              <a:gd name="connsiteY71" fmla="*/ 1375866 h 2323145"/>
              <a:gd name="connsiteX72" fmla="*/ 7377571 w 11269336"/>
              <a:gd name="connsiteY72" fmla="*/ 1400128 h 2323145"/>
              <a:gd name="connsiteX73" fmla="*/ 7311261 w 11269336"/>
              <a:gd name="connsiteY73" fmla="*/ 1412652 h 2323145"/>
              <a:gd name="connsiteX74" fmla="*/ 7275307 w 11269336"/>
              <a:gd name="connsiteY74" fmla="*/ 1422171 h 2323145"/>
              <a:gd name="connsiteX75" fmla="*/ 7247783 w 11269336"/>
              <a:gd name="connsiteY75" fmla="*/ 1426330 h 2323145"/>
              <a:gd name="connsiteX76" fmla="*/ 7185047 w 11269336"/>
              <a:gd name="connsiteY76" fmla="*/ 1451812 h 2323145"/>
              <a:gd name="connsiteX77" fmla="*/ 7084117 w 11269336"/>
              <a:gd name="connsiteY77" fmla="*/ 1500281 h 2323145"/>
              <a:gd name="connsiteX78" fmla="*/ 7062011 w 11269336"/>
              <a:gd name="connsiteY78" fmla="*/ 1509183 h 2323145"/>
              <a:gd name="connsiteX79" fmla="*/ 7040555 w 11269336"/>
              <a:gd name="connsiteY79" fmla="*/ 1511207 h 2323145"/>
              <a:gd name="connsiteX80" fmla="*/ 7033438 w 11269336"/>
              <a:gd name="connsiteY80" fmla="*/ 1506772 h 2323145"/>
              <a:gd name="connsiteX81" fmla="*/ 7020886 w 11269336"/>
              <a:gd name="connsiteY81" fmla="*/ 1510764 h 2323145"/>
              <a:gd name="connsiteX82" fmla="*/ 7017033 w 11269336"/>
              <a:gd name="connsiteY82" fmla="*/ 1510650 h 2323145"/>
              <a:gd name="connsiteX83" fmla="*/ 6995460 w 11269336"/>
              <a:gd name="connsiteY83" fmla="*/ 1511173 h 2323145"/>
              <a:gd name="connsiteX84" fmla="*/ 6962144 w 11269336"/>
              <a:gd name="connsiteY84" fmla="*/ 1541508 h 2323145"/>
              <a:gd name="connsiteX85" fmla="*/ 6910674 w 11269336"/>
              <a:gd name="connsiteY85" fmla="*/ 1554793 h 2323145"/>
              <a:gd name="connsiteX86" fmla="*/ 6732152 w 11269336"/>
              <a:gd name="connsiteY86" fmla="*/ 1642538 h 2323145"/>
              <a:gd name="connsiteX87" fmla="*/ 6694106 w 11269336"/>
              <a:gd name="connsiteY87" fmla="*/ 1632377 h 2323145"/>
              <a:gd name="connsiteX88" fmla="*/ 6617223 w 11269336"/>
              <a:gd name="connsiteY88" fmla="*/ 1659889 h 2323145"/>
              <a:gd name="connsiteX89" fmla="*/ 6521138 w 11269336"/>
              <a:gd name="connsiteY89" fmla="*/ 1744340 h 2323145"/>
              <a:gd name="connsiteX90" fmla="*/ 6380677 w 11269336"/>
              <a:gd name="connsiteY90" fmla="*/ 1796883 h 2323145"/>
              <a:gd name="connsiteX91" fmla="*/ 6374897 w 11269336"/>
              <a:gd name="connsiteY91" fmla="*/ 1809910 h 2323145"/>
              <a:gd name="connsiteX92" fmla="*/ 6364545 w 11269336"/>
              <a:gd name="connsiteY92" fmla="*/ 1820090 h 2323145"/>
              <a:gd name="connsiteX93" fmla="*/ 6362126 w 11269336"/>
              <a:gd name="connsiteY93" fmla="*/ 1819991 h 2323145"/>
              <a:gd name="connsiteX94" fmla="*/ 6346673 w 11269336"/>
              <a:gd name="connsiteY94" fmla="*/ 1827824 h 2323145"/>
              <a:gd name="connsiteX95" fmla="*/ 6345588 w 11269336"/>
              <a:gd name="connsiteY95" fmla="*/ 1832232 h 2323145"/>
              <a:gd name="connsiteX96" fmla="*/ 6335708 w 11269336"/>
              <a:gd name="connsiteY96" fmla="*/ 1838451 h 2323145"/>
              <a:gd name="connsiteX97" fmla="*/ 6318182 w 11269336"/>
              <a:gd name="connsiteY97" fmla="*/ 1852975 h 2323145"/>
              <a:gd name="connsiteX98" fmla="*/ 6313084 w 11269336"/>
              <a:gd name="connsiteY98" fmla="*/ 1853561 h 2323145"/>
              <a:gd name="connsiteX99" fmla="*/ 6283816 w 11269336"/>
              <a:gd name="connsiteY99" fmla="*/ 1872148 h 2323145"/>
              <a:gd name="connsiteX100" fmla="*/ 6282550 w 11269336"/>
              <a:gd name="connsiteY100" fmla="*/ 1871392 h 2323145"/>
              <a:gd name="connsiteX101" fmla="*/ 6270527 w 11269336"/>
              <a:gd name="connsiteY101" fmla="*/ 1872208 h 2323145"/>
              <a:gd name="connsiteX102" fmla="*/ 6249518 w 11269336"/>
              <a:gd name="connsiteY102" fmla="*/ 1876079 h 2323145"/>
              <a:gd name="connsiteX103" fmla="*/ 6190386 w 11269336"/>
              <a:gd name="connsiteY103" fmla="*/ 1872478 h 2323145"/>
              <a:gd name="connsiteX104" fmla="*/ 6159777 w 11269336"/>
              <a:gd name="connsiteY104" fmla="*/ 1891745 h 2323145"/>
              <a:gd name="connsiteX105" fmla="*/ 6153131 w 11269336"/>
              <a:gd name="connsiteY105" fmla="*/ 1895079 h 2323145"/>
              <a:gd name="connsiteX106" fmla="*/ 6152798 w 11269336"/>
              <a:gd name="connsiteY106" fmla="*/ 1894920 h 2323145"/>
              <a:gd name="connsiteX107" fmla="*/ 6145388 w 11269336"/>
              <a:gd name="connsiteY107" fmla="*/ 1897990 h 2323145"/>
              <a:gd name="connsiteX108" fmla="*/ 6141014 w 11269336"/>
              <a:gd name="connsiteY108" fmla="*/ 1901155 h 2323145"/>
              <a:gd name="connsiteX109" fmla="*/ 6128122 w 11269336"/>
              <a:gd name="connsiteY109" fmla="*/ 1907623 h 2323145"/>
              <a:gd name="connsiteX110" fmla="*/ 6122351 w 11269336"/>
              <a:gd name="connsiteY110" fmla="*/ 1908359 h 2323145"/>
              <a:gd name="connsiteX111" fmla="*/ 6064750 w 11269336"/>
              <a:gd name="connsiteY111" fmla="*/ 1896394 h 2323145"/>
              <a:gd name="connsiteX112" fmla="*/ 5964230 w 11269336"/>
              <a:gd name="connsiteY112" fmla="*/ 1910038 h 2323145"/>
              <a:gd name="connsiteX113" fmla="*/ 5865399 w 11269336"/>
              <a:gd name="connsiteY113" fmla="*/ 1926966 h 2323145"/>
              <a:gd name="connsiteX114" fmla="*/ 5829951 w 11269336"/>
              <a:gd name="connsiteY114" fmla="*/ 1934755 h 2323145"/>
              <a:gd name="connsiteX115" fmla="*/ 5765285 w 11269336"/>
              <a:gd name="connsiteY115" fmla="*/ 1941322 h 2323145"/>
              <a:gd name="connsiteX116" fmla="*/ 5734750 w 11269336"/>
              <a:gd name="connsiteY116" fmla="*/ 1939793 h 2323145"/>
              <a:gd name="connsiteX117" fmla="*/ 5733569 w 11269336"/>
              <a:gd name="connsiteY117" fmla="*/ 1940505 h 2323145"/>
              <a:gd name="connsiteX118" fmla="*/ 5730329 w 11269336"/>
              <a:gd name="connsiteY118" fmla="*/ 1937845 h 2323145"/>
              <a:gd name="connsiteX119" fmla="*/ 5724661 w 11269336"/>
              <a:gd name="connsiteY119" fmla="*/ 1937455 h 2323145"/>
              <a:gd name="connsiteX120" fmla="*/ 5710186 w 11269336"/>
              <a:gd name="connsiteY120" fmla="*/ 1941370 h 2323145"/>
              <a:gd name="connsiteX121" fmla="*/ 5704910 w 11269336"/>
              <a:gd name="connsiteY121" fmla="*/ 1943663 h 2323145"/>
              <a:gd name="connsiteX122" fmla="*/ 5696836 w 11269336"/>
              <a:gd name="connsiteY122" fmla="*/ 1945271 h 2323145"/>
              <a:gd name="connsiteX123" fmla="*/ 5696583 w 11269336"/>
              <a:gd name="connsiteY123" fmla="*/ 1945050 h 2323145"/>
              <a:gd name="connsiteX124" fmla="*/ 5689123 w 11269336"/>
              <a:gd name="connsiteY124" fmla="*/ 1947067 h 2323145"/>
              <a:gd name="connsiteX125" fmla="*/ 5653291 w 11269336"/>
              <a:gd name="connsiteY125" fmla="*/ 1960245 h 2323145"/>
              <a:gd name="connsiteX126" fmla="*/ 5599385 w 11269336"/>
              <a:gd name="connsiteY126" fmla="*/ 1945198 h 2323145"/>
              <a:gd name="connsiteX127" fmla="*/ 5578300 w 11269336"/>
              <a:gd name="connsiteY127" fmla="*/ 1944963 h 2323145"/>
              <a:gd name="connsiteX128" fmla="*/ 5566758 w 11269336"/>
              <a:gd name="connsiteY128" fmla="*/ 1943441 h 2323145"/>
              <a:gd name="connsiteX129" fmla="*/ 5565857 w 11269336"/>
              <a:gd name="connsiteY129" fmla="*/ 1942445 h 2323145"/>
              <a:gd name="connsiteX130" fmla="*/ 5531534 w 11269336"/>
              <a:gd name="connsiteY130" fmla="*/ 1955208 h 2323145"/>
              <a:gd name="connsiteX131" fmla="*/ 5526552 w 11269336"/>
              <a:gd name="connsiteY131" fmla="*/ 1954799 h 2323145"/>
              <a:gd name="connsiteX132" fmla="*/ 5504723 w 11269336"/>
              <a:gd name="connsiteY132" fmla="*/ 1965811 h 2323145"/>
              <a:gd name="connsiteX133" fmla="*/ 5493156 w 11269336"/>
              <a:gd name="connsiteY133" fmla="*/ 1970063 h 2323145"/>
              <a:gd name="connsiteX134" fmla="*/ 5490486 w 11269336"/>
              <a:gd name="connsiteY134" fmla="*/ 1974227 h 2323145"/>
              <a:gd name="connsiteX135" fmla="*/ 5473107 w 11269336"/>
              <a:gd name="connsiteY135" fmla="*/ 1979001 h 2323145"/>
              <a:gd name="connsiteX136" fmla="*/ 5470885 w 11269336"/>
              <a:gd name="connsiteY136" fmla="*/ 1978432 h 2323145"/>
              <a:gd name="connsiteX137" fmla="*/ 5457393 w 11269336"/>
              <a:gd name="connsiteY137" fmla="*/ 1986525 h 2323145"/>
              <a:gd name="connsiteX138" fmla="*/ 5447102 w 11269336"/>
              <a:gd name="connsiteY138" fmla="*/ 1998329 h 2323145"/>
              <a:gd name="connsiteX139" fmla="*/ 5159151 w 11269336"/>
              <a:gd name="connsiteY139" fmla="*/ 2029640 h 2323145"/>
              <a:gd name="connsiteX140" fmla="*/ 5041688 w 11269336"/>
              <a:gd name="connsiteY140" fmla="*/ 2022334 h 2323145"/>
              <a:gd name="connsiteX141" fmla="*/ 4860988 w 11269336"/>
              <a:gd name="connsiteY141" fmla="*/ 2135698 h 2323145"/>
              <a:gd name="connsiteX142" fmla="*/ 4807902 w 11269336"/>
              <a:gd name="connsiteY142" fmla="*/ 2138894 h 2323145"/>
              <a:gd name="connsiteX143" fmla="*/ 4765388 w 11269336"/>
              <a:gd name="connsiteY143" fmla="*/ 2162525 h 2323145"/>
              <a:gd name="connsiteX144" fmla="*/ 4745033 w 11269336"/>
              <a:gd name="connsiteY144" fmla="*/ 2158859 h 2323145"/>
              <a:gd name="connsiteX145" fmla="*/ 4741475 w 11269336"/>
              <a:gd name="connsiteY145" fmla="*/ 2157998 h 2323145"/>
              <a:gd name="connsiteX146" fmla="*/ 4728247 w 11269336"/>
              <a:gd name="connsiteY146" fmla="*/ 2159526 h 2323145"/>
              <a:gd name="connsiteX147" fmla="*/ 4723263 w 11269336"/>
              <a:gd name="connsiteY147" fmla="*/ 2153742 h 2323145"/>
              <a:gd name="connsiteX148" fmla="*/ 4702453 w 11269336"/>
              <a:gd name="connsiteY148" fmla="*/ 2151586 h 2323145"/>
              <a:gd name="connsiteX149" fmla="*/ 4678455 w 11269336"/>
              <a:gd name="connsiteY149" fmla="*/ 2156131 h 2323145"/>
              <a:gd name="connsiteX150" fmla="*/ 4593061 w 11269336"/>
              <a:gd name="connsiteY150" fmla="*/ 2171597 h 2323145"/>
              <a:gd name="connsiteX151" fmla="*/ 4579902 w 11269336"/>
              <a:gd name="connsiteY151" fmla="*/ 2177927 h 2323145"/>
              <a:gd name="connsiteX152" fmla="*/ 4533444 w 11269336"/>
              <a:gd name="connsiteY152" fmla="*/ 2181200 h 2323145"/>
              <a:gd name="connsiteX153" fmla="*/ 4492832 w 11269336"/>
              <a:gd name="connsiteY153" fmla="*/ 2188033 h 2323145"/>
              <a:gd name="connsiteX154" fmla="*/ 4467257 w 11269336"/>
              <a:gd name="connsiteY154" fmla="*/ 2196121 h 2323145"/>
              <a:gd name="connsiteX155" fmla="*/ 4459937 w 11269336"/>
              <a:gd name="connsiteY155" fmla="*/ 2195182 h 2323145"/>
              <a:gd name="connsiteX156" fmla="*/ 4433312 w 11269336"/>
              <a:gd name="connsiteY156" fmla="*/ 2199004 h 2323145"/>
              <a:gd name="connsiteX157" fmla="*/ 4420601 w 11269336"/>
              <a:gd name="connsiteY157" fmla="*/ 2205158 h 2323145"/>
              <a:gd name="connsiteX158" fmla="*/ 4405765 w 11269336"/>
              <a:gd name="connsiteY158" fmla="*/ 2199902 h 2323145"/>
              <a:gd name="connsiteX159" fmla="*/ 4401354 w 11269336"/>
              <a:gd name="connsiteY159" fmla="*/ 2194745 h 2323145"/>
              <a:gd name="connsiteX160" fmla="*/ 4383151 w 11269336"/>
              <a:gd name="connsiteY160" fmla="*/ 2201140 h 2323145"/>
              <a:gd name="connsiteX161" fmla="*/ 4366646 w 11269336"/>
              <a:gd name="connsiteY161" fmla="*/ 2198564 h 2323145"/>
              <a:gd name="connsiteX162" fmla="*/ 4354009 w 11269336"/>
              <a:gd name="connsiteY162" fmla="*/ 2204984 h 2323145"/>
              <a:gd name="connsiteX163" fmla="*/ 4348284 w 11269336"/>
              <a:gd name="connsiteY163" fmla="*/ 2205270 h 2323145"/>
              <a:gd name="connsiteX164" fmla="*/ 4333906 w 11269336"/>
              <a:gd name="connsiteY164" fmla="*/ 2205251 h 2323145"/>
              <a:gd name="connsiteX165" fmla="*/ 4308819 w 11269336"/>
              <a:gd name="connsiteY165" fmla="*/ 2203822 h 2323145"/>
              <a:gd name="connsiteX166" fmla="*/ 4301210 w 11269336"/>
              <a:gd name="connsiteY166" fmla="*/ 2204456 h 2323145"/>
              <a:gd name="connsiteX167" fmla="*/ 4283095 w 11269336"/>
              <a:gd name="connsiteY167" fmla="*/ 2198177 h 2323145"/>
              <a:gd name="connsiteX168" fmla="*/ 4250119 w 11269336"/>
              <a:gd name="connsiteY168" fmla="*/ 2196342 h 2323145"/>
              <a:gd name="connsiteX169" fmla="*/ 4189203 w 11269336"/>
              <a:gd name="connsiteY169" fmla="*/ 2178994 h 2323145"/>
              <a:gd name="connsiteX170" fmla="*/ 4154035 w 11269336"/>
              <a:gd name="connsiteY170" fmla="*/ 2171950 h 2323145"/>
              <a:gd name="connsiteX171" fmla="*/ 4129569 w 11269336"/>
              <a:gd name="connsiteY171" fmla="*/ 2163850 h 2323145"/>
              <a:gd name="connsiteX172" fmla="*/ 4061250 w 11269336"/>
              <a:gd name="connsiteY172" fmla="*/ 2159236 h 2323145"/>
              <a:gd name="connsiteX173" fmla="*/ 3945480 w 11269336"/>
              <a:gd name="connsiteY173" fmla="*/ 2158279 h 2323145"/>
              <a:gd name="connsiteX174" fmla="*/ 3921468 w 11269336"/>
              <a:gd name="connsiteY174" fmla="*/ 2156588 h 2323145"/>
              <a:gd name="connsiteX175" fmla="*/ 3903348 w 11269336"/>
              <a:gd name="connsiteY175" fmla="*/ 2149220 h 2323145"/>
              <a:gd name="connsiteX176" fmla="*/ 3901342 w 11269336"/>
              <a:gd name="connsiteY176" fmla="*/ 2142355 h 2323145"/>
              <a:gd name="connsiteX177" fmla="*/ 3888539 w 11269336"/>
              <a:gd name="connsiteY177" fmla="*/ 2140476 h 2323145"/>
              <a:gd name="connsiteX178" fmla="*/ 3885662 w 11269336"/>
              <a:gd name="connsiteY178" fmla="*/ 2138740 h 2323145"/>
              <a:gd name="connsiteX179" fmla="*/ 3868627 w 11269336"/>
              <a:gd name="connsiteY179" fmla="*/ 2130023 h 2323145"/>
              <a:gd name="connsiteX180" fmla="*/ 3819177 w 11269336"/>
              <a:gd name="connsiteY180" fmla="*/ 2142111 h 2323145"/>
              <a:gd name="connsiteX181" fmla="*/ 3769100 w 11269336"/>
              <a:gd name="connsiteY181" fmla="*/ 2131731 h 2323145"/>
              <a:gd name="connsiteX182" fmla="*/ 3562752 w 11269336"/>
              <a:gd name="connsiteY182" fmla="*/ 2131785 h 2323145"/>
              <a:gd name="connsiteX183" fmla="*/ 3541402 w 11269336"/>
              <a:gd name="connsiteY183" fmla="*/ 2106821 h 2323145"/>
              <a:gd name="connsiteX184" fmla="*/ 3365341 w 11269336"/>
              <a:gd name="connsiteY184" fmla="*/ 2077638 h 2323145"/>
              <a:gd name="connsiteX185" fmla="*/ 3170922 w 11269336"/>
              <a:gd name="connsiteY185" fmla="*/ 2115957 h 2323145"/>
              <a:gd name="connsiteX186" fmla="*/ 3156256 w 11269336"/>
              <a:gd name="connsiteY186" fmla="*/ 2124773 h 2323145"/>
              <a:gd name="connsiteX187" fmla="*/ 3140298 w 11269336"/>
              <a:gd name="connsiteY187" fmla="*/ 2129182 h 2323145"/>
              <a:gd name="connsiteX188" fmla="*/ 3138514 w 11269336"/>
              <a:gd name="connsiteY188" fmla="*/ 2128069 h 2323145"/>
              <a:gd name="connsiteX189" fmla="*/ 3120467 w 11269336"/>
              <a:gd name="connsiteY189" fmla="*/ 2128281 h 2323145"/>
              <a:gd name="connsiteX190" fmla="*/ 3116175 w 11269336"/>
              <a:gd name="connsiteY190" fmla="*/ 2131633 h 2323145"/>
              <a:gd name="connsiteX191" fmla="*/ 3103685 w 11269336"/>
              <a:gd name="connsiteY191" fmla="*/ 2132814 h 2323145"/>
              <a:gd name="connsiteX192" fmla="*/ 3078794 w 11269336"/>
              <a:gd name="connsiteY192" fmla="*/ 2137935 h 2323145"/>
              <a:gd name="connsiteX193" fmla="*/ 3074407 w 11269336"/>
              <a:gd name="connsiteY193" fmla="*/ 2136274 h 2323145"/>
              <a:gd name="connsiteX194" fmla="*/ 3037285 w 11269336"/>
              <a:gd name="connsiteY194" fmla="*/ 2139919 h 2323145"/>
              <a:gd name="connsiteX195" fmla="*/ 3036901 w 11269336"/>
              <a:gd name="connsiteY195" fmla="*/ 2138726 h 2323145"/>
              <a:gd name="connsiteX196" fmla="*/ 3026996 w 11269336"/>
              <a:gd name="connsiteY196" fmla="*/ 2134322 h 2323145"/>
              <a:gd name="connsiteX197" fmla="*/ 3007772 w 11269336"/>
              <a:gd name="connsiteY197" fmla="*/ 2128742 h 2323145"/>
              <a:gd name="connsiteX198" fmla="*/ 2965030 w 11269336"/>
              <a:gd name="connsiteY198" fmla="*/ 2100494 h 2323145"/>
              <a:gd name="connsiteX199" fmla="*/ 2926342 w 11269336"/>
              <a:gd name="connsiteY199" fmla="*/ 2104155 h 2323145"/>
              <a:gd name="connsiteX200" fmla="*/ 2918608 w 11269336"/>
              <a:gd name="connsiteY200" fmla="*/ 2104215 h 2323145"/>
              <a:gd name="connsiteX201" fmla="*/ 2918475 w 11269336"/>
              <a:gd name="connsiteY201" fmla="*/ 2103937 h 2323145"/>
              <a:gd name="connsiteX202" fmla="*/ 2910360 w 11269336"/>
              <a:gd name="connsiteY202" fmla="*/ 2103444 h 2323145"/>
              <a:gd name="connsiteX203" fmla="*/ 2904507 w 11269336"/>
              <a:gd name="connsiteY203" fmla="*/ 2104326 h 2323145"/>
              <a:gd name="connsiteX204" fmla="*/ 2889503 w 11269336"/>
              <a:gd name="connsiteY204" fmla="*/ 2104443 h 2323145"/>
              <a:gd name="connsiteX205" fmla="*/ 2884480 w 11269336"/>
              <a:gd name="connsiteY205" fmla="*/ 2102626 h 2323145"/>
              <a:gd name="connsiteX206" fmla="*/ 2882689 w 11269336"/>
              <a:gd name="connsiteY206" fmla="*/ 2099228 h 2323145"/>
              <a:gd name="connsiteX207" fmla="*/ 2881291 w 11269336"/>
              <a:gd name="connsiteY207" fmla="*/ 2099618 h 2323145"/>
              <a:gd name="connsiteX208" fmla="*/ 2853979 w 11269336"/>
              <a:gd name="connsiteY208" fmla="*/ 2090388 h 2323145"/>
              <a:gd name="connsiteX209" fmla="*/ 2791790 w 11269336"/>
              <a:gd name="connsiteY209" fmla="*/ 2080332 h 2323145"/>
              <a:gd name="connsiteX210" fmla="*/ 2755844 w 11269336"/>
              <a:gd name="connsiteY210" fmla="*/ 2078874 h 2323145"/>
              <a:gd name="connsiteX211" fmla="*/ 2657742 w 11269336"/>
              <a:gd name="connsiteY211" fmla="*/ 2070179 h 2323145"/>
              <a:gd name="connsiteX212" fmla="*/ 2559549 w 11269336"/>
              <a:gd name="connsiteY212" fmla="*/ 2057873 h 2323145"/>
              <a:gd name="connsiteX213" fmla="*/ 2512054 w 11269336"/>
              <a:gd name="connsiteY213" fmla="*/ 2031671 h 2323145"/>
              <a:gd name="connsiteX214" fmla="*/ 2506437 w 11269336"/>
              <a:gd name="connsiteY214" fmla="*/ 2030918 h 2323145"/>
              <a:gd name="connsiteX215" fmla="*/ 2491752 w 11269336"/>
              <a:gd name="connsiteY215" fmla="*/ 2033906 h 2323145"/>
              <a:gd name="connsiteX216" fmla="*/ 2486338 w 11269336"/>
              <a:gd name="connsiteY216" fmla="*/ 2035862 h 2323145"/>
              <a:gd name="connsiteX217" fmla="*/ 2478186 w 11269336"/>
              <a:gd name="connsiteY217" fmla="*/ 2036953 h 2323145"/>
              <a:gd name="connsiteX218" fmla="*/ 2477950 w 11269336"/>
              <a:gd name="connsiteY218" fmla="*/ 2036715 h 2323145"/>
              <a:gd name="connsiteX219" fmla="*/ 2470381 w 11269336"/>
              <a:gd name="connsiteY219" fmla="*/ 2038256 h 2323145"/>
              <a:gd name="connsiteX220" fmla="*/ 2433781 w 11269336"/>
              <a:gd name="connsiteY220" fmla="*/ 2049140 h 2323145"/>
              <a:gd name="connsiteX221" fmla="*/ 2381172 w 11269336"/>
              <a:gd name="connsiteY221" fmla="*/ 2030645 h 2323145"/>
              <a:gd name="connsiteX222" fmla="*/ 2360198 w 11269336"/>
              <a:gd name="connsiteY222" fmla="*/ 2029059 h 2323145"/>
              <a:gd name="connsiteX223" fmla="*/ 2348815 w 11269336"/>
              <a:gd name="connsiteY223" fmla="*/ 2026798 h 2323145"/>
              <a:gd name="connsiteX224" fmla="*/ 2347988 w 11269336"/>
              <a:gd name="connsiteY224" fmla="*/ 2025745 h 2323145"/>
              <a:gd name="connsiteX225" fmla="*/ 2312920 w 11269336"/>
              <a:gd name="connsiteY225" fmla="*/ 2036311 h 2323145"/>
              <a:gd name="connsiteX226" fmla="*/ 2307986 w 11269336"/>
              <a:gd name="connsiteY226" fmla="*/ 2035583 h 2323145"/>
              <a:gd name="connsiteX227" fmla="*/ 2285481 w 11269336"/>
              <a:gd name="connsiteY227" fmla="*/ 2045197 h 2323145"/>
              <a:gd name="connsiteX228" fmla="*/ 2273666 w 11269336"/>
              <a:gd name="connsiteY228" fmla="*/ 2048710 h 2323145"/>
              <a:gd name="connsiteX229" fmla="*/ 2270719 w 11269336"/>
              <a:gd name="connsiteY229" fmla="*/ 2052702 h 2323145"/>
              <a:gd name="connsiteX230" fmla="*/ 2253080 w 11269336"/>
              <a:gd name="connsiteY230" fmla="*/ 2056363 h 2323145"/>
              <a:gd name="connsiteX231" fmla="*/ 2250906 w 11269336"/>
              <a:gd name="connsiteY231" fmla="*/ 2055654 h 2323145"/>
              <a:gd name="connsiteX232" fmla="*/ 2236905 w 11269336"/>
              <a:gd name="connsiteY232" fmla="*/ 2062882 h 2323145"/>
              <a:gd name="connsiteX233" fmla="*/ 2225830 w 11269336"/>
              <a:gd name="connsiteY233" fmla="*/ 2074027 h 2323145"/>
              <a:gd name="connsiteX234" fmla="*/ 2073776 w 11269336"/>
              <a:gd name="connsiteY234" fmla="*/ 2089244 h 2323145"/>
              <a:gd name="connsiteX235" fmla="*/ 1948256 w 11269336"/>
              <a:gd name="connsiteY235" fmla="*/ 2146616 h 2323145"/>
              <a:gd name="connsiteX236" fmla="*/ 1865582 w 11269336"/>
              <a:gd name="connsiteY236" fmla="*/ 2153738 h 2323145"/>
              <a:gd name="connsiteX237" fmla="*/ 1835210 w 11269336"/>
              <a:gd name="connsiteY237" fmla="*/ 2134244 h 2323145"/>
              <a:gd name="connsiteX238" fmla="*/ 1632661 w 11269336"/>
              <a:gd name="connsiteY238" fmla="*/ 2173882 h 2323145"/>
              <a:gd name="connsiteX239" fmla="*/ 1579590 w 11269336"/>
              <a:gd name="connsiteY239" fmla="*/ 2173680 h 2323145"/>
              <a:gd name="connsiteX240" fmla="*/ 1535601 w 11269336"/>
              <a:gd name="connsiteY240" fmla="*/ 2194590 h 2323145"/>
              <a:gd name="connsiteX241" fmla="*/ 1515594 w 11269336"/>
              <a:gd name="connsiteY241" fmla="*/ 2189622 h 2323145"/>
              <a:gd name="connsiteX242" fmla="*/ 1512113 w 11269336"/>
              <a:gd name="connsiteY242" fmla="*/ 2188534 h 2323145"/>
              <a:gd name="connsiteX243" fmla="*/ 1498838 w 11269336"/>
              <a:gd name="connsiteY243" fmla="*/ 2189213 h 2323145"/>
              <a:gd name="connsiteX244" fmla="*/ 1494279 w 11269336"/>
              <a:gd name="connsiteY244" fmla="*/ 2183112 h 2323145"/>
              <a:gd name="connsiteX245" fmla="*/ 1473714 w 11269336"/>
              <a:gd name="connsiteY245" fmla="*/ 2179625 h 2323145"/>
              <a:gd name="connsiteX246" fmla="*/ 1449503 w 11269336"/>
              <a:gd name="connsiteY246" fmla="*/ 2182633 h 2323145"/>
              <a:gd name="connsiteX247" fmla="*/ 1266687 w 11269336"/>
              <a:gd name="connsiteY247" fmla="*/ 2212688 h 2323145"/>
              <a:gd name="connsiteX248" fmla="*/ 1239614 w 11269336"/>
              <a:gd name="connsiteY248" fmla="*/ 2209727 h 2323145"/>
              <a:gd name="connsiteX249" fmla="*/ 1202436 w 11269336"/>
              <a:gd name="connsiteY249" fmla="*/ 2209817 h 2323145"/>
              <a:gd name="connsiteX250" fmla="*/ 1136097 w 11269336"/>
              <a:gd name="connsiteY250" fmla="*/ 2205112 h 2323145"/>
              <a:gd name="connsiteX251" fmla="*/ 988232 w 11269336"/>
              <a:gd name="connsiteY251" fmla="*/ 2235635 h 2323145"/>
              <a:gd name="connsiteX252" fmla="*/ 981959 w 11269336"/>
              <a:gd name="connsiteY252" fmla="*/ 2231607 h 2323145"/>
              <a:gd name="connsiteX253" fmla="*/ 938600 w 11269336"/>
              <a:gd name="connsiteY253" fmla="*/ 2238113 h 2323145"/>
              <a:gd name="connsiteX254" fmla="*/ 791788 w 11269336"/>
              <a:gd name="connsiteY254" fmla="*/ 2293224 h 2323145"/>
              <a:gd name="connsiteX255" fmla="*/ 706914 w 11269336"/>
              <a:gd name="connsiteY255" fmla="*/ 2305046 h 2323145"/>
              <a:gd name="connsiteX256" fmla="*/ 675971 w 11269336"/>
              <a:gd name="connsiteY256" fmla="*/ 2304030 h 2323145"/>
              <a:gd name="connsiteX257" fmla="*/ 624180 w 11269336"/>
              <a:gd name="connsiteY257" fmla="*/ 2302650 h 2323145"/>
              <a:gd name="connsiteX258" fmla="*/ 583453 w 11269336"/>
              <a:gd name="connsiteY258" fmla="*/ 2288788 h 2323145"/>
              <a:gd name="connsiteX259" fmla="*/ 540946 w 11269336"/>
              <a:gd name="connsiteY259" fmla="*/ 2292721 h 2323145"/>
              <a:gd name="connsiteX260" fmla="*/ 533680 w 11269336"/>
              <a:gd name="connsiteY260" fmla="*/ 2310233 h 2323145"/>
              <a:gd name="connsiteX261" fmla="*/ 487366 w 11269336"/>
              <a:gd name="connsiteY261" fmla="*/ 2309053 h 2323145"/>
              <a:gd name="connsiteX262" fmla="*/ 416820 w 11269336"/>
              <a:gd name="connsiteY262" fmla="*/ 2305443 h 2323145"/>
              <a:gd name="connsiteX263" fmla="*/ 376805 w 11269336"/>
              <a:gd name="connsiteY263" fmla="*/ 2307647 h 2323145"/>
              <a:gd name="connsiteX264" fmla="*/ 266777 w 11269336"/>
              <a:gd name="connsiteY264" fmla="*/ 2309012 h 2323145"/>
              <a:gd name="connsiteX265" fmla="*/ 156013 w 11269336"/>
              <a:gd name="connsiteY265" fmla="*/ 2306832 h 2323145"/>
              <a:gd name="connsiteX266" fmla="*/ 87258 w 11269336"/>
              <a:gd name="connsiteY266" fmla="*/ 2285511 h 2323145"/>
              <a:gd name="connsiteX267" fmla="*/ 23798 w 11269336"/>
              <a:gd name="connsiteY267" fmla="*/ 2281822 h 2323145"/>
              <a:gd name="connsiteX268" fmla="*/ 0 w 11269336"/>
              <a:gd name="connsiteY268" fmla="*/ 2285369 h 2323145"/>
              <a:gd name="connsiteX269" fmla="*/ 0 w 11269336"/>
              <a:gd name="connsiteY269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837498 w 11269336"/>
              <a:gd name="connsiteY32" fmla="*/ 885664 h 2323145"/>
              <a:gd name="connsiteX33" fmla="*/ 8795998 w 11269336"/>
              <a:gd name="connsiteY33" fmla="*/ 863337 h 2323145"/>
              <a:gd name="connsiteX34" fmla="*/ 8776970 w 11269336"/>
              <a:gd name="connsiteY34" fmla="*/ 885177 h 2323145"/>
              <a:gd name="connsiteX35" fmla="*/ 8755719 w 11269336"/>
              <a:gd name="connsiteY35" fmla="*/ 889754 h 2323145"/>
              <a:gd name="connsiteX36" fmla="*/ 8743257 w 11269336"/>
              <a:gd name="connsiteY36" fmla="*/ 904723 h 2323145"/>
              <a:gd name="connsiteX37" fmla="*/ 8721366 w 11269336"/>
              <a:gd name="connsiteY37" fmla="*/ 904711 h 2323145"/>
              <a:gd name="connsiteX38" fmla="*/ 8678353 w 11269336"/>
              <a:gd name="connsiteY38" fmla="*/ 926318 h 2323145"/>
              <a:gd name="connsiteX39" fmla="*/ 8636849 w 11269336"/>
              <a:gd name="connsiteY39" fmla="*/ 937900 h 2323145"/>
              <a:gd name="connsiteX40" fmla="*/ 8620213 w 11269336"/>
              <a:gd name="connsiteY40" fmla="*/ 943068 h 2323145"/>
              <a:gd name="connsiteX41" fmla="*/ 8612581 w 11269336"/>
              <a:gd name="connsiteY41" fmla="*/ 952695 h 2323145"/>
              <a:gd name="connsiteX42" fmla="*/ 8589038 w 11269336"/>
              <a:gd name="connsiteY42" fmla="*/ 963892 h 2323145"/>
              <a:gd name="connsiteX43" fmla="*/ 8579950 w 11269336"/>
              <a:gd name="connsiteY43" fmla="*/ 960899 h 2323145"/>
              <a:gd name="connsiteX44" fmla="*/ 8579319 w 11269336"/>
              <a:gd name="connsiteY44" fmla="*/ 965630 h 2323145"/>
              <a:gd name="connsiteX45" fmla="*/ 8547429 w 11269336"/>
              <a:gd name="connsiteY45" fmla="*/ 984506 h 2323145"/>
              <a:gd name="connsiteX46" fmla="*/ 8478704 w 11269336"/>
              <a:gd name="connsiteY46" fmla="*/ 1025490 h 2323145"/>
              <a:gd name="connsiteX47" fmla="*/ 8461421 w 11269336"/>
              <a:gd name="connsiteY47" fmla="*/ 1035512 h 2323145"/>
              <a:gd name="connsiteX48" fmla="*/ 8445003 w 11269336"/>
              <a:gd name="connsiteY48" fmla="*/ 1036851 h 2323145"/>
              <a:gd name="connsiteX49" fmla="*/ 8357350 w 11269336"/>
              <a:gd name="connsiteY49" fmla="*/ 1060213 h 2323145"/>
              <a:gd name="connsiteX50" fmla="*/ 8335565 w 11269336"/>
              <a:gd name="connsiteY50" fmla="*/ 1061151 h 2323145"/>
              <a:gd name="connsiteX51" fmla="*/ 8325267 w 11269336"/>
              <a:gd name="connsiteY51" fmla="*/ 1055919 h 2323145"/>
              <a:gd name="connsiteX52" fmla="*/ 8293586 w 11269336"/>
              <a:gd name="connsiteY52" fmla="*/ 1076144 h 2323145"/>
              <a:gd name="connsiteX53" fmla="*/ 8242405 w 11269336"/>
              <a:gd name="connsiteY53" fmla="*/ 1095960 h 2323145"/>
              <a:gd name="connsiteX54" fmla="*/ 8197391 w 11269336"/>
              <a:gd name="connsiteY54" fmla="*/ 1107746 h 2323145"/>
              <a:gd name="connsiteX55" fmla="*/ 8081474 w 11269336"/>
              <a:gd name="connsiteY55" fmla="*/ 1130125 h 2323145"/>
              <a:gd name="connsiteX56" fmla="*/ 8053585 w 11269336"/>
              <a:gd name="connsiteY56" fmla="*/ 1129169 h 2323145"/>
              <a:gd name="connsiteX57" fmla="*/ 8038422 w 11269336"/>
              <a:gd name="connsiteY57" fmla="*/ 1119092 h 2323145"/>
              <a:gd name="connsiteX58" fmla="*/ 8029450 w 11269336"/>
              <a:gd name="connsiteY58" fmla="*/ 1125592 h 2323145"/>
              <a:gd name="connsiteX59" fmla="*/ 7959552 w 11269336"/>
              <a:gd name="connsiteY59" fmla="*/ 1140188 h 2323145"/>
              <a:gd name="connsiteX60" fmla="*/ 7914188 w 11269336"/>
              <a:gd name="connsiteY60" fmla="*/ 1150862 h 2323145"/>
              <a:gd name="connsiteX61" fmla="*/ 7914918 w 11269336"/>
              <a:gd name="connsiteY61" fmla="*/ 1168758 h 2323145"/>
              <a:gd name="connsiteX62" fmla="*/ 7875510 w 11269336"/>
              <a:gd name="connsiteY62" fmla="*/ 1183153 h 2323145"/>
              <a:gd name="connsiteX63" fmla="*/ 7829932 w 11269336"/>
              <a:gd name="connsiteY63" fmla="*/ 1180782 h 2323145"/>
              <a:gd name="connsiteX64" fmla="*/ 7779182 w 11269336"/>
              <a:gd name="connsiteY64" fmla="*/ 1192665 h 2323145"/>
              <a:gd name="connsiteX65" fmla="*/ 7748774 w 11269336"/>
              <a:gd name="connsiteY65" fmla="*/ 1199586 h 2323145"/>
              <a:gd name="connsiteX66" fmla="*/ 7671846 w 11269336"/>
              <a:gd name="connsiteY66" fmla="*/ 1231966 h 2323145"/>
              <a:gd name="connsiteX67" fmla="*/ 7554146 w 11269336"/>
              <a:gd name="connsiteY67" fmla="*/ 1319748 h 2323145"/>
              <a:gd name="connsiteX68" fmla="*/ 7515052 w 11269336"/>
              <a:gd name="connsiteY68" fmla="*/ 1336718 h 2323145"/>
              <a:gd name="connsiteX69" fmla="*/ 7507193 w 11269336"/>
              <a:gd name="connsiteY69" fmla="*/ 1334617 h 2323145"/>
              <a:gd name="connsiteX70" fmla="*/ 7461694 w 11269336"/>
              <a:gd name="connsiteY70" fmla="*/ 1375866 h 2323145"/>
              <a:gd name="connsiteX71" fmla="*/ 7377571 w 11269336"/>
              <a:gd name="connsiteY71" fmla="*/ 1400128 h 2323145"/>
              <a:gd name="connsiteX72" fmla="*/ 7311261 w 11269336"/>
              <a:gd name="connsiteY72" fmla="*/ 1412652 h 2323145"/>
              <a:gd name="connsiteX73" fmla="*/ 7275307 w 11269336"/>
              <a:gd name="connsiteY73" fmla="*/ 1422171 h 2323145"/>
              <a:gd name="connsiteX74" fmla="*/ 7247783 w 11269336"/>
              <a:gd name="connsiteY74" fmla="*/ 1426330 h 2323145"/>
              <a:gd name="connsiteX75" fmla="*/ 7185047 w 11269336"/>
              <a:gd name="connsiteY75" fmla="*/ 1451812 h 2323145"/>
              <a:gd name="connsiteX76" fmla="*/ 7084117 w 11269336"/>
              <a:gd name="connsiteY76" fmla="*/ 1500281 h 2323145"/>
              <a:gd name="connsiteX77" fmla="*/ 7062011 w 11269336"/>
              <a:gd name="connsiteY77" fmla="*/ 1509183 h 2323145"/>
              <a:gd name="connsiteX78" fmla="*/ 7040555 w 11269336"/>
              <a:gd name="connsiteY78" fmla="*/ 1511207 h 2323145"/>
              <a:gd name="connsiteX79" fmla="*/ 7033438 w 11269336"/>
              <a:gd name="connsiteY79" fmla="*/ 1506772 h 2323145"/>
              <a:gd name="connsiteX80" fmla="*/ 7020886 w 11269336"/>
              <a:gd name="connsiteY80" fmla="*/ 1510764 h 2323145"/>
              <a:gd name="connsiteX81" fmla="*/ 7017033 w 11269336"/>
              <a:gd name="connsiteY81" fmla="*/ 1510650 h 2323145"/>
              <a:gd name="connsiteX82" fmla="*/ 6995460 w 11269336"/>
              <a:gd name="connsiteY82" fmla="*/ 1511173 h 2323145"/>
              <a:gd name="connsiteX83" fmla="*/ 6962144 w 11269336"/>
              <a:gd name="connsiteY83" fmla="*/ 1541508 h 2323145"/>
              <a:gd name="connsiteX84" fmla="*/ 6910674 w 11269336"/>
              <a:gd name="connsiteY84" fmla="*/ 1554793 h 2323145"/>
              <a:gd name="connsiteX85" fmla="*/ 6732152 w 11269336"/>
              <a:gd name="connsiteY85" fmla="*/ 1642538 h 2323145"/>
              <a:gd name="connsiteX86" fmla="*/ 6694106 w 11269336"/>
              <a:gd name="connsiteY86" fmla="*/ 1632377 h 2323145"/>
              <a:gd name="connsiteX87" fmla="*/ 6617223 w 11269336"/>
              <a:gd name="connsiteY87" fmla="*/ 1659889 h 2323145"/>
              <a:gd name="connsiteX88" fmla="*/ 6521138 w 11269336"/>
              <a:gd name="connsiteY88" fmla="*/ 1744340 h 2323145"/>
              <a:gd name="connsiteX89" fmla="*/ 6380677 w 11269336"/>
              <a:gd name="connsiteY89" fmla="*/ 1796883 h 2323145"/>
              <a:gd name="connsiteX90" fmla="*/ 6374897 w 11269336"/>
              <a:gd name="connsiteY90" fmla="*/ 1809910 h 2323145"/>
              <a:gd name="connsiteX91" fmla="*/ 6364545 w 11269336"/>
              <a:gd name="connsiteY91" fmla="*/ 1820090 h 2323145"/>
              <a:gd name="connsiteX92" fmla="*/ 6362126 w 11269336"/>
              <a:gd name="connsiteY92" fmla="*/ 1819991 h 2323145"/>
              <a:gd name="connsiteX93" fmla="*/ 6346673 w 11269336"/>
              <a:gd name="connsiteY93" fmla="*/ 1827824 h 2323145"/>
              <a:gd name="connsiteX94" fmla="*/ 6345588 w 11269336"/>
              <a:gd name="connsiteY94" fmla="*/ 1832232 h 2323145"/>
              <a:gd name="connsiteX95" fmla="*/ 6335708 w 11269336"/>
              <a:gd name="connsiteY95" fmla="*/ 1838451 h 2323145"/>
              <a:gd name="connsiteX96" fmla="*/ 6318182 w 11269336"/>
              <a:gd name="connsiteY96" fmla="*/ 1852975 h 2323145"/>
              <a:gd name="connsiteX97" fmla="*/ 6313084 w 11269336"/>
              <a:gd name="connsiteY97" fmla="*/ 1853561 h 2323145"/>
              <a:gd name="connsiteX98" fmla="*/ 6283816 w 11269336"/>
              <a:gd name="connsiteY98" fmla="*/ 1872148 h 2323145"/>
              <a:gd name="connsiteX99" fmla="*/ 6282550 w 11269336"/>
              <a:gd name="connsiteY99" fmla="*/ 1871392 h 2323145"/>
              <a:gd name="connsiteX100" fmla="*/ 6270527 w 11269336"/>
              <a:gd name="connsiteY100" fmla="*/ 1872208 h 2323145"/>
              <a:gd name="connsiteX101" fmla="*/ 6249518 w 11269336"/>
              <a:gd name="connsiteY101" fmla="*/ 1876079 h 2323145"/>
              <a:gd name="connsiteX102" fmla="*/ 6190386 w 11269336"/>
              <a:gd name="connsiteY102" fmla="*/ 1872478 h 2323145"/>
              <a:gd name="connsiteX103" fmla="*/ 6159777 w 11269336"/>
              <a:gd name="connsiteY103" fmla="*/ 1891745 h 2323145"/>
              <a:gd name="connsiteX104" fmla="*/ 6153131 w 11269336"/>
              <a:gd name="connsiteY104" fmla="*/ 1895079 h 2323145"/>
              <a:gd name="connsiteX105" fmla="*/ 6152798 w 11269336"/>
              <a:gd name="connsiteY105" fmla="*/ 1894920 h 2323145"/>
              <a:gd name="connsiteX106" fmla="*/ 6145388 w 11269336"/>
              <a:gd name="connsiteY106" fmla="*/ 1897990 h 2323145"/>
              <a:gd name="connsiteX107" fmla="*/ 6141014 w 11269336"/>
              <a:gd name="connsiteY107" fmla="*/ 1901155 h 2323145"/>
              <a:gd name="connsiteX108" fmla="*/ 6128122 w 11269336"/>
              <a:gd name="connsiteY108" fmla="*/ 1907623 h 2323145"/>
              <a:gd name="connsiteX109" fmla="*/ 6122351 w 11269336"/>
              <a:gd name="connsiteY109" fmla="*/ 1908359 h 2323145"/>
              <a:gd name="connsiteX110" fmla="*/ 6064750 w 11269336"/>
              <a:gd name="connsiteY110" fmla="*/ 1896394 h 2323145"/>
              <a:gd name="connsiteX111" fmla="*/ 5964230 w 11269336"/>
              <a:gd name="connsiteY111" fmla="*/ 1910038 h 2323145"/>
              <a:gd name="connsiteX112" fmla="*/ 5865399 w 11269336"/>
              <a:gd name="connsiteY112" fmla="*/ 1926966 h 2323145"/>
              <a:gd name="connsiteX113" fmla="*/ 5829951 w 11269336"/>
              <a:gd name="connsiteY113" fmla="*/ 1934755 h 2323145"/>
              <a:gd name="connsiteX114" fmla="*/ 5765285 w 11269336"/>
              <a:gd name="connsiteY114" fmla="*/ 1941322 h 2323145"/>
              <a:gd name="connsiteX115" fmla="*/ 5734750 w 11269336"/>
              <a:gd name="connsiteY115" fmla="*/ 1939793 h 2323145"/>
              <a:gd name="connsiteX116" fmla="*/ 5733569 w 11269336"/>
              <a:gd name="connsiteY116" fmla="*/ 1940505 h 2323145"/>
              <a:gd name="connsiteX117" fmla="*/ 5730329 w 11269336"/>
              <a:gd name="connsiteY117" fmla="*/ 1937845 h 2323145"/>
              <a:gd name="connsiteX118" fmla="*/ 5724661 w 11269336"/>
              <a:gd name="connsiteY118" fmla="*/ 1937455 h 2323145"/>
              <a:gd name="connsiteX119" fmla="*/ 5710186 w 11269336"/>
              <a:gd name="connsiteY119" fmla="*/ 1941370 h 2323145"/>
              <a:gd name="connsiteX120" fmla="*/ 5704910 w 11269336"/>
              <a:gd name="connsiteY120" fmla="*/ 1943663 h 2323145"/>
              <a:gd name="connsiteX121" fmla="*/ 5696836 w 11269336"/>
              <a:gd name="connsiteY121" fmla="*/ 1945271 h 2323145"/>
              <a:gd name="connsiteX122" fmla="*/ 5696583 w 11269336"/>
              <a:gd name="connsiteY122" fmla="*/ 1945050 h 2323145"/>
              <a:gd name="connsiteX123" fmla="*/ 5689123 w 11269336"/>
              <a:gd name="connsiteY123" fmla="*/ 1947067 h 2323145"/>
              <a:gd name="connsiteX124" fmla="*/ 5653291 w 11269336"/>
              <a:gd name="connsiteY124" fmla="*/ 1960245 h 2323145"/>
              <a:gd name="connsiteX125" fmla="*/ 5599385 w 11269336"/>
              <a:gd name="connsiteY125" fmla="*/ 1945198 h 2323145"/>
              <a:gd name="connsiteX126" fmla="*/ 5578300 w 11269336"/>
              <a:gd name="connsiteY126" fmla="*/ 1944963 h 2323145"/>
              <a:gd name="connsiteX127" fmla="*/ 5566758 w 11269336"/>
              <a:gd name="connsiteY127" fmla="*/ 1943441 h 2323145"/>
              <a:gd name="connsiteX128" fmla="*/ 5565857 w 11269336"/>
              <a:gd name="connsiteY128" fmla="*/ 1942445 h 2323145"/>
              <a:gd name="connsiteX129" fmla="*/ 5531534 w 11269336"/>
              <a:gd name="connsiteY129" fmla="*/ 1955208 h 2323145"/>
              <a:gd name="connsiteX130" fmla="*/ 5526552 w 11269336"/>
              <a:gd name="connsiteY130" fmla="*/ 1954799 h 2323145"/>
              <a:gd name="connsiteX131" fmla="*/ 5504723 w 11269336"/>
              <a:gd name="connsiteY131" fmla="*/ 1965811 h 2323145"/>
              <a:gd name="connsiteX132" fmla="*/ 5493156 w 11269336"/>
              <a:gd name="connsiteY132" fmla="*/ 1970063 h 2323145"/>
              <a:gd name="connsiteX133" fmla="*/ 5490486 w 11269336"/>
              <a:gd name="connsiteY133" fmla="*/ 1974227 h 2323145"/>
              <a:gd name="connsiteX134" fmla="*/ 5473107 w 11269336"/>
              <a:gd name="connsiteY134" fmla="*/ 1979001 h 2323145"/>
              <a:gd name="connsiteX135" fmla="*/ 5470885 w 11269336"/>
              <a:gd name="connsiteY135" fmla="*/ 1978432 h 2323145"/>
              <a:gd name="connsiteX136" fmla="*/ 5457393 w 11269336"/>
              <a:gd name="connsiteY136" fmla="*/ 1986525 h 2323145"/>
              <a:gd name="connsiteX137" fmla="*/ 5447102 w 11269336"/>
              <a:gd name="connsiteY137" fmla="*/ 1998329 h 2323145"/>
              <a:gd name="connsiteX138" fmla="*/ 5159151 w 11269336"/>
              <a:gd name="connsiteY138" fmla="*/ 2029640 h 2323145"/>
              <a:gd name="connsiteX139" fmla="*/ 5041688 w 11269336"/>
              <a:gd name="connsiteY139" fmla="*/ 2022334 h 2323145"/>
              <a:gd name="connsiteX140" fmla="*/ 4860988 w 11269336"/>
              <a:gd name="connsiteY140" fmla="*/ 2135698 h 2323145"/>
              <a:gd name="connsiteX141" fmla="*/ 4807902 w 11269336"/>
              <a:gd name="connsiteY141" fmla="*/ 2138894 h 2323145"/>
              <a:gd name="connsiteX142" fmla="*/ 4765388 w 11269336"/>
              <a:gd name="connsiteY142" fmla="*/ 2162525 h 2323145"/>
              <a:gd name="connsiteX143" fmla="*/ 4745033 w 11269336"/>
              <a:gd name="connsiteY143" fmla="*/ 2158859 h 2323145"/>
              <a:gd name="connsiteX144" fmla="*/ 4741475 w 11269336"/>
              <a:gd name="connsiteY144" fmla="*/ 2157998 h 2323145"/>
              <a:gd name="connsiteX145" fmla="*/ 4728247 w 11269336"/>
              <a:gd name="connsiteY145" fmla="*/ 2159526 h 2323145"/>
              <a:gd name="connsiteX146" fmla="*/ 4723263 w 11269336"/>
              <a:gd name="connsiteY146" fmla="*/ 2153742 h 2323145"/>
              <a:gd name="connsiteX147" fmla="*/ 4702453 w 11269336"/>
              <a:gd name="connsiteY147" fmla="*/ 2151586 h 2323145"/>
              <a:gd name="connsiteX148" fmla="*/ 4678455 w 11269336"/>
              <a:gd name="connsiteY148" fmla="*/ 2156131 h 2323145"/>
              <a:gd name="connsiteX149" fmla="*/ 4593061 w 11269336"/>
              <a:gd name="connsiteY149" fmla="*/ 2171597 h 2323145"/>
              <a:gd name="connsiteX150" fmla="*/ 4579902 w 11269336"/>
              <a:gd name="connsiteY150" fmla="*/ 2177927 h 2323145"/>
              <a:gd name="connsiteX151" fmla="*/ 4533444 w 11269336"/>
              <a:gd name="connsiteY151" fmla="*/ 2181200 h 2323145"/>
              <a:gd name="connsiteX152" fmla="*/ 4492832 w 11269336"/>
              <a:gd name="connsiteY152" fmla="*/ 2188033 h 2323145"/>
              <a:gd name="connsiteX153" fmla="*/ 4467257 w 11269336"/>
              <a:gd name="connsiteY153" fmla="*/ 2196121 h 2323145"/>
              <a:gd name="connsiteX154" fmla="*/ 4459937 w 11269336"/>
              <a:gd name="connsiteY154" fmla="*/ 2195182 h 2323145"/>
              <a:gd name="connsiteX155" fmla="*/ 4433312 w 11269336"/>
              <a:gd name="connsiteY155" fmla="*/ 2199004 h 2323145"/>
              <a:gd name="connsiteX156" fmla="*/ 4420601 w 11269336"/>
              <a:gd name="connsiteY156" fmla="*/ 2205158 h 2323145"/>
              <a:gd name="connsiteX157" fmla="*/ 4405765 w 11269336"/>
              <a:gd name="connsiteY157" fmla="*/ 2199902 h 2323145"/>
              <a:gd name="connsiteX158" fmla="*/ 4401354 w 11269336"/>
              <a:gd name="connsiteY158" fmla="*/ 2194745 h 2323145"/>
              <a:gd name="connsiteX159" fmla="*/ 4383151 w 11269336"/>
              <a:gd name="connsiteY159" fmla="*/ 2201140 h 2323145"/>
              <a:gd name="connsiteX160" fmla="*/ 4366646 w 11269336"/>
              <a:gd name="connsiteY160" fmla="*/ 2198564 h 2323145"/>
              <a:gd name="connsiteX161" fmla="*/ 4354009 w 11269336"/>
              <a:gd name="connsiteY161" fmla="*/ 2204984 h 2323145"/>
              <a:gd name="connsiteX162" fmla="*/ 4348284 w 11269336"/>
              <a:gd name="connsiteY162" fmla="*/ 2205270 h 2323145"/>
              <a:gd name="connsiteX163" fmla="*/ 4333906 w 11269336"/>
              <a:gd name="connsiteY163" fmla="*/ 2205251 h 2323145"/>
              <a:gd name="connsiteX164" fmla="*/ 4308819 w 11269336"/>
              <a:gd name="connsiteY164" fmla="*/ 2203822 h 2323145"/>
              <a:gd name="connsiteX165" fmla="*/ 4301210 w 11269336"/>
              <a:gd name="connsiteY165" fmla="*/ 2204456 h 2323145"/>
              <a:gd name="connsiteX166" fmla="*/ 4283095 w 11269336"/>
              <a:gd name="connsiteY166" fmla="*/ 2198177 h 2323145"/>
              <a:gd name="connsiteX167" fmla="*/ 4250119 w 11269336"/>
              <a:gd name="connsiteY167" fmla="*/ 2196342 h 2323145"/>
              <a:gd name="connsiteX168" fmla="*/ 4189203 w 11269336"/>
              <a:gd name="connsiteY168" fmla="*/ 2178994 h 2323145"/>
              <a:gd name="connsiteX169" fmla="*/ 4154035 w 11269336"/>
              <a:gd name="connsiteY169" fmla="*/ 2171950 h 2323145"/>
              <a:gd name="connsiteX170" fmla="*/ 4129569 w 11269336"/>
              <a:gd name="connsiteY170" fmla="*/ 2163850 h 2323145"/>
              <a:gd name="connsiteX171" fmla="*/ 4061250 w 11269336"/>
              <a:gd name="connsiteY171" fmla="*/ 2159236 h 2323145"/>
              <a:gd name="connsiteX172" fmla="*/ 3945480 w 11269336"/>
              <a:gd name="connsiteY172" fmla="*/ 2158279 h 2323145"/>
              <a:gd name="connsiteX173" fmla="*/ 3921468 w 11269336"/>
              <a:gd name="connsiteY173" fmla="*/ 2156588 h 2323145"/>
              <a:gd name="connsiteX174" fmla="*/ 3903348 w 11269336"/>
              <a:gd name="connsiteY174" fmla="*/ 2149220 h 2323145"/>
              <a:gd name="connsiteX175" fmla="*/ 3901342 w 11269336"/>
              <a:gd name="connsiteY175" fmla="*/ 2142355 h 2323145"/>
              <a:gd name="connsiteX176" fmla="*/ 3888539 w 11269336"/>
              <a:gd name="connsiteY176" fmla="*/ 2140476 h 2323145"/>
              <a:gd name="connsiteX177" fmla="*/ 3885662 w 11269336"/>
              <a:gd name="connsiteY177" fmla="*/ 2138740 h 2323145"/>
              <a:gd name="connsiteX178" fmla="*/ 3868627 w 11269336"/>
              <a:gd name="connsiteY178" fmla="*/ 2130023 h 2323145"/>
              <a:gd name="connsiteX179" fmla="*/ 3819177 w 11269336"/>
              <a:gd name="connsiteY179" fmla="*/ 2142111 h 2323145"/>
              <a:gd name="connsiteX180" fmla="*/ 3769100 w 11269336"/>
              <a:gd name="connsiteY180" fmla="*/ 2131731 h 2323145"/>
              <a:gd name="connsiteX181" fmla="*/ 3562752 w 11269336"/>
              <a:gd name="connsiteY181" fmla="*/ 2131785 h 2323145"/>
              <a:gd name="connsiteX182" fmla="*/ 3541402 w 11269336"/>
              <a:gd name="connsiteY182" fmla="*/ 2106821 h 2323145"/>
              <a:gd name="connsiteX183" fmla="*/ 3365341 w 11269336"/>
              <a:gd name="connsiteY183" fmla="*/ 2077638 h 2323145"/>
              <a:gd name="connsiteX184" fmla="*/ 3170922 w 11269336"/>
              <a:gd name="connsiteY184" fmla="*/ 2115957 h 2323145"/>
              <a:gd name="connsiteX185" fmla="*/ 3156256 w 11269336"/>
              <a:gd name="connsiteY185" fmla="*/ 2124773 h 2323145"/>
              <a:gd name="connsiteX186" fmla="*/ 3140298 w 11269336"/>
              <a:gd name="connsiteY186" fmla="*/ 2129182 h 2323145"/>
              <a:gd name="connsiteX187" fmla="*/ 3138514 w 11269336"/>
              <a:gd name="connsiteY187" fmla="*/ 2128069 h 2323145"/>
              <a:gd name="connsiteX188" fmla="*/ 3120467 w 11269336"/>
              <a:gd name="connsiteY188" fmla="*/ 2128281 h 2323145"/>
              <a:gd name="connsiteX189" fmla="*/ 3116175 w 11269336"/>
              <a:gd name="connsiteY189" fmla="*/ 2131633 h 2323145"/>
              <a:gd name="connsiteX190" fmla="*/ 3103685 w 11269336"/>
              <a:gd name="connsiteY190" fmla="*/ 2132814 h 2323145"/>
              <a:gd name="connsiteX191" fmla="*/ 3078794 w 11269336"/>
              <a:gd name="connsiteY191" fmla="*/ 2137935 h 2323145"/>
              <a:gd name="connsiteX192" fmla="*/ 3074407 w 11269336"/>
              <a:gd name="connsiteY192" fmla="*/ 2136274 h 2323145"/>
              <a:gd name="connsiteX193" fmla="*/ 3037285 w 11269336"/>
              <a:gd name="connsiteY193" fmla="*/ 2139919 h 2323145"/>
              <a:gd name="connsiteX194" fmla="*/ 3036901 w 11269336"/>
              <a:gd name="connsiteY194" fmla="*/ 2138726 h 2323145"/>
              <a:gd name="connsiteX195" fmla="*/ 3026996 w 11269336"/>
              <a:gd name="connsiteY195" fmla="*/ 2134322 h 2323145"/>
              <a:gd name="connsiteX196" fmla="*/ 3007772 w 11269336"/>
              <a:gd name="connsiteY196" fmla="*/ 2128742 h 2323145"/>
              <a:gd name="connsiteX197" fmla="*/ 2965030 w 11269336"/>
              <a:gd name="connsiteY197" fmla="*/ 2100494 h 2323145"/>
              <a:gd name="connsiteX198" fmla="*/ 2926342 w 11269336"/>
              <a:gd name="connsiteY198" fmla="*/ 2104155 h 2323145"/>
              <a:gd name="connsiteX199" fmla="*/ 2918608 w 11269336"/>
              <a:gd name="connsiteY199" fmla="*/ 2104215 h 2323145"/>
              <a:gd name="connsiteX200" fmla="*/ 2918475 w 11269336"/>
              <a:gd name="connsiteY200" fmla="*/ 2103937 h 2323145"/>
              <a:gd name="connsiteX201" fmla="*/ 2910360 w 11269336"/>
              <a:gd name="connsiteY201" fmla="*/ 2103444 h 2323145"/>
              <a:gd name="connsiteX202" fmla="*/ 2904507 w 11269336"/>
              <a:gd name="connsiteY202" fmla="*/ 2104326 h 2323145"/>
              <a:gd name="connsiteX203" fmla="*/ 2889503 w 11269336"/>
              <a:gd name="connsiteY203" fmla="*/ 2104443 h 2323145"/>
              <a:gd name="connsiteX204" fmla="*/ 2884480 w 11269336"/>
              <a:gd name="connsiteY204" fmla="*/ 2102626 h 2323145"/>
              <a:gd name="connsiteX205" fmla="*/ 2882689 w 11269336"/>
              <a:gd name="connsiteY205" fmla="*/ 2099228 h 2323145"/>
              <a:gd name="connsiteX206" fmla="*/ 2881291 w 11269336"/>
              <a:gd name="connsiteY206" fmla="*/ 2099618 h 2323145"/>
              <a:gd name="connsiteX207" fmla="*/ 2853979 w 11269336"/>
              <a:gd name="connsiteY207" fmla="*/ 2090388 h 2323145"/>
              <a:gd name="connsiteX208" fmla="*/ 2791790 w 11269336"/>
              <a:gd name="connsiteY208" fmla="*/ 2080332 h 2323145"/>
              <a:gd name="connsiteX209" fmla="*/ 2755844 w 11269336"/>
              <a:gd name="connsiteY209" fmla="*/ 2078874 h 2323145"/>
              <a:gd name="connsiteX210" fmla="*/ 2657742 w 11269336"/>
              <a:gd name="connsiteY210" fmla="*/ 2070179 h 2323145"/>
              <a:gd name="connsiteX211" fmla="*/ 2559549 w 11269336"/>
              <a:gd name="connsiteY211" fmla="*/ 2057873 h 2323145"/>
              <a:gd name="connsiteX212" fmla="*/ 2512054 w 11269336"/>
              <a:gd name="connsiteY212" fmla="*/ 2031671 h 2323145"/>
              <a:gd name="connsiteX213" fmla="*/ 2506437 w 11269336"/>
              <a:gd name="connsiteY213" fmla="*/ 2030918 h 2323145"/>
              <a:gd name="connsiteX214" fmla="*/ 2491752 w 11269336"/>
              <a:gd name="connsiteY214" fmla="*/ 2033906 h 2323145"/>
              <a:gd name="connsiteX215" fmla="*/ 2486338 w 11269336"/>
              <a:gd name="connsiteY215" fmla="*/ 2035862 h 2323145"/>
              <a:gd name="connsiteX216" fmla="*/ 2478186 w 11269336"/>
              <a:gd name="connsiteY216" fmla="*/ 2036953 h 2323145"/>
              <a:gd name="connsiteX217" fmla="*/ 2477950 w 11269336"/>
              <a:gd name="connsiteY217" fmla="*/ 2036715 h 2323145"/>
              <a:gd name="connsiteX218" fmla="*/ 2470381 w 11269336"/>
              <a:gd name="connsiteY218" fmla="*/ 2038256 h 2323145"/>
              <a:gd name="connsiteX219" fmla="*/ 2433781 w 11269336"/>
              <a:gd name="connsiteY219" fmla="*/ 2049140 h 2323145"/>
              <a:gd name="connsiteX220" fmla="*/ 2381172 w 11269336"/>
              <a:gd name="connsiteY220" fmla="*/ 2030645 h 2323145"/>
              <a:gd name="connsiteX221" fmla="*/ 2360198 w 11269336"/>
              <a:gd name="connsiteY221" fmla="*/ 2029059 h 2323145"/>
              <a:gd name="connsiteX222" fmla="*/ 2348815 w 11269336"/>
              <a:gd name="connsiteY222" fmla="*/ 2026798 h 2323145"/>
              <a:gd name="connsiteX223" fmla="*/ 2347988 w 11269336"/>
              <a:gd name="connsiteY223" fmla="*/ 2025745 h 2323145"/>
              <a:gd name="connsiteX224" fmla="*/ 2312920 w 11269336"/>
              <a:gd name="connsiteY224" fmla="*/ 2036311 h 2323145"/>
              <a:gd name="connsiteX225" fmla="*/ 2307986 w 11269336"/>
              <a:gd name="connsiteY225" fmla="*/ 2035583 h 2323145"/>
              <a:gd name="connsiteX226" fmla="*/ 2285481 w 11269336"/>
              <a:gd name="connsiteY226" fmla="*/ 2045197 h 2323145"/>
              <a:gd name="connsiteX227" fmla="*/ 2273666 w 11269336"/>
              <a:gd name="connsiteY227" fmla="*/ 2048710 h 2323145"/>
              <a:gd name="connsiteX228" fmla="*/ 2270719 w 11269336"/>
              <a:gd name="connsiteY228" fmla="*/ 2052702 h 2323145"/>
              <a:gd name="connsiteX229" fmla="*/ 2253080 w 11269336"/>
              <a:gd name="connsiteY229" fmla="*/ 2056363 h 2323145"/>
              <a:gd name="connsiteX230" fmla="*/ 2250906 w 11269336"/>
              <a:gd name="connsiteY230" fmla="*/ 2055654 h 2323145"/>
              <a:gd name="connsiteX231" fmla="*/ 2236905 w 11269336"/>
              <a:gd name="connsiteY231" fmla="*/ 2062882 h 2323145"/>
              <a:gd name="connsiteX232" fmla="*/ 2225830 w 11269336"/>
              <a:gd name="connsiteY232" fmla="*/ 2074027 h 2323145"/>
              <a:gd name="connsiteX233" fmla="*/ 2073776 w 11269336"/>
              <a:gd name="connsiteY233" fmla="*/ 2089244 h 2323145"/>
              <a:gd name="connsiteX234" fmla="*/ 1948256 w 11269336"/>
              <a:gd name="connsiteY234" fmla="*/ 2146616 h 2323145"/>
              <a:gd name="connsiteX235" fmla="*/ 1865582 w 11269336"/>
              <a:gd name="connsiteY235" fmla="*/ 2153738 h 2323145"/>
              <a:gd name="connsiteX236" fmla="*/ 1835210 w 11269336"/>
              <a:gd name="connsiteY236" fmla="*/ 2134244 h 2323145"/>
              <a:gd name="connsiteX237" fmla="*/ 1632661 w 11269336"/>
              <a:gd name="connsiteY237" fmla="*/ 2173882 h 2323145"/>
              <a:gd name="connsiteX238" fmla="*/ 1579590 w 11269336"/>
              <a:gd name="connsiteY238" fmla="*/ 2173680 h 2323145"/>
              <a:gd name="connsiteX239" fmla="*/ 1535601 w 11269336"/>
              <a:gd name="connsiteY239" fmla="*/ 2194590 h 2323145"/>
              <a:gd name="connsiteX240" fmla="*/ 1515594 w 11269336"/>
              <a:gd name="connsiteY240" fmla="*/ 2189622 h 2323145"/>
              <a:gd name="connsiteX241" fmla="*/ 1512113 w 11269336"/>
              <a:gd name="connsiteY241" fmla="*/ 2188534 h 2323145"/>
              <a:gd name="connsiteX242" fmla="*/ 1498838 w 11269336"/>
              <a:gd name="connsiteY242" fmla="*/ 2189213 h 2323145"/>
              <a:gd name="connsiteX243" fmla="*/ 1494279 w 11269336"/>
              <a:gd name="connsiteY243" fmla="*/ 2183112 h 2323145"/>
              <a:gd name="connsiteX244" fmla="*/ 1473714 w 11269336"/>
              <a:gd name="connsiteY244" fmla="*/ 2179625 h 2323145"/>
              <a:gd name="connsiteX245" fmla="*/ 1449503 w 11269336"/>
              <a:gd name="connsiteY245" fmla="*/ 2182633 h 2323145"/>
              <a:gd name="connsiteX246" fmla="*/ 1266687 w 11269336"/>
              <a:gd name="connsiteY246" fmla="*/ 2212688 h 2323145"/>
              <a:gd name="connsiteX247" fmla="*/ 1239614 w 11269336"/>
              <a:gd name="connsiteY247" fmla="*/ 2209727 h 2323145"/>
              <a:gd name="connsiteX248" fmla="*/ 1202436 w 11269336"/>
              <a:gd name="connsiteY248" fmla="*/ 2209817 h 2323145"/>
              <a:gd name="connsiteX249" fmla="*/ 1136097 w 11269336"/>
              <a:gd name="connsiteY249" fmla="*/ 2205112 h 2323145"/>
              <a:gd name="connsiteX250" fmla="*/ 988232 w 11269336"/>
              <a:gd name="connsiteY250" fmla="*/ 2235635 h 2323145"/>
              <a:gd name="connsiteX251" fmla="*/ 981959 w 11269336"/>
              <a:gd name="connsiteY251" fmla="*/ 2231607 h 2323145"/>
              <a:gd name="connsiteX252" fmla="*/ 938600 w 11269336"/>
              <a:gd name="connsiteY252" fmla="*/ 2238113 h 2323145"/>
              <a:gd name="connsiteX253" fmla="*/ 791788 w 11269336"/>
              <a:gd name="connsiteY253" fmla="*/ 2293224 h 2323145"/>
              <a:gd name="connsiteX254" fmla="*/ 706914 w 11269336"/>
              <a:gd name="connsiteY254" fmla="*/ 2305046 h 2323145"/>
              <a:gd name="connsiteX255" fmla="*/ 675971 w 11269336"/>
              <a:gd name="connsiteY255" fmla="*/ 2304030 h 2323145"/>
              <a:gd name="connsiteX256" fmla="*/ 624180 w 11269336"/>
              <a:gd name="connsiteY256" fmla="*/ 2302650 h 2323145"/>
              <a:gd name="connsiteX257" fmla="*/ 583453 w 11269336"/>
              <a:gd name="connsiteY257" fmla="*/ 2288788 h 2323145"/>
              <a:gd name="connsiteX258" fmla="*/ 540946 w 11269336"/>
              <a:gd name="connsiteY258" fmla="*/ 2292721 h 2323145"/>
              <a:gd name="connsiteX259" fmla="*/ 533680 w 11269336"/>
              <a:gd name="connsiteY259" fmla="*/ 2310233 h 2323145"/>
              <a:gd name="connsiteX260" fmla="*/ 487366 w 11269336"/>
              <a:gd name="connsiteY260" fmla="*/ 2309053 h 2323145"/>
              <a:gd name="connsiteX261" fmla="*/ 416820 w 11269336"/>
              <a:gd name="connsiteY261" fmla="*/ 2305443 h 2323145"/>
              <a:gd name="connsiteX262" fmla="*/ 376805 w 11269336"/>
              <a:gd name="connsiteY262" fmla="*/ 2307647 h 2323145"/>
              <a:gd name="connsiteX263" fmla="*/ 266777 w 11269336"/>
              <a:gd name="connsiteY263" fmla="*/ 2309012 h 2323145"/>
              <a:gd name="connsiteX264" fmla="*/ 156013 w 11269336"/>
              <a:gd name="connsiteY264" fmla="*/ 2306832 h 2323145"/>
              <a:gd name="connsiteX265" fmla="*/ 87258 w 11269336"/>
              <a:gd name="connsiteY265" fmla="*/ 2285511 h 2323145"/>
              <a:gd name="connsiteX266" fmla="*/ 23798 w 11269336"/>
              <a:gd name="connsiteY266" fmla="*/ 2281822 h 2323145"/>
              <a:gd name="connsiteX267" fmla="*/ 0 w 11269336"/>
              <a:gd name="connsiteY267" fmla="*/ 2285369 h 2323145"/>
              <a:gd name="connsiteX268" fmla="*/ 0 w 11269336"/>
              <a:gd name="connsiteY268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561831 w 11269336"/>
              <a:gd name="connsiteY19" fmla="*/ 547649 h 2323145"/>
              <a:gd name="connsiteX20" fmla="*/ 9380600 w 11269336"/>
              <a:gd name="connsiteY20" fmla="*/ 549821 h 2323145"/>
              <a:gd name="connsiteX21" fmla="*/ 9139429 w 11269336"/>
              <a:gd name="connsiteY21" fmla="*/ 696446 h 2323145"/>
              <a:gd name="connsiteX22" fmla="*/ 9114263 w 11269336"/>
              <a:gd name="connsiteY22" fmla="*/ 709213 h 2323145"/>
              <a:gd name="connsiteX23" fmla="*/ 9028928 w 11269336"/>
              <a:gd name="connsiteY23" fmla="*/ 745350 h 2323145"/>
              <a:gd name="connsiteX24" fmla="*/ 8977138 w 11269336"/>
              <a:gd name="connsiteY24" fmla="*/ 774970 h 2323145"/>
              <a:gd name="connsiteX25" fmla="*/ 8947030 w 11269336"/>
              <a:gd name="connsiteY25" fmla="*/ 814934 h 2323145"/>
              <a:gd name="connsiteX26" fmla="*/ 8914746 w 11269336"/>
              <a:gd name="connsiteY26" fmla="*/ 826428 h 2323145"/>
              <a:gd name="connsiteX27" fmla="*/ 8917778 w 11269336"/>
              <a:gd name="connsiteY27" fmla="*/ 835198 h 2323145"/>
              <a:gd name="connsiteX28" fmla="*/ 8905560 w 11269336"/>
              <a:gd name="connsiteY28" fmla="*/ 838358 h 2323145"/>
              <a:gd name="connsiteX29" fmla="*/ 8897564 w 11269336"/>
              <a:gd name="connsiteY29" fmla="*/ 834287 h 2323145"/>
              <a:gd name="connsiteX30" fmla="*/ 8878040 w 11269336"/>
              <a:gd name="connsiteY30" fmla="*/ 844150 h 2323145"/>
              <a:gd name="connsiteX31" fmla="*/ 8882654 w 11269336"/>
              <a:gd name="connsiteY31" fmla="*/ 892768 h 2323145"/>
              <a:gd name="connsiteX32" fmla="*/ 8795998 w 11269336"/>
              <a:gd name="connsiteY32" fmla="*/ 863337 h 2323145"/>
              <a:gd name="connsiteX33" fmla="*/ 8776970 w 11269336"/>
              <a:gd name="connsiteY33" fmla="*/ 885177 h 2323145"/>
              <a:gd name="connsiteX34" fmla="*/ 8755719 w 11269336"/>
              <a:gd name="connsiteY34" fmla="*/ 889754 h 2323145"/>
              <a:gd name="connsiteX35" fmla="*/ 8743257 w 11269336"/>
              <a:gd name="connsiteY35" fmla="*/ 904723 h 2323145"/>
              <a:gd name="connsiteX36" fmla="*/ 8721366 w 11269336"/>
              <a:gd name="connsiteY36" fmla="*/ 904711 h 2323145"/>
              <a:gd name="connsiteX37" fmla="*/ 8678353 w 11269336"/>
              <a:gd name="connsiteY37" fmla="*/ 926318 h 2323145"/>
              <a:gd name="connsiteX38" fmla="*/ 8636849 w 11269336"/>
              <a:gd name="connsiteY38" fmla="*/ 937900 h 2323145"/>
              <a:gd name="connsiteX39" fmla="*/ 8620213 w 11269336"/>
              <a:gd name="connsiteY39" fmla="*/ 943068 h 2323145"/>
              <a:gd name="connsiteX40" fmla="*/ 8612581 w 11269336"/>
              <a:gd name="connsiteY40" fmla="*/ 952695 h 2323145"/>
              <a:gd name="connsiteX41" fmla="*/ 8589038 w 11269336"/>
              <a:gd name="connsiteY41" fmla="*/ 963892 h 2323145"/>
              <a:gd name="connsiteX42" fmla="*/ 8579950 w 11269336"/>
              <a:gd name="connsiteY42" fmla="*/ 960899 h 2323145"/>
              <a:gd name="connsiteX43" fmla="*/ 8579319 w 11269336"/>
              <a:gd name="connsiteY43" fmla="*/ 965630 h 2323145"/>
              <a:gd name="connsiteX44" fmla="*/ 8547429 w 11269336"/>
              <a:gd name="connsiteY44" fmla="*/ 984506 h 2323145"/>
              <a:gd name="connsiteX45" fmla="*/ 8478704 w 11269336"/>
              <a:gd name="connsiteY45" fmla="*/ 1025490 h 2323145"/>
              <a:gd name="connsiteX46" fmla="*/ 8461421 w 11269336"/>
              <a:gd name="connsiteY46" fmla="*/ 1035512 h 2323145"/>
              <a:gd name="connsiteX47" fmla="*/ 8445003 w 11269336"/>
              <a:gd name="connsiteY47" fmla="*/ 1036851 h 2323145"/>
              <a:gd name="connsiteX48" fmla="*/ 8357350 w 11269336"/>
              <a:gd name="connsiteY48" fmla="*/ 1060213 h 2323145"/>
              <a:gd name="connsiteX49" fmla="*/ 8335565 w 11269336"/>
              <a:gd name="connsiteY49" fmla="*/ 1061151 h 2323145"/>
              <a:gd name="connsiteX50" fmla="*/ 8325267 w 11269336"/>
              <a:gd name="connsiteY50" fmla="*/ 1055919 h 2323145"/>
              <a:gd name="connsiteX51" fmla="*/ 8293586 w 11269336"/>
              <a:gd name="connsiteY51" fmla="*/ 1076144 h 2323145"/>
              <a:gd name="connsiteX52" fmla="*/ 8242405 w 11269336"/>
              <a:gd name="connsiteY52" fmla="*/ 1095960 h 2323145"/>
              <a:gd name="connsiteX53" fmla="*/ 8197391 w 11269336"/>
              <a:gd name="connsiteY53" fmla="*/ 1107746 h 2323145"/>
              <a:gd name="connsiteX54" fmla="*/ 8081474 w 11269336"/>
              <a:gd name="connsiteY54" fmla="*/ 1130125 h 2323145"/>
              <a:gd name="connsiteX55" fmla="*/ 8053585 w 11269336"/>
              <a:gd name="connsiteY55" fmla="*/ 1129169 h 2323145"/>
              <a:gd name="connsiteX56" fmla="*/ 8038422 w 11269336"/>
              <a:gd name="connsiteY56" fmla="*/ 1119092 h 2323145"/>
              <a:gd name="connsiteX57" fmla="*/ 8029450 w 11269336"/>
              <a:gd name="connsiteY57" fmla="*/ 1125592 h 2323145"/>
              <a:gd name="connsiteX58" fmla="*/ 7959552 w 11269336"/>
              <a:gd name="connsiteY58" fmla="*/ 1140188 h 2323145"/>
              <a:gd name="connsiteX59" fmla="*/ 7914188 w 11269336"/>
              <a:gd name="connsiteY59" fmla="*/ 1150862 h 2323145"/>
              <a:gd name="connsiteX60" fmla="*/ 7914918 w 11269336"/>
              <a:gd name="connsiteY60" fmla="*/ 1168758 h 2323145"/>
              <a:gd name="connsiteX61" fmla="*/ 7875510 w 11269336"/>
              <a:gd name="connsiteY61" fmla="*/ 1183153 h 2323145"/>
              <a:gd name="connsiteX62" fmla="*/ 7829932 w 11269336"/>
              <a:gd name="connsiteY62" fmla="*/ 1180782 h 2323145"/>
              <a:gd name="connsiteX63" fmla="*/ 7779182 w 11269336"/>
              <a:gd name="connsiteY63" fmla="*/ 1192665 h 2323145"/>
              <a:gd name="connsiteX64" fmla="*/ 7748774 w 11269336"/>
              <a:gd name="connsiteY64" fmla="*/ 1199586 h 2323145"/>
              <a:gd name="connsiteX65" fmla="*/ 7671846 w 11269336"/>
              <a:gd name="connsiteY65" fmla="*/ 1231966 h 2323145"/>
              <a:gd name="connsiteX66" fmla="*/ 7554146 w 11269336"/>
              <a:gd name="connsiteY66" fmla="*/ 1319748 h 2323145"/>
              <a:gd name="connsiteX67" fmla="*/ 7515052 w 11269336"/>
              <a:gd name="connsiteY67" fmla="*/ 1336718 h 2323145"/>
              <a:gd name="connsiteX68" fmla="*/ 7507193 w 11269336"/>
              <a:gd name="connsiteY68" fmla="*/ 1334617 h 2323145"/>
              <a:gd name="connsiteX69" fmla="*/ 7461694 w 11269336"/>
              <a:gd name="connsiteY69" fmla="*/ 1375866 h 2323145"/>
              <a:gd name="connsiteX70" fmla="*/ 7377571 w 11269336"/>
              <a:gd name="connsiteY70" fmla="*/ 1400128 h 2323145"/>
              <a:gd name="connsiteX71" fmla="*/ 7311261 w 11269336"/>
              <a:gd name="connsiteY71" fmla="*/ 1412652 h 2323145"/>
              <a:gd name="connsiteX72" fmla="*/ 7275307 w 11269336"/>
              <a:gd name="connsiteY72" fmla="*/ 1422171 h 2323145"/>
              <a:gd name="connsiteX73" fmla="*/ 7247783 w 11269336"/>
              <a:gd name="connsiteY73" fmla="*/ 1426330 h 2323145"/>
              <a:gd name="connsiteX74" fmla="*/ 7185047 w 11269336"/>
              <a:gd name="connsiteY74" fmla="*/ 1451812 h 2323145"/>
              <a:gd name="connsiteX75" fmla="*/ 7084117 w 11269336"/>
              <a:gd name="connsiteY75" fmla="*/ 1500281 h 2323145"/>
              <a:gd name="connsiteX76" fmla="*/ 7062011 w 11269336"/>
              <a:gd name="connsiteY76" fmla="*/ 1509183 h 2323145"/>
              <a:gd name="connsiteX77" fmla="*/ 7040555 w 11269336"/>
              <a:gd name="connsiteY77" fmla="*/ 1511207 h 2323145"/>
              <a:gd name="connsiteX78" fmla="*/ 7033438 w 11269336"/>
              <a:gd name="connsiteY78" fmla="*/ 1506772 h 2323145"/>
              <a:gd name="connsiteX79" fmla="*/ 7020886 w 11269336"/>
              <a:gd name="connsiteY79" fmla="*/ 1510764 h 2323145"/>
              <a:gd name="connsiteX80" fmla="*/ 7017033 w 11269336"/>
              <a:gd name="connsiteY80" fmla="*/ 1510650 h 2323145"/>
              <a:gd name="connsiteX81" fmla="*/ 6995460 w 11269336"/>
              <a:gd name="connsiteY81" fmla="*/ 1511173 h 2323145"/>
              <a:gd name="connsiteX82" fmla="*/ 6962144 w 11269336"/>
              <a:gd name="connsiteY82" fmla="*/ 1541508 h 2323145"/>
              <a:gd name="connsiteX83" fmla="*/ 6910674 w 11269336"/>
              <a:gd name="connsiteY83" fmla="*/ 1554793 h 2323145"/>
              <a:gd name="connsiteX84" fmla="*/ 6732152 w 11269336"/>
              <a:gd name="connsiteY84" fmla="*/ 1642538 h 2323145"/>
              <a:gd name="connsiteX85" fmla="*/ 6694106 w 11269336"/>
              <a:gd name="connsiteY85" fmla="*/ 1632377 h 2323145"/>
              <a:gd name="connsiteX86" fmla="*/ 6617223 w 11269336"/>
              <a:gd name="connsiteY86" fmla="*/ 1659889 h 2323145"/>
              <a:gd name="connsiteX87" fmla="*/ 6521138 w 11269336"/>
              <a:gd name="connsiteY87" fmla="*/ 1744340 h 2323145"/>
              <a:gd name="connsiteX88" fmla="*/ 6380677 w 11269336"/>
              <a:gd name="connsiteY88" fmla="*/ 1796883 h 2323145"/>
              <a:gd name="connsiteX89" fmla="*/ 6374897 w 11269336"/>
              <a:gd name="connsiteY89" fmla="*/ 1809910 h 2323145"/>
              <a:gd name="connsiteX90" fmla="*/ 6364545 w 11269336"/>
              <a:gd name="connsiteY90" fmla="*/ 1820090 h 2323145"/>
              <a:gd name="connsiteX91" fmla="*/ 6362126 w 11269336"/>
              <a:gd name="connsiteY91" fmla="*/ 1819991 h 2323145"/>
              <a:gd name="connsiteX92" fmla="*/ 6346673 w 11269336"/>
              <a:gd name="connsiteY92" fmla="*/ 1827824 h 2323145"/>
              <a:gd name="connsiteX93" fmla="*/ 6345588 w 11269336"/>
              <a:gd name="connsiteY93" fmla="*/ 1832232 h 2323145"/>
              <a:gd name="connsiteX94" fmla="*/ 6335708 w 11269336"/>
              <a:gd name="connsiteY94" fmla="*/ 1838451 h 2323145"/>
              <a:gd name="connsiteX95" fmla="*/ 6318182 w 11269336"/>
              <a:gd name="connsiteY95" fmla="*/ 1852975 h 2323145"/>
              <a:gd name="connsiteX96" fmla="*/ 6313084 w 11269336"/>
              <a:gd name="connsiteY96" fmla="*/ 1853561 h 2323145"/>
              <a:gd name="connsiteX97" fmla="*/ 6283816 w 11269336"/>
              <a:gd name="connsiteY97" fmla="*/ 1872148 h 2323145"/>
              <a:gd name="connsiteX98" fmla="*/ 6282550 w 11269336"/>
              <a:gd name="connsiteY98" fmla="*/ 1871392 h 2323145"/>
              <a:gd name="connsiteX99" fmla="*/ 6270527 w 11269336"/>
              <a:gd name="connsiteY99" fmla="*/ 1872208 h 2323145"/>
              <a:gd name="connsiteX100" fmla="*/ 6249518 w 11269336"/>
              <a:gd name="connsiteY100" fmla="*/ 1876079 h 2323145"/>
              <a:gd name="connsiteX101" fmla="*/ 6190386 w 11269336"/>
              <a:gd name="connsiteY101" fmla="*/ 1872478 h 2323145"/>
              <a:gd name="connsiteX102" fmla="*/ 6159777 w 11269336"/>
              <a:gd name="connsiteY102" fmla="*/ 1891745 h 2323145"/>
              <a:gd name="connsiteX103" fmla="*/ 6153131 w 11269336"/>
              <a:gd name="connsiteY103" fmla="*/ 1895079 h 2323145"/>
              <a:gd name="connsiteX104" fmla="*/ 6152798 w 11269336"/>
              <a:gd name="connsiteY104" fmla="*/ 1894920 h 2323145"/>
              <a:gd name="connsiteX105" fmla="*/ 6145388 w 11269336"/>
              <a:gd name="connsiteY105" fmla="*/ 1897990 h 2323145"/>
              <a:gd name="connsiteX106" fmla="*/ 6141014 w 11269336"/>
              <a:gd name="connsiteY106" fmla="*/ 1901155 h 2323145"/>
              <a:gd name="connsiteX107" fmla="*/ 6128122 w 11269336"/>
              <a:gd name="connsiteY107" fmla="*/ 1907623 h 2323145"/>
              <a:gd name="connsiteX108" fmla="*/ 6122351 w 11269336"/>
              <a:gd name="connsiteY108" fmla="*/ 1908359 h 2323145"/>
              <a:gd name="connsiteX109" fmla="*/ 6064750 w 11269336"/>
              <a:gd name="connsiteY109" fmla="*/ 1896394 h 2323145"/>
              <a:gd name="connsiteX110" fmla="*/ 5964230 w 11269336"/>
              <a:gd name="connsiteY110" fmla="*/ 1910038 h 2323145"/>
              <a:gd name="connsiteX111" fmla="*/ 5865399 w 11269336"/>
              <a:gd name="connsiteY111" fmla="*/ 1926966 h 2323145"/>
              <a:gd name="connsiteX112" fmla="*/ 5829951 w 11269336"/>
              <a:gd name="connsiteY112" fmla="*/ 1934755 h 2323145"/>
              <a:gd name="connsiteX113" fmla="*/ 5765285 w 11269336"/>
              <a:gd name="connsiteY113" fmla="*/ 1941322 h 2323145"/>
              <a:gd name="connsiteX114" fmla="*/ 5734750 w 11269336"/>
              <a:gd name="connsiteY114" fmla="*/ 1939793 h 2323145"/>
              <a:gd name="connsiteX115" fmla="*/ 5733569 w 11269336"/>
              <a:gd name="connsiteY115" fmla="*/ 1940505 h 2323145"/>
              <a:gd name="connsiteX116" fmla="*/ 5730329 w 11269336"/>
              <a:gd name="connsiteY116" fmla="*/ 1937845 h 2323145"/>
              <a:gd name="connsiteX117" fmla="*/ 5724661 w 11269336"/>
              <a:gd name="connsiteY117" fmla="*/ 1937455 h 2323145"/>
              <a:gd name="connsiteX118" fmla="*/ 5710186 w 11269336"/>
              <a:gd name="connsiteY118" fmla="*/ 1941370 h 2323145"/>
              <a:gd name="connsiteX119" fmla="*/ 5704910 w 11269336"/>
              <a:gd name="connsiteY119" fmla="*/ 1943663 h 2323145"/>
              <a:gd name="connsiteX120" fmla="*/ 5696836 w 11269336"/>
              <a:gd name="connsiteY120" fmla="*/ 1945271 h 2323145"/>
              <a:gd name="connsiteX121" fmla="*/ 5696583 w 11269336"/>
              <a:gd name="connsiteY121" fmla="*/ 1945050 h 2323145"/>
              <a:gd name="connsiteX122" fmla="*/ 5689123 w 11269336"/>
              <a:gd name="connsiteY122" fmla="*/ 1947067 h 2323145"/>
              <a:gd name="connsiteX123" fmla="*/ 5653291 w 11269336"/>
              <a:gd name="connsiteY123" fmla="*/ 1960245 h 2323145"/>
              <a:gd name="connsiteX124" fmla="*/ 5599385 w 11269336"/>
              <a:gd name="connsiteY124" fmla="*/ 1945198 h 2323145"/>
              <a:gd name="connsiteX125" fmla="*/ 5578300 w 11269336"/>
              <a:gd name="connsiteY125" fmla="*/ 1944963 h 2323145"/>
              <a:gd name="connsiteX126" fmla="*/ 5566758 w 11269336"/>
              <a:gd name="connsiteY126" fmla="*/ 1943441 h 2323145"/>
              <a:gd name="connsiteX127" fmla="*/ 5565857 w 11269336"/>
              <a:gd name="connsiteY127" fmla="*/ 1942445 h 2323145"/>
              <a:gd name="connsiteX128" fmla="*/ 5531534 w 11269336"/>
              <a:gd name="connsiteY128" fmla="*/ 1955208 h 2323145"/>
              <a:gd name="connsiteX129" fmla="*/ 5526552 w 11269336"/>
              <a:gd name="connsiteY129" fmla="*/ 1954799 h 2323145"/>
              <a:gd name="connsiteX130" fmla="*/ 5504723 w 11269336"/>
              <a:gd name="connsiteY130" fmla="*/ 1965811 h 2323145"/>
              <a:gd name="connsiteX131" fmla="*/ 5493156 w 11269336"/>
              <a:gd name="connsiteY131" fmla="*/ 1970063 h 2323145"/>
              <a:gd name="connsiteX132" fmla="*/ 5490486 w 11269336"/>
              <a:gd name="connsiteY132" fmla="*/ 1974227 h 2323145"/>
              <a:gd name="connsiteX133" fmla="*/ 5473107 w 11269336"/>
              <a:gd name="connsiteY133" fmla="*/ 1979001 h 2323145"/>
              <a:gd name="connsiteX134" fmla="*/ 5470885 w 11269336"/>
              <a:gd name="connsiteY134" fmla="*/ 1978432 h 2323145"/>
              <a:gd name="connsiteX135" fmla="*/ 5457393 w 11269336"/>
              <a:gd name="connsiteY135" fmla="*/ 1986525 h 2323145"/>
              <a:gd name="connsiteX136" fmla="*/ 5447102 w 11269336"/>
              <a:gd name="connsiteY136" fmla="*/ 1998329 h 2323145"/>
              <a:gd name="connsiteX137" fmla="*/ 5159151 w 11269336"/>
              <a:gd name="connsiteY137" fmla="*/ 2029640 h 2323145"/>
              <a:gd name="connsiteX138" fmla="*/ 5041688 w 11269336"/>
              <a:gd name="connsiteY138" fmla="*/ 2022334 h 2323145"/>
              <a:gd name="connsiteX139" fmla="*/ 4860988 w 11269336"/>
              <a:gd name="connsiteY139" fmla="*/ 2135698 h 2323145"/>
              <a:gd name="connsiteX140" fmla="*/ 4807902 w 11269336"/>
              <a:gd name="connsiteY140" fmla="*/ 2138894 h 2323145"/>
              <a:gd name="connsiteX141" fmla="*/ 4765388 w 11269336"/>
              <a:gd name="connsiteY141" fmla="*/ 2162525 h 2323145"/>
              <a:gd name="connsiteX142" fmla="*/ 4745033 w 11269336"/>
              <a:gd name="connsiteY142" fmla="*/ 2158859 h 2323145"/>
              <a:gd name="connsiteX143" fmla="*/ 4741475 w 11269336"/>
              <a:gd name="connsiteY143" fmla="*/ 2157998 h 2323145"/>
              <a:gd name="connsiteX144" fmla="*/ 4728247 w 11269336"/>
              <a:gd name="connsiteY144" fmla="*/ 2159526 h 2323145"/>
              <a:gd name="connsiteX145" fmla="*/ 4723263 w 11269336"/>
              <a:gd name="connsiteY145" fmla="*/ 2153742 h 2323145"/>
              <a:gd name="connsiteX146" fmla="*/ 4702453 w 11269336"/>
              <a:gd name="connsiteY146" fmla="*/ 2151586 h 2323145"/>
              <a:gd name="connsiteX147" fmla="*/ 4678455 w 11269336"/>
              <a:gd name="connsiteY147" fmla="*/ 2156131 h 2323145"/>
              <a:gd name="connsiteX148" fmla="*/ 4593061 w 11269336"/>
              <a:gd name="connsiteY148" fmla="*/ 2171597 h 2323145"/>
              <a:gd name="connsiteX149" fmla="*/ 4579902 w 11269336"/>
              <a:gd name="connsiteY149" fmla="*/ 2177927 h 2323145"/>
              <a:gd name="connsiteX150" fmla="*/ 4533444 w 11269336"/>
              <a:gd name="connsiteY150" fmla="*/ 2181200 h 2323145"/>
              <a:gd name="connsiteX151" fmla="*/ 4492832 w 11269336"/>
              <a:gd name="connsiteY151" fmla="*/ 2188033 h 2323145"/>
              <a:gd name="connsiteX152" fmla="*/ 4467257 w 11269336"/>
              <a:gd name="connsiteY152" fmla="*/ 2196121 h 2323145"/>
              <a:gd name="connsiteX153" fmla="*/ 4459937 w 11269336"/>
              <a:gd name="connsiteY153" fmla="*/ 2195182 h 2323145"/>
              <a:gd name="connsiteX154" fmla="*/ 4433312 w 11269336"/>
              <a:gd name="connsiteY154" fmla="*/ 2199004 h 2323145"/>
              <a:gd name="connsiteX155" fmla="*/ 4420601 w 11269336"/>
              <a:gd name="connsiteY155" fmla="*/ 2205158 h 2323145"/>
              <a:gd name="connsiteX156" fmla="*/ 4405765 w 11269336"/>
              <a:gd name="connsiteY156" fmla="*/ 2199902 h 2323145"/>
              <a:gd name="connsiteX157" fmla="*/ 4401354 w 11269336"/>
              <a:gd name="connsiteY157" fmla="*/ 2194745 h 2323145"/>
              <a:gd name="connsiteX158" fmla="*/ 4383151 w 11269336"/>
              <a:gd name="connsiteY158" fmla="*/ 2201140 h 2323145"/>
              <a:gd name="connsiteX159" fmla="*/ 4366646 w 11269336"/>
              <a:gd name="connsiteY159" fmla="*/ 2198564 h 2323145"/>
              <a:gd name="connsiteX160" fmla="*/ 4354009 w 11269336"/>
              <a:gd name="connsiteY160" fmla="*/ 2204984 h 2323145"/>
              <a:gd name="connsiteX161" fmla="*/ 4348284 w 11269336"/>
              <a:gd name="connsiteY161" fmla="*/ 2205270 h 2323145"/>
              <a:gd name="connsiteX162" fmla="*/ 4333906 w 11269336"/>
              <a:gd name="connsiteY162" fmla="*/ 2205251 h 2323145"/>
              <a:gd name="connsiteX163" fmla="*/ 4308819 w 11269336"/>
              <a:gd name="connsiteY163" fmla="*/ 2203822 h 2323145"/>
              <a:gd name="connsiteX164" fmla="*/ 4301210 w 11269336"/>
              <a:gd name="connsiteY164" fmla="*/ 2204456 h 2323145"/>
              <a:gd name="connsiteX165" fmla="*/ 4283095 w 11269336"/>
              <a:gd name="connsiteY165" fmla="*/ 2198177 h 2323145"/>
              <a:gd name="connsiteX166" fmla="*/ 4250119 w 11269336"/>
              <a:gd name="connsiteY166" fmla="*/ 2196342 h 2323145"/>
              <a:gd name="connsiteX167" fmla="*/ 4189203 w 11269336"/>
              <a:gd name="connsiteY167" fmla="*/ 2178994 h 2323145"/>
              <a:gd name="connsiteX168" fmla="*/ 4154035 w 11269336"/>
              <a:gd name="connsiteY168" fmla="*/ 2171950 h 2323145"/>
              <a:gd name="connsiteX169" fmla="*/ 4129569 w 11269336"/>
              <a:gd name="connsiteY169" fmla="*/ 2163850 h 2323145"/>
              <a:gd name="connsiteX170" fmla="*/ 4061250 w 11269336"/>
              <a:gd name="connsiteY170" fmla="*/ 2159236 h 2323145"/>
              <a:gd name="connsiteX171" fmla="*/ 3945480 w 11269336"/>
              <a:gd name="connsiteY171" fmla="*/ 2158279 h 2323145"/>
              <a:gd name="connsiteX172" fmla="*/ 3921468 w 11269336"/>
              <a:gd name="connsiteY172" fmla="*/ 2156588 h 2323145"/>
              <a:gd name="connsiteX173" fmla="*/ 3903348 w 11269336"/>
              <a:gd name="connsiteY173" fmla="*/ 2149220 h 2323145"/>
              <a:gd name="connsiteX174" fmla="*/ 3901342 w 11269336"/>
              <a:gd name="connsiteY174" fmla="*/ 2142355 h 2323145"/>
              <a:gd name="connsiteX175" fmla="*/ 3888539 w 11269336"/>
              <a:gd name="connsiteY175" fmla="*/ 2140476 h 2323145"/>
              <a:gd name="connsiteX176" fmla="*/ 3885662 w 11269336"/>
              <a:gd name="connsiteY176" fmla="*/ 2138740 h 2323145"/>
              <a:gd name="connsiteX177" fmla="*/ 3868627 w 11269336"/>
              <a:gd name="connsiteY177" fmla="*/ 2130023 h 2323145"/>
              <a:gd name="connsiteX178" fmla="*/ 3819177 w 11269336"/>
              <a:gd name="connsiteY178" fmla="*/ 2142111 h 2323145"/>
              <a:gd name="connsiteX179" fmla="*/ 3769100 w 11269336"/>
              <a:gd name="connsiteY179" fmla="*/ 2131731 h 2323145"/>
              <a:gd name="connsiteX180" fmla="*/ 3562752 w 11269336"/>
              <a:gd name="connsiteY180" fmla="*/ 2131785 h 2323145"/>
              <a:gd name="connsiteX181" fmla="*/ 3541402 w 11269336"/>
              <a:gd name="connsiteY181" fmla="*/ 2106821 h 2323145"/>
              <a:gd name="connsiteX182" fmla="*/ 3365341 w 11269336"/>
              <a:gd name="connsiteY182" fmla="*/ 2077638 h 2323145"/>
              <a:gd name="connsiteX183" fmla="*/ 3170922 w 11269336"/>
              <a:gd name="connsiteY183" fmla="*/ 2115957 h 2323145"/>
              <a:gd name="connsiteX184" fmla="*/ 3156256 w 11269336"/>
              <a:gd name="connsiteY184" fmla="*/ 2124773 h 2323145"/>
              <a:gd name="connsiteX185" fmla="*/ 3140298 w 11269336"/>
              <a:gd name="connsiteY185" fmla="*/ 2129182 h 2323145"/>
              <a:gd name="connsiteX186" fmla="*/ 3138514 w 11269336"/>
              <a:gd name="connsiteY186" fmla="*/ 2128069 h 2323145"/>
              <a:gd name="connsiteX187" fmla="*/ 3120467 w 11269336"/>
              <a:gd name="connsiteY187" fmla="*/ 2128281 h 2323145"/>
              <a:gd name="connsiteX188" fmla="*/ 3116175 w 11269336"/>
              <a:gd name="connsiteY188" fmla="*/ 2131633 h 2323145"/>
              <a:gd name="connsiteX189" fmla="*/ 3103685 w 11269336"/>
              <a:gd name="connsiteY189" fmla="*/ 2132814 h 2323145"/>
              <a:gd name="connsiteX190" fmla="*/ 3078794 w 11269336"/>
              <a:gd name="connsiteY190" fmla="*/ 2137935 h 2323145"/>
              <a:gd name="connsiteX191" fmla="*/ 3074407 w 11269336"/>
              <a:gd name="connsiteY191" fmla="*/ 2136274 h 2323145"/>
              <a:gd name="connsiteX192" fmla="*/ 3037285 w 11269336"/>
              <a:gd name="connsiteY192" fmla="*/ 2139919 h 2323145"/>
              <a:gd name="connsiteX193" fmla="*/ 3036901 w 11269336"/>
              <a:gd name="connsiteY193" fmla="*/ 2138726 h 2323145"/>
              <a:gd name="connsiteX194" fmla="*/ 3026996 w 11269336"/>
              <a:gd name="connsiteY194" fmla="*/ 2134322 h 2323145"/>
              <a:gd name="connsiteX195" fmla="*/ 3007772 w 11269336"/>
              <a:gd name="connsiteY195" fmla="*/ 2128742 h 2323145"/>
              <a:gd name="connsiteX196" fmla="*/ 2965030 w 11269336"/>
              <a:gd name="connsiteY196" fmla="*/ 2100494 h 2323145"/>
              <a:gd name="connsiteX197" fmla="*/ 2926342 w 11269336"/>
              <a:gd name="connsiteY197" fmla="*/ 2104155 h 2323145"/>
              <a:gd name="connsiteX198" fmla="*/ 2918608 w 11269336"/>
              <a:gd name="connsiteY198" fmla="*/ 2104215 h 2323145"/>
              <a:gd name="connsiteX199" fmla="*/ 2918475 w 11269336"/>
              <a:gd name="connsiteY199" fmla="*/ 2103937 h 2323145"/>
              <a:gd name="connsiteX200" fmla="*/ 2910360 w 11269336"/>
              <a:gd name="connsiteY200" fmla="*/ 2103444 h 2323145"/>
              <a:gd name="connsiteX201" fmla="*/ 2904507 w 11269336"/>
              <a:gd name="connsiteY201" fmla="*/ 2104326 h 2323145"/>
              <a:gd name="connsiteX202" fmla="*/ 2889503 w 11269336"/>
              <a:gd name="connsiteY202" fmla="*/ 2104443 h 2323145"/>
              <a:gd name="connsiteX203" fmla="*/ 2884480 w 11269336"/>
              <a:gd name="connsiteY203" fmla="*/ 2102626 h 2323145"/>
              <a:gd name="connsiteX204" fmla="*/ 2882689 w 11269336"/>
              <a:gd name="connsiteY204" fmla="*/ 2099228 h 2323145"/>
              <a:gd name="connsiteX205" fmla="*/ 2881291 w 11269336"/>
              <a:gd name="connsiteY205" fmla="*/ 2099618 h 2323145"/>
              <a:gd name="connsiteX206" fmla="*/ 2853979 w 11269336"/>
              <a:gd name="connsiteY206" fmla="*/ 2090388 h 2323145"/>
              <a:gd name="connsiteX207" fmla="*/ 2791790 w 11269336"/>
              <a:gd name="connsiteY207" fmla="*/ 2080332 h 2323145"/>
              <a:gd name="connsiteX208" fmla="*/ 2755844 w 11269336"/>
              <a:gd name="connsiteY208" fmla="*/ 2078874 h 2323145"/>
              <a:gd name="connsiteX209" fmla="*/ 2657742 w 11269336"/>
              <a:gd name="connsiteY209" fmla="*/ 2070179 h 2323145"/>
              <a:gd name="connsiteX210" fmla="*/ 2559549 w 11269336"/>
              <a:gd name="connsiteY210" fmla="*/ 2057873 h 2323145"/>
              <a:gd name="connsiteX211" fmla="*/ 2512054 w 11269336"/>
              <a:gd name="connsiteY211" fmla="*/ 2031671 h 2323145"/>
              <a:gd name="connsiteX212" fmla="*/ 2506437 w 11269336"/>
              <a:gd name="connsiteY212" fmla="*/ 2030918 h 2323145"/>
              <a:gd name="connsiteX213" fmla="*/ 2491752 w 11269336"/>
              <a:gd name="connsiteY213" fmla="*/ 2033906 h 2323145"/>
              <a:gd name="connsiteX214" fmla="*/ 2486338 w 11269336"/>
              <a:gd name="connsiteY214" fmla="*/ 2035862 h 2323145"/>
              <a:gd name="connsiteX215" fmla="*/ 2478186 w 11269336"/>
              <a:gd name="connsiteY215" fmla="*/ 2036953 h 2323145"/>
              <a:gd name="connsiteX216" fmla="*/ 2477950 w 11269336"/>
              <a:gd name="connsiteY216" fmla="*/ 2036715 h 2323145"/>
              <a:gd name="connsiteX217" fmla="*/ 2470381 w 11269336"/>
              <a:gd name="connsiteY217" fmla="*/ 2038256 h 2323145"/>
              <a:gd name="connsiteX218" fmla="*/ 2433781 w 11269336"/>
              <a:gd name="connsiteY218" fmla="*/ 2049140 h 2323145"/>
              <a:gd name="connsiteX219" fmla="*/ 2381172 w 11269336"/>
              <a:gd name="connsiteY219" fmla="*/ 2030645 h 2323145"/>
              <a:gd name="connsiteX220" fmla="*/ 2360198 w 11269336"/>
              <a:gd name="connsiteY220" fmla="*/ 2029059 h 2323145"/>
              <a:gd name="connsiteX221" fmla="*/ 2348815 w 11269336"/>
              <a:gd name="connsiteY221" fmla="*/ 2026798 h 2323145"/>
              <a:gd name="connsiteX222" fmla="*/ 2347988 w 11269336"/>
              <a:gd name="connsiteY222" fmla="*/ 2025745 h 2323145"/>
              <a:gd name="connsiteX223" fmla="*/ 2312920 w 11269336"/>
              <a:gd name="connsiteY223" fmla="*/ 2036311 h 2323145"/>
              <a:gd name="connsiteX224" fmla="*/ 2307986 w 11269336"/>
              <a:gd name="connsiteY224" fmla="*/ 2035583 h 2323145"/>
              <a:gd name="connsiteX225" fmla="*/ 2285481 w 11269336"/>
              <a:gd name="connsiteY225" fmla="*/ 2045197 h 2323145"/>
              <a:gd name="connsiteX226" fmla="*/ 2273666 w 11269336"/>
              <a:gd name="connsiteY226" fmla="*/ 2048710 h 2323145"/>
              <a:gd name="connsiteX227" fmla="*/ 2270719 w 11269336"/>
              <a:gd name="connsiteY227" fmla="*/ 2052702 h 2323145"/>
              <a:gd name="connsiteX228" fmla="*/ 2253080 w 11269336"/>
              <a:gd name="connsiteY228" fmla="*/ 2056363 h 2323145"/>
              <a:gd name="connsiteX229" fmla="*/ 2250906 w 11269336"/>
              <a:gd name="connsiteY229" fmla="*/ 2055654 h 2323145"/>
              <a:gd name="connsiteX230" fmla="*/ 2236905 w 11269336"/>
              <a:gd name="connsiteY230" fmla="*/ 2062882 h 2323145"/>
              <a:gd name="connsiteX231" fmla="*/ 2225830 w 11269336"/>
              <a:gd name="connsiteY231" fmla="*/ 2074027 h 2323145"/>
              <a:gd name="connsiteX232" fmla="*/ 2073776 w 11269336"/>
              <a:gd name="connsiteY232" fmla="*/ 2089244 h 2323145"/>
              <a:gd name="connsiteX233" fmla="*/ 1948256 w 11269336"/>
              <a:gd name="connsiteY233" fmla="*/ 2146616 h 2323145"/>
              <a:gd name="connsiteX234" fmla="*/ 1865582 w 11269336"/>
              <a:gd name="connsiteY234" fmla="*/ 2153738 h 2323145"/>
              <a:gd name="connsiteX235" fmla="*/ 1835210 w 11269336"/>
              <a:gd name="connsiteY235" fmla="*/ 2134244 h 2323145"/>
              <a:gd name="connsiteX236" fmla="*/ 1632661 w 11269336"/>
              <a:gd name="connsiteY236" fmla="*/ 2173882 h 2323145"/>
              <a:gd name="connsiteX237" fmla="*/ 1579590 w 11269336"/>
              <a:gd name="connsiteY237" fmla="*/ 2173680 h 2323145"/>
              <a:gd name="connsiteX238" fmla="*/ 1535601 w 11269336"/>
              <a:gd name="connsiteY238" fmla="*/ 2194590 h 2323145"/>
              <a:gd name="connsiteX239" fmla="*/ 1515594 w 11269336"/>
              <a:gd name="connsiteY239" fmla="*/ 2189622 h 2323145"/>
              <a:gd name="connsiteX240" fmla="*/ 1512113 w 11269336"/>
              <a:gd name="connsiteY240" fmla="*/ 2188534 h 2323145"/>
              <a:gd name="connsiteX241" fmla="*/ 1498838 w 11269336"/>
              <a:gd name="connsiteY241" fmla="*/ 2189213 h 2323145"/>
              <a:gd name="connsiteX242" fmla="*/ 1494279 w 11269336"/>
              <a:gd name="connsiteY242" fmla="*/ 2183112 h 2323145"/>
              <a:gd name="connsiteX243" fmla="*/ 1473714 w 11269336"/>
              <a:gd name="connsiteY243" fmla="*/ 2179625 h 2323145"/>
              <a:gd name="connsiteX244" fmla="*/ 1449503 w 11269336"/>
              <a:gd name="connsiteY244" fmla="*/ 2182633 h 2323145"/>
              <a:gd name="connsiteX245" fmla="*/ 1266687 w 11269336"/>
              <a:gd name="connsiteY245" fmla="*/ 2212688 h 2323145"/>
              <a:gd name="connsiteX246" fmla="*/ 1239614 w 11269336"/>
              <a:gd name="connsiteY246" fmla="*/ 2209727 h 2323145"/>
              <a:gd name="connsiteX247" fmla="*/ 1202436 w 11269336"/>
              <a:gd name="connsiteY247" fmla="*/ 2209817 h 2323145"/>
              <a:gd name="connsiteX248" fmla="*/ 1136097 w 11269336"/>
              <a:gd name="connsiteY248" fmla="*/ 2205112 h 2323145"/>
              <a:gd name="connsiteX249" fmla="*/ 988232 w 11269336"/>
              <a:gd name="connsiteY249" fmla="*/ 2235635 h 2323145"/>
              <a:gd name="connsiteX250" fmla="*/ 981959 w 11269336"/>
              <a:gd name="connsiteY250" fmla="*/ 2231607 h 2323145"/>
              <a:gd name="connsiteX251" fmla="*/ 938600 w 11269336"/>
              <a:gd name="connsiteY251" fmla="*/ 2238113 h 2323145"/>
              <a:gd name="connsiteX252" fmla="*/ 791788 w 11269336"/>
              <a:gd name="connsiteY252" fmla="*/ 2293224 h 2323145"/>
              <a:gd name="connsiteX253" fmla="*/ 706914 w 11269336"/>
              <a:gd name="connsiteY253" fmla="*/ 2305046 h 2323145"/>
              <a:gd name="connsiteX254" fmla="*/ 675971 w 11269336"/>
              <a:gd name="connsiteY254" fmla="*/ 2304030 h 2323145"/>
              <a:gd name="connsiteX255" fmla="*/ 624180 w 11269336"/>
              <a:gd name="connsiteY255" fmla="*/ 2302650 h 2323145"/>
              <a:gd name="connsiteX256" fmla="*/ 583453 w 11269336"/>
              <a:gd name="connsiteY256" fmla="*/ 2288788 h 2323145"/>
              <a:gd name="connsiteX257" fmla="*/ 540946 w 11269336"/>
              <a:gd name="connsiteY257" fmla="*/ 2292721 h 2323145"/>
              <a:gd name="connsiteX258" fmla="*/ 533680 w 11269336"/>
              <a:gd name="connsiteY258" fmla="*/ 2310233 h 2323145"/>
              <a:gd name="connsiteX259" fmla="*/ 487366 w 11269336"/>
              <a:gd name="connsiteY259" fmla="*/ 2309053 h 2323145"/>
              <a:gd name="connsiteX260" fmla="*/ 416820 w 11269336"/>
              <a:gd name="connsiteY260" fmla="*/ 2305443 h 2323145"/>
              <a:gd name="connsiteX261" fmla="*/ 376805 w 11269336"/>
              <a:gd name="connsiteY261" fmla="*/ 2307647 h 2323145"/>
              <a:gd name="connsiteX262" fmla="*/ 266777 w 11269336"/>
              <a:gd name="connsiteY262" fmla="*/ 2309012 h 2323145"/>
              <a:gd name="connsiteX263" fmla="*/ 156013 w 11269336"/>
              <a:gd name="connsiteY263" fmla="*/ 2306832 h 2323145"/>
              <a:gd name="connsiteX264" fmla="*/ 87258 w 11269336"/>
              <a:gd name="connsiteY264" fmla="*/ 2285511 h 2323145"/>
              <a:gd name="connsiteX265" fmla="*/ 23798 w 11269336"/>
              <a:gd name="connsiteY265" fmla="*/ 2281822 h 2323145"/>
              <a:gd name="connsiteX266" fmla="*/ 0 w 11269336"/>
              <a:gd name="connsiteY266" fmla="*/ 2285369 h 2323145"/>
              <a:gd name="connsiteX267" fmla="*/ 0 w 11269336"/>
              <a:gd name="connsiteY267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742561 w 11269336"/>
              <a:gd name="connsiteY18" fmla="*/ 50043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114263 w 11269336"/>
              <a:gd name="connsiteY21" fmla="*/ 709213 h 2323145"/>
              <a:gd name="connsiteX22" fmla="*/ 9028928 w 11269336"/>
              <a:gd name="connsiteY22" fmla="*/ 745350 h 2323145"/>
              <a:gd name="connsiteX23" fmla="*/ 8977138 w 11269336"/>
              <a:gd name="connsiteY23" fmla="*/ 774970 h 2323145"/>
              <a:gd name="connsiteX24" fmla="*/ 8947030 w 11269336"/>
              <a:gd name="connsiteY24" fmla="*/ 814934 h 2323145"/>
              <a:gd name="connsiteX25" fmla="*/ 8914746 w 11269336"/>
              <a:gd name="connsiteY25" fmla="*/ 826428 h 2323145"/>
              <a:gd name="connsiteX26" fmla="*/ 8917778 w 11269336"/>
              <a:gd name="connsiteY26" fmla="*/ 835198 h 2323145"/>
              <a:gd name="connsiteX27" fmla="*/ 8905560 w 11269336"/>
              <a:gd name="connsiteY27" fmla="*/ 838358 h 2323145"/>
              <a:gd name="connsiteX28" fmla="*/ 8897564 w 11269336"/>
              <a:gd name="connsiteY28" fmla="*/ 834287 h 2323145"/>
              <a:gd name="connsiteX29" fmla="*/ 8878040 w 11269336"/>
              <a:gd name="connsiteY29" fmla="*/ 844150 h 2323145"/>
              <a:gd name="connsiteX30" fmla="*/ 8882654 w 11269336"/>
              <a:gd name="connsiteY30" fmla="*/ 892768 h 2323145"/>
              <a:gd name="connsiteX31" fmla="*/ 8795998 w 11269336"/>
              <a:gd name="connsiteY31" fmla="*/ 863337 h 2323145"/>
              <a:gd name="connsiteX32" fmla="*/ 8776970 w 11269336"/>
              <a:gd name="connsiteY32" fmla="*/ 885177 h 2323145"/>
              <a:gd name="connsiteX33" fmla="*/ 8755719 w 11269336"/>
              <a:gd name="connsiteY33" fmla="*/ 889754 h 2323145"/>
              <a:gd name="connsiteX34" fmla="*/ 8743257 w 11269336"/>
              <a:gd name="connsiteY34" fmla="*/ 904723 h 2323145"/>
              <a:gd name="connsiteX35" fmla="*/ 8721366 w 11269336"/>
              <a:gd name="connsiteY35" fmla="*/ 904711 h 2323145"/>
              <a:gd name="connsiteX36" fmla="*/ 8678353 w 11269336"/>
              <a:gd name="connsiteY36" fmla="*/ 926318 h 2323145"/>
              <a:gd name="connsiteX37" fmla="*/ 8636849 w 11269336"/>
              <a:gd name="connsiteY37" fmla="*/ 937900 h 2323145"/>
              <a:gd name="connsiteX38" fmla="*/ 8620213 w 11269336"/>
              <a:gd name="connsiteY38" fmla="*/ 943068 h 2323145"/>
              <a:gd name="connsiteX39" fmla="*/ 8612581 w 11269336"/>
              <a:gd name="connsiteY39" fmla="*/ 952695 h 2323145"/>
              <a:gd name="connsiteX40" fmla="*/ 8589038 w 11269336"/>
              <a:gd name="connsiteY40" fmla="*/ 963892 h 2323145"/>
              <a:gd name="connsiteX41" fmla="*/ 8579950 w 11269336"/>
              <a:gd name="connsiteY41" fmla="*/ 960899 h 2323145"/>
              <a:gd name="connsiteX42" fmla="*/ 8579319 w 11269336"/>
              <a:gd name="connsiteY42" fmla="*/ 965630 h 2323145"/>
              <a:gd name="connsiteX43" fmla="*/ 8547429 w 11269336"/>
              <a:gd name="connsiteY43" fmla="*/ 984506 h 2323145"/>
              <a:gd name="connsiteX44" fmla="*/ 8478704 w 11269336"/>
              <a:gd name="connsiteY44" fmla="*/ 1025490 h 2323145"/>
              <a:gd name="connsiteX45" fmla="*/ 8461421 w 11269336"/>
              <a:gd name="connsiteY45" fmla="*/ 1035512 h 2323145"/>
              <a:gd name="connsiteX46" fmla="*/ 8445003 w 11269336"/>
              <a:gd name="connsiteY46" fmla="*/ 1036851 h 2323145"/>
              <a:gd name="connsiteX47" fmla="*/ 8357350 w 11269336"/>
              <a:gd name="connsiteY47" fmla="*/ 1060213 h 2323145"/>
              <a:gd name="connsiteX48" fmla="*/ 8335565 w 11269336"/>
              <a:gd name="connsiteY48" fmla="*/ 1061151 h 2323145"/>
              <a:gd name="connsiteX49" fmla="*/ 8325267 w 11269336"/>
              <a:gd name="connsiteY49" fmla="*/ 1055919 h 2323145"/>
              <a:gd name="connsiteX50" fmla="*/ 8293586 w 11269336"/>
              <a:gd name="connsiteY50" fmla="*/ 1076144 h 2323145"/>
              <a:gd name="connsiteX51" fmla="*/ 8242405 w 11269336"/>
              <a:gd name="connsiteY51" fmla="*/ 1095960 h 2323145"/>
              <a:gd name="connsiteX52" fmla="*/ 8197391 w 11269336"/>
              <a:gd name="connsiteY52" fmla="*/ 1107746 h 2323145"/>
              <a:gd name="connsiteX53" fmla="*/ 8081474 w 11269336"/>
              <a:gd name="connsiteY53" fmla="*/ 1130125 h 2323145"/>
              <a:gd name="connsiteX54" fmla="*/ 8053585 w 11269336"/>
              <a:gd name="connsiteY54" fmla="*/ 1129169 h 2323145"/>
              <a:gd name="connsiteX55" fmla="*/ 8038422 w 11269336"/>
              <a:gd name="connsiteY55" fmla="*/ 1119092 h 2323145"/>
              <a:gd name="connsiteX56" fmla="*/ 8029450 w 11269336"/>
              <a:gd name="connsiteY56" fmla="*/ 1125592 h 2323145"/>
              <a:gd name="connsiteX57" fmla="*/ 7959552 w 11269336"/>
              <a:gd name="connsiteY57" fmla="*/ 1140188 h 2323145"/>
              <a:gd name="connsiteX58" fmla="*/ 7914188 w 11269336"/>
              <a:gd name="connsiteY58" fmla="*/ 1150862 h 2323145"/>
              <a:gd name="connsiteX59" fmla="*/ 7914918 w 11269336"/>
              <a:gd name="connsiteY59" fmla="*/ 1168758 h 2323145"/>
              <a:gd name="connsiteX60" fmla="*/ 7875510 w 11269336"/>
              <a:gd name="connsiteY60" fmla="*/ 1183153 h 2323145"/>
              <a:gd name="connsiteX61" fmla="*/ 7829932 w 11269336"/>
              <a:gd name="connsiteY61" fmla="*/ 1180782 h 2323145"/>
              <a:gd name="connsiteX62" fmla="*/ 7779182 w 11269336"/>
              <a:gd name="connsiteY62" fmla="*/ 1192665 h 2323145"/>
              <a:gd name="connsiteX63" fmla="*/ 7748774 w 11269336"/>
              <a:gd name="connsiteY63" fmla="*/ 1199586 h 2323145"/>
              <a:gd name="connsiteX64" fmla="*/ 7671846 w 11269336"/>
              <a:gd name="connsiteY64" fmla="*/ 1231966 h 2323145"/>
              <a:gd name="connsiteX65" fmla="*/ 7554146 w 11269336"/>
              <a:gd name="connsiteY65" fmla="*/ 1319748 h 2323145"/>
              <a:gd name="connsiteX66" fmla="*/ 7515052 w 11269336"/>
              <a:gd name="connsiteY66" fmla="*/ 1336718 h 2323145"/>
              <a:gd name="connsiteX67" fmla="*/ 7507193 w 11269336"/>
              <a:gd name="connsiteY67" fmla="*/ 1334617 h 2323145"/>
              <a:gd name="connsiteX68" fmla="*/ 7461694 w 11269336"/>
              <a:gd name="connsiteY68" fmla="*/ 1375866 h 2323145"/>
              <a:gd name="connsiteX69" fmla="*/ 7377571 w 11269336"/>
              <a:gd name="connsiteY69" fmla="*/ 1400128 h 2323145"/>
              <a:gd name="connsiteX70" fmla="*/ 7311261 w 11269336"/>
              <a:gd name="connsiteY70" fmla="*/ 1412652 h 2323145"/>
              <a:gd name="connsiteX71" fmla="*/ 7275307 w 11269336"/>
              <a:gd name="connsiteY71" fmla="*/ 1422171 h 2323145"/>
              <a:gd name="connsiteX72" fmla="*/ 7247783 w 11269336"/>
              <a:gd name="connsiteY72" fmla="*/ 1426330 h 2323145"/>
              <a:gd name="connsiteX73" fmla="*/ 7185047 w 11269336"/>
              <a:gd name="connsiteY73" fmla="*/ 1451812 h 2323145"/>
              <a:gd name="connsiteX74" fmla="*/ 7084117 w 11269336"/>
              <a:gd name="connsiteY74" fmla="*/ 1500281 h 2323145"/>
              <a:gd name="connsiteX75" fmla="*/ 7062011 w 11269336"/>
              <a:gd name="connsiteY75" fmla="*/ 1509183 h 2323145"/>
              <a:gd name="connsiteX76" fmla="*/ 7040555 w 11269336"/>
              <a:gd name="connsiteY76" fmla="*/ 1511207 h 2323145"/>
              <a:gd name="connsiteX77" fmla="*/ 7033438 w 11269336"/>
              <a:gd name="connsiteY77" fmla="*/ 1506772 h 2323145"/>
              <a:gd name="connsiteX78" fmla="*/ 7020886 w 11269336"/>
              <a:gd name="connsiteY78" fmla="*/ 1510764 h 2323145"/>
              <a:gd name="connsiteX79" fmla="*/ 7017033 w 11269336"/>
              <a:gd name="connsiteY79" fmla="*/ 1510650 h 2323145"/>
              <a:gd name="connsiteX80" fmla="*/ 6995460 w 11269336"/>
              <a:gd name="connsiteY80" fmla="*/ 1511173 h 2323145"/>
              <a:gd name="connsiteX81" fmla="*/ 6962144 w 11269336"/>
              <a:gd name="connsiteY81" fmla="*/ 1541508 h 2323145"/>
              <a:gd name="connsiteX82" fmla="*/ 6910674 w 11269336"/>
              <a:gd name="connsiteY82" fmla="*/ 1554793 h 2323145"/>
              <a:gd name="connsiteX83" fmla="*/ 6732152 w 11269336"/>
              <a:gd name="connsiteY83" fmla="*/ 1642538 h 2323145"/>
              <a:gd name="connsiteX84" fmla="*/ 6694106 w 11269336"/>
              <a:gd name="connsiteY84" fmla="*/ 1632377 h 2323145"/>
              <a:gd name="connsiteX85" fmla="*/ 6617223 w 11269336"/>
              <a:gd name="connsiteY85" fmla="*/ 1659889 h 2323145"/>
              <a:gd name="connsiteX86" fmla="*/ 6521138 w 11269336"/>
              <a:gd name="connsiteY86" fmla="*/ 1744340 h 2323145"/>
              <a:gd name="connsiteX87" fmla="*/ 6380677 w 11269336"/>
              <a:gd name="connsiteY87" fmla="*/ 1796883 h 2323145"/>
              <a:gd name="connsiteX88" fmla="*/ 6374897 w 11269336"/>
              <a:gd name="connsiteY88" fmla="*/ 1809910 h 2323145"/>
              <a:gd name="connsiteX89" fmla="*/ 6364545 w 11269336"/>
              <a:gd name="connsiteY89" fmla="*/ 1820090 h 2323145"/>
              <a:gd name="connsiteX90" fmla="*/ 6362126 w 11269336"/>
              <a:gd name="connsiteY90" fmla="*/ 1819991 h 2323145"/>
              <a:gd name="connsiteX91" fmla="*/ 6346673 w 11269336"/>
              <a:gd name="connsiteY91" fmla="*/ 1827824 h 2323145"/>
              <a:gd name="connsiteX92" fmla="*/ 6345588 w 11269336"/>
              <a:gd name="connsiteY92" fmla="*/ 1832232 h 2323145"/>
              <a:gd name="connsiteX93" fmla="*/ 6335708 w 11269336"/>
              <a:gd name="connsiteY93" fmla="*/ 1838451 h 2323145"/>
              <a:gd name="connsiteX94" fmla="*/ 6318182 w 11269336"/>
              <a:gd name="connsiteY94" fmla="*/ 1852975 h 2323145"/>
              <a:gd name="connsiteX95" fmla="*/ 6313084 w 11269336"/>
              <a:gd name="connsiteY95" fmla="*/ 1853561 h 2323145"/>
              <a:gd name="connsiteX96" fmla="*/ 6283816 w 11269336"/>
              <a:gd name="connsiteY96" fmla="*/ 1872148 h 2323145"/>
              <a:gd name="connsiteX97" fmla="*/ 6282550 w 11269336"/>
              <a:gd name="connsiteY97" fmla="*/ 1871392 h 2323145"/>
              <a:gd name="connsiteX98" fmla="*/ 6270527 w 11269336"/>
              <a:gd name="connsiteY98" fmla="*/ 1872208 h 2323145"/>
              <a:gd name="connsiteX99" fmla="*/ 6249518 w 11269336"/>
              <a:gd name="connsiteY99" fmla="*/ 1876079 h 2323145"/>
              <a:gd name="connsiteX100" fmla="*/ 6190386 w 11269336"/>
              <a:gd name="connsiteY100" fmla="*/ 1872478 h 2323145"/>
              <a:gd name="connsiteX101" fmla="*/ 6159777 w 11269336"/>
              <a:gd name="connsiteY101" fmla="*/ 1891745 h 2323145"/>
              <a:gd name="connsiteX102" fmla="*/ 6153131 w 11269336"/>
              <a:gd name="connsiteY102" fmla="*/ 1895079 h 2323145"/>
              <a:gd name="connsiteX103" fmla="*/ 6152798 w 11269336"/>
              <a:gd name="connsiteY103" fmla="*/ 1894920 h 2323145"/>
              <a:gd name="connsiteX104" fmla="*/ 6145388 w 11269336"/>
              <a:gd name="connsiteY104" fmla="*/ 1897990 h 2323145"/>
              <a:gd name="connsiteX105" fmla="*/ 6141014 w 11269336"/>
              <a:gd name="connsiteY105" fmla="*/ 1901155 h 2323145"/>
              <a:gd name="connsiteX106" fmla="*/ 6128122 w 11269336"/>
              <a:gd name="connsiteY106" fmla="*/ 1907623 h 2323145"/>
              <a:gd name="connsiteX107" fmla="*/ 6122351 w 11269336"/>
              <a:gd name="connsiteY107" fmla="*/ 1908359 h 2323145"/>
              <a:gd name="connsiteX108" fmla="*/ 6064750 w 11269336"/>
              <a:gd name="connsiteY108" fmla="*/ 1896394 h 2323145"/>
              <a:gd name="connsiteX109" fmla="*/ 5964230 w 11269336"/>
              <a:gd name="connsiteY109" fmla="*/ 1910038 h 2323145"/>
              <a:gd name="connsiteX110" fmla="*/ 5865399 w 11269336"/>
              <a:gd name="connsiteY110" fmla="*/ 1926966 h 2323145"/>
              <a:gd name="connsiteX111" fmla="*/ 5829951 w 11269336"/>
              <a:gd name="connsiteY111" fmla="*/ 1934755 h 2323145"/>
              <a:gd name="connsiteX112" fmla="*/ 5765285 w 11269336"/>
              <a:gd name="connsiteY112" fmla="*/ 1941322 h 2323145"/>
              <a:gd name="connsiteX113" fmla="*/ 5734750 w 11269336"/>
              <a:gd name="connsiteY113" fmla="*/ 1939793 h 2323145"/>
              <a:gd name="connsiteX114" fmla="*/ 5733569 w 11269336"/>
              <a:gd name="connsiteY114" fmla="*/ 1940505 h 2323145"/>
              <a:gd name="connsiteX115" fmla="*/ 5730329 w 11269336"/>
              <a:gd name="connsiteY115" fmla="*/ 1937845 h 2323145"/>
              <a:gd name="connsiteX116" fmla="*/ 5724661 w 11269336"/>
              <a:gd name="connsiteY116" fmla="*/ 1937455 h 2323145"/>
              <a:gd name="connsiteX117" fmla="*/ 5710186 w 11269336"/>
              <a:gd name="connsiteY117" fmla="*/ 1941370 h 2323145"/>
              <a:gd name="connsiteX118" fmla="*/ 5704910 w 11269336"/>
              <a:gd name="connsiteY118" fmla="*/ 1943663 h 2323145"/>
              <a:gd name="connsiteX119" fmla="*/ 5696836 w 11269336"/>
              <a:gd name="connsiteY119" fmla="*/ 1945271 h 2323145"/>
              <a:gd name="connsiteX120" fmla="*/ 5696583 w 11269336"/>
              <a:gd name="connsiteY120" fmla="*/ 1945050 h 2323145"/>
              <a:gd name="connsiteX121" fmla="*/ 5689123 w 11269336"/>
              <a:gd name="connsiteY121" fmla="*/ 1947067 h 2323145"/>
              <a:gd name="connsiteX122" fmla="*/ 5653291 w 11269336"/>
              <a:gd name="connsiteY122" fmla="*/ 1960245 h 2323145"/>
              <a:gd name="connsiteX123" fmla="*/ 5599385 w 11269336"/>
              <a:gd name="connsiteY123" fmla="*/ 1945198 h 2323145"/>
              <a:gd name="connsiteX124" fmla="*/ 5578300 w 11269336"/>
              <a:gd name="connsiteY124" fmla="*/ 1944963 h 2323145"/>
              <a:gd name="connsiteX125" fmla="*/ 5566758 w 11269336"/>
              <a:gd name="connsiteY125" fmla="*/ 1943441 h 2323145"/>
              <a:gd name="connsiteX126" fmla="*/ 5565857 w 11269336"/>
              <a:gd name="connsiteY126" fmla="*/ 1942445 h 2323145"/>
              <a:gd name="connsiteX127" fmla="*/ 5531534 w 11269336"/>
              <a:gd name="connsiteY127" fmla="*/ 1955208 h 2323145"/>
              <a:gd name="connsiteX128" fmla="*/ 5526552 w 11269336"/>
              <a:gd name="connsiteY128" fmla="*/ 1954799 h 2323145"/>
              <a:gd name="connsiteX129" fmla="*/ 5504723 w 11269336"/>
              <a:gd name="connsiteY129" fmla="*/ 1965811 h 2323145"/>
              <a:gd name="connsiteX130" fmla="*/ 5493156 w 11269336"/>
              <a:gd name="connsiteY130" fmla="*/ 1970063 h 2323145"/>
              <a:gd name="connsiteX131" fmla="*/ 5490486 w 11269336"/>
              <a:gd name="connsiteY131" fmla="*/ 1974227 h 2323145"/>
              <a:gd name="connsiteX132" fmla="*/ 5473107 w 11269336"/>
              <a:gd name="connsiteY132" fmla="*/ 1979001 h 2323145"/>
              <a:gd name="connsiteX133" fmla="*/ 5470885 w 11269336"/>
              <a:gd name="connsiteY133" fmla="*/ 1978432 h 2323145"/>
              <a:gd name="connsiteX134" fmla="*/ 5457393 w 11269336"/>
              <a:gd name="connsiteY134" fmla="*/ 1986525 h 2323145"/>
              <a:gd name="connsiteX135" fmla="*/ 5447102 w 11269336"/>
              <a:gd name="connsiteY135" fmla="*/ 1998329 h 2323145"/>
              <a:gd name="connsiteX136" fmla="*/ 5159151 w 11269336"/>
              <a:gd name="connsiteY136" fmla="*/ 2029640 h 2323145"/>
              <a:gd name="connsiteX137" fmla="*/ 5041688 w 11269336"/>
              <a:gd name="connsiteY137" fmla="*/ 2022334 h 2323145"/>
              <a:gd name="connsiteX138" fmla="*/ 4860988 w 11269336"/>
              <a:gd name="connsiteY138" fmla="*/ 2135698 h 2323145"/>
              <a:gd name="connsiteX139" fmla="*/ 4807902 w 11269336"/>
              <a:gd name="connsiteY139" fmla="*/ 2138894 h 2323145"/>
              <a:gd name="connsiteX140" fmla="*/ 4765388 w 11269336"/>
              <a:gd name="connsiteY140" fmla="*/ 2162525 h 2323145"/>
              <a:gd name="connsiteX141" fmla="*/ 4745033 w 11269336"/>
              <a:gd name="connsiteY141" fmla="*/ 2158859 h 2323145"/>
              <a:gd name="connsiteX142" fmla="*/ 4741475 w 11269336"/>
              <a:gd name="connsiteY142" fmla="*/ 2157998 h 2323145"/>
              <a:gd name="connsiteX143" fmla="*/ 4728247 w 11269336"/>
              <a:gd name="connsiteY143" fmla="*/ 2159526 h 2323145"/>
              <a:gd name="connsiteX144" fmla="*/ 4723263 w 11269336"/>
              <a:gd name="connsiteY144" fmla="*/ 2153742 h 2323145"/>
              <a:gd name="connsiteX145" fmla="*/ 4702453 w 11269336"/>
              <a:gd name="connsiteY145" fmla="*/ 2151586 h 2323145"/>
              <a:gd name="connsiteX146" fmla="*/ 4678455 w 11269336"/>
              <a:gd name="connsiteY146" fmla="*/ 2156131 h 2323145"/>
              <a:gd name="connsiteX147" fmla="*/ 4593061 w 11269336"/>
              <a:gd name="connsiteY147" fmla="*/ 2171597 h 2323145"/>
              <a:gd name="connsiteX148" fmla="*/ 4579902 w 11269336"/>
              <a:gd name="connsiteY148" fmla="*/ 2177927 h 2323145"/>
              <a:gd name="connsiteX149" fmla="*/ 4533444 w 11269336"/>
              <a:gd name="connsiteY149" fmla="*/ 2181200 h 2323145"/>
              <a:gd name="connsiteX150" fmla="*/ 4492832 w 11269336"/>
              <a:gd name="connsiteY150" fmla="*/ 2188033 h 2323145"/>
              <a:gd name="connsiteX151" fmla="*/ 4467257 w 11269336"/>
              <a:gd name="connsiteY151" fmla="*/ 2196121 h 2323145"/>
              <a:gd name="connsiteX152" fmla="*/ 4459937 w 11269336"/>
              <a:gd name="connsiteY152" fmla="*/ 2195182 h 2323145"/>
              <a:gd name="connsiteX153" fmla="*/ 4433312 w 11269336"/>
              <a:gd name="connsiteY153" fmla="*/ 2199004 h 2323145"/>
              <a:gd name="connsiteX154" fmla="*/ 4420601 w 11269336"/>
              <a:gd name="connsiteY154" fmla="*/ 2205158 h 2323145"/>
              <a:gd name="connsiteX155" fmla="*/ 4405765 w 11269336"/>
              <a:gd name="connsiteY155" fmla="*/ 2199902 h 2323145"/>
              <a:gd name="connsiteX156" fmla="*/ 4401354 w 11269336"/>
              <a:gd name="connsiteY156" fmla="*/ 2194745 h 2323145"/>
              <a:gd name="connsiteX157" fmla="*/ 4383151 w 11269336"/>
              <a:gd name="connsiteY157" fmla="*/ 2201140 h 2323145"/>
              <a:gd name="connsiteX158" fmla="*/ 4366646 w 11269336"/>
              <a:gd name="connsiteY158" fmla="*/ 2198564 h 2323145"/>
              <a:gd name="connsiteX159" fmla="*/ 4354009 w 11269336"/>
              <a:gd name="connsiteY159" fmla="*/ 2204984 h 2323145"/>
              <a:gd name="connsiteX160" fmla="*/ 4348284 w 11269336"/>
              <a:gd name="connsiteY160" fmla="*/ 2205270 h 2323145"/>
              <a:gd name="connsiteX161" fmla="*/ 4333906 w 11269336"/>
              <a:gd name="connsiteY161" fmla="*/ 2205251 h 2323145"/>
              <a:gd name="connsiteX162" fmla="*/ 4308819 w 11269336"/>
              <a:gd name="connsiteY162" fmla="*/ 2203822 h 2323145"/>
              <a:gd name="connsiteX163" fmla="*/ 4301210 w 11269336"/>
              <a:gd name="connsiteY163" fmla="*/ 2204456 h 2323145"/>
              <a:gd name="connsiteX164" fmla="*/ 4283095 w 11269336"/>
              <a:gd name="connsiteY164" fmla="*/ 2198177 h 2323145"/>
              <a:gd name="connsiteX165" fmla="*/ 4250119 w 11269336"/>
              <a:gd name="connsiteY165" fmla="*/ 2196342 h 2323145"/>
              <a:gd name="connsiteX166" fmla="*/ 4189203 w 11269336"/>
              <a:gd name="connsiteY166" fmla="*/ 2178994 h 2323145"/>
              <a:gd name="connsiteX167" fmla="*/ 4154035 w 11269336"/>
              <a:gd name="connsiteY167" fmla="*/ 2171950 h 2323145"/>
              <a:gd name="connsiteX168" fmla="*/ 4129569 w 11269336"/>
              <a:gd name="connsiteY168" fmla="*/ 2163850 h 2323145"/>
              <a:gd name="connsiteX169" fmla="*/ 4061250 w 11269336"/>
              <a:gd name="connsiteY169" fmla="*/ 2159236 h 2323145"/>
              <a:gd name="connsiteX170" fmla="*/ 3945480 w 11269336"/>
              <a:gd name="connsiteY170" fmla="*/ 2158279 h 2323145"/>
              <a:gd name="connsiteX171" fmla="*/ 3921468 w 11269336"/>
              <a:gd name="connsiteY171" fmla="*/ 2156588 h 2323145"/>
              <a:gd name="connsiteX172" fmla="*/ 3903348 w 11269336"/>
              <a:gd name="connsiteY172" fmla="*/ 2149220 h 2323145"/>
              <a:gd name="connsiteX173" fmla="*/ 3901342 w 11269336"/>
              <a:gd name="connsiteY173" fmla="*/ 2142355 h 2323145"/>
              <a:gd name="connsiteX174" fmla="*/ 3888539 w 11269336"/>
              <a:gd name="connsiteY174" fmla="*/ 2140476 h 2323145"/>
              <a:gd name="connsiteX175" fmla="*/ 3885662 w 11269336"/>
              <a:gd name="connsiteY175" fmla="*/ 2138740 h 2323145"/>
              <a:gd name="connsiteX176" fmla="*/ 3868627 w 11269336"/>
              <a:gd name="connsiteY176" fmla="*/ 2130023 h 2323145"/>
              <a:gd name="connsiteX177" fmla="*/ 3819177 w 11269336"/>
              <a:gd name="connsiteY177" fmla="*/ 2142111 h 2323145"/>
              <a:gd name="connsiteX178" fmla="*/ 3769100 w 11269336"/>
              <a:gd name="connsiteY178" fmla="*/ 2131731 h 2323145"/>
              <a:gd name="connsiteX179" fmla="*/ 3562752 w 11269336"/>
              <a:gd name="connsiteY179" fmla="*/ 2131785 h 2323145"/>
              <a:gd name="connsiteX180" fmla="*/ 3541402 w 11269336"/>
              <a:gd name="connsiteY180" fmla="*/ 2106821 h 2323145"/>
              <a:gd name="connsiteX181" fmla="*/ 3365341 w 11269336"/>
              <a:gd name="connsiteY181" fmla="*/ 2077638 h 2323145"/>
              <a:gd name="connsiteX182" fmla="*/ 3170922 w 11269336"/>
              <a:gd name="connsiteY182" fmla="*/ 2115957 h 2323145"/>
              <a:gd name="connsiteX183" fmla="*/ 3156256 w 11269336"/>
              <a:gd name="connsiteY183" fmla="*/ 2124773 h 2323145"/>
              <a:gd name="connsiteX184" fmla="*/ 3140298 w 11269336"/>
              <a:gd name="connsiteY184" fmla="*/ 2129182 h 2323145"/>
              <a:gd name="connsiteX185" fmla="*/ 3138514 w 11269336"/>
              <a:gd name="connsiteY185" fmla="*/ 2128069 h 2323145"/>
              <a:gd name="connsiteX186" fmla="*/ 3120467 w 11269336"/>
              <a:gd name="connsiteY186" fmla="*/ 2128281 h 2323145"/>
              <a:gd name="connsiteX187" fmla="*/ 3116175 w 11269336"/>
              <a:gd name="connsiteY187" fmla="*/ 2131633 h 2323145"/>
              <a:gd name="connsiteX188" fmla="*/ 3103685 w 11269336"/>
              <a:gd name="connsiteY188" fmla="*/ 2132814 h 2323145"/>
              <a:gd name="connsiteX189" fmla="*/ 3078794 w 11269336"/>
              <a:gd name="connsiteY189" fmla="*/ 2137935 h 2323145"/>
              <a:gd name="connsiteX190" fmla="*/ 3074407 w 11269336"/>
              <a:gd name="connsiteY190" fmla="*/ 2136274 h 2323145"/>
              <a:gd name="connsiteX191" fmla="*/ 3037285 w 11269336"/>
              <a:gd name="connsiteY191" fmla="*/ 2139919 h 2323145"/>
              <a:gd name="connsiteX192" fmla="*/ 3036901 w 11269336"/>
              <a:gd name="connsiteY192" fmla="*/ 2138726 h 2323145"/>
              <a:gd name="connsiteX193" fmla="*/ 3026996 w 11269336"/>
              <a:gd name="connsiteY193" fmla="*/ 2134322 h 2323145"/>
              <a:gd name="connsiteX194" fmla="*/ 3007772 w 11269336"/>
              <a:gd name="connsiteY194" fmla="*/ 2128742 h 2323145"/>
              <a:gd name="connsiteX195" fmla="*/ 2965030 w 11269336"/>
              <a:gd name="connsiteY195" fmla="*/ 2100494 h 2323145"/>
              <a:gd name="connsiteX196" fmla="*/ 2926342 w 11269336"/>
              <a:gd name="connsiteY196" fmla="*/ 2104155 h 2323145"/>
              <a:gd name="connsiteX197" fmla="*/ 2918608 w 11269336"/>
              <a:gd name="connsiteY197" fmla="*/ 2104215 h 2323145"/>
              <a:gd name="connsiteX198" fmla="*/ 2918475 w 11269336"/>
              <a:gd name="connsiteY198" fmla="*/ 2103937 h 2323145"/>
              <a:gd name="connsiteX199" fmla="*/ 2910360 w 11269336"/>
              <a:gd name="connsiteY199" fmla="*/ 2103444 h 2323145"/>
              <a:gd name="connsiteX200" fmla="*/ 2904507 w 11269336"/>
              <a:gd name="connsiteY200" fmla="*/ 2104326 h 2323145"/>
              <a:gd name="connsiteX201" fmla="*/ 2889503 w 11269336"/>
              <a:gd name="connsiteY201" fmla="*/ 2104443 h 2323145"/>
              <a:gd name="connsiteX202" fmla="*/ 2884480 w 11269336"/>
              <a:gd name="connsiteY202" fmla="*/ 2102626 h 2323145"/>
              <a:gd name="connsiteX203" fmla="*/ 2882689 w 11269336"/>
              <a:gd name="connsiteY203" fmla="*/ 2099228 h 2323145"/>
              <a:gd name="connsiteX204" fmla="*/ 2881291 w 11269336"/>
              <a:gd name="connsiteY204" fmla="*/ 2099618 h 2323145"/>
              <a:gd name="connsiteX205" fmla="*/ 2853979 w 11269336"/>
              <a:gd name="connsiteY205" fmla="*/ 2090388 h 2323145"/>
              <a:gd name="connsiteX206" fmla="*/ 2791790 w 11269336"/>
              <a:gd name="connsiteY206" fmla="*/ 2080332 h 2323145"/>
              <a:gd name="connsiteX207" fmla="*/ 2755844 w 11269336"/>
              <a:gd name="connsiteY207" fmla="*/ 2078874 h 2323145"/>
              <a:gd name="connsiteX208" fmla="*/ 2657742 w 11269336"/>
              <a:gd name="connsiteY208" fmla="*/ 2070179 h 2323145"/>
              <a:gd name="connsiteX209" fmla="*/ 2559549 w 11269336"/>
              <a:gd name="connsiteY209" fmla="*/ 2057873 h 2323145"/>
              <a:gd name="connsiteX210" fmla="*/ 2512054 w 11269336"/>
              <a:gd name="connsiteY210" fmla="*/ 2031671 h 2323145"/>
              <a:gd name="connsiteX211" fmla="*/ 2506437 w 11269336"/>
              <a:gd name="connsiteY211" fmla="*/ 2030918 h 2323145"/>
              <a:gd name="connsiteX212" fmla="*/ 2491752 w 11269336"/>
              <a:gd name="connsiteY212" fmla="*/ 2033906 h 2323145"/>
              <a:gd name="connsiteX213" fmla="*/ 2486338 w 11269336"/>
              <a:gd name="connsiteY213" fmla="*/ 2035862 h 2323145"/>
              <a:gd name="connsiteX214" fmla="*/ 2478186 w 11269336"/>
              <a:gd name="connsiteY214" fmla="*/ 2036953 h 2323145"/>
              <a:gd name="connsiteX215" fmla="*/ 2477950 w 11269336"/>
              <a:gd name="connsiteY215" fmla="*/ 2036715 h 2323145"/>
              <a:gd name="connsiteX216" fmla="*/ 2470381 w 11269336"/>
              <a:gd name="connsiteY216" fmla="*/ 2038256 h 2323145"/>
              <a:gd name="connsiteX217" fmla="*/ 2433781 w 11269336"/>
              <a:gd name="connsiteY217" fmla="*/ 2049140 h 2323145"/>
              <a:gd name="connsiteX218" fmla="*/ 2381172 w 11269336"/>
              <a:gd name="connsiteY218" fmla="*/ 2030645 h 2323145"/>
              <a:gd name="connsiteX219" fmla="*/ 2360198 w 11269336"/>
              <a:gd name="connsiteY219" fmla="*/ 2029059 h 2323145"/>
              <a:gd name="connsiteX220" fmla="*/ 2348815 w 11269336"/>
              <a:gd name="connsiteY220" fmla="*/ 2026798 h 2323145"/>
              <a:gd name="connsiteX221" fmla="*/ 2347988 w 11269336"/>
              <a:gd name="connsiteY221" fmla="*/ 2025745 h 2323145"/>
              <a:gd name="connsiteX222" fmla="*/ 2312920 w 11269336"/>
              <a:gd name="connsiteY222" fmla="*/ 2036311 h 2323145"/>
              <a:gd name="connsiteX223" fmla="*/ 2307986 w 11269336"/>
              <a:gd name="connsiteY223" fmla="*/ 2035583 h 2323145"/>
              <a:gd name="connsiteX224" fmla="*/ 2285481 w 11269336"/>
              <a:gd name="connsiteY224" fmla="*/ 2045197 h 2323145"/>
              <a:gd name="connsiteX225" fmla="*/ 2273666 w 11269336"/>
              <a:gd name="connsiteY225" fmla="*/ 2048710 h 2323145"/>
              <a:gd name="connsiteX226" fmla="*/ 2270719 w 11269336"/>
              <a:gd name="connsiteY226" fmla="*/ 2052702 h 2323145"/>
              <a:gd name="connsiteX227" fmla="*/ 2253080 w 11269336"/>
              <a:gd name="connsiteY227" fmla="*/ 2056363 h 2323145"/>
              <a:gd name="connsiteX228" fmla="*/ 2250906 w 11269336"/>
              <a:gd name="connsiteY228" fmla="*/ 2055654 h 2323145"/>
              <a:gd name="connsiteX229" fmla="*/ 2236905 w 11269336"/>
              <a:gd name="connsiteY229" fmla="*/ 2062882 h 2323145"/>
              <a:gd name="connsiteX230" fmla="*/ 2225830 w 11269336"/>
              <a:gd name="connsiteY230" fmla="*/ 2074027 h 2323145"/>
              <a:gd name="connsiteX231" fmla="*/ 2073776 w 11269336"/>
              <a:gd name="connsiteY231" fmla="*/ 2089244 h 2323145"/>
              <a:gd name="connsiteX232" fmla="*/ 1948256 w 11269336"/>
              <a:gd name="connsiteY232" fmla="*/ 2146616 h 2323145"/>
              <a:gd name="connsiteX233" fmla="*/ 1865582 w 11269336"/>
              <a:gd name="connsiteY233" fmla="*/ 2153738 h 2323145"/>
              <a:gd name="connsiteX234" fmla="*/ 1835210 w 11269336"/>
              <a:gd name="connsiteY234" fmla="*/ 2134244 h 2323145"/>
              <a:gd name="connsiteX235" fmla="*/ 1632661 w 11269336"/>
              <a:gd name="connsiteY235" fmla="*/ 2173882 h 2323145"/>
              <a:gd name="connsiteX236" fmla="*/ 1579590 w 11269336"/>
              <a:gd name="connsiteY236" fmla="*/ 2173680 h 2323145"/>
              <a:gd name="connsiteX237" fmla="*/ 1535601 w 11269336"/>
              <a:gd name="connsiteY237" fmla="*/ 2194590 h 2323145"/>
              <a:gd name="connsiteX238" fmla="*/ 1515594 w 11269336"/>
              <a:gd name="connsiteY238" fmla="*/ 2189622 h 2323145"/>
              <a:gd name="connsiteX239" fmla="*/ 1512113 w 11269336"/>
              <a:gd name="connsiteY239" fmla="*/ 2188534 h 2323145"/>
              <a:gd name="connsiteX240" fmla="*/ 1498838 w 11269336"/>
              <a:gd name="connsiteY240" fmla="*/ 2189213 h 2323145"/>
              <a:gd name="connsiteX241" fmla="*/ 1494279 w 11269336"/>
              <a:gd name="connsiteY241" fmla="*/ 2183112 h 2323145"/>
              <a:gd name="connsiteX242" fmla="*/ 1473714 w 11269336"/>
              <a:gd name="connsiteY242" fmla="*/ 2179625 h 2323145"/>
              <a:gd name="connsiteX243" fmla="*/ 1449503 w 11269336"/>
              <a:gd name="connsiteY243" fmla="*/ 2182633 h 2323145"/>
              <a:gd name="connsiteX244" fmla="*/ 1266687 w 11269336"/>
              <a:gd name="connsiteY244" fmla="*/ 2212688 h 2323145"/>
              <a:gd name="connsiteX245" fmla="*/ 1239614 w 11269336"/>
              <a:gd name="connsiteY245" fmla="*/ 2209727 h 2323145"/>
              <a:gd name="connsiteX246" fmla="*/ 1202436 w 11269336"/>
              <a:gd name="connsiteY246" fmla="*/ 2209817 h 2323145"/>
              <a:gd name="connsiteX247" fmla="*/ 1136097 w 11269336"/>
              <a:gd name="connsiteY247" fmla="*/ 2205112 h 2323145"/>
              <a:gd name="connsiteX248" fmla="*/ 988232 w 11269336"/>
              <a:gd name="connsiteY248" fmla="*/ 2235635 h 2323145"/>
              <a:gd name="connsiteX249" fmla="*/ 981959 w 11269336"/>
              <a:gd name="connsiteY249" fmla="*/ 2231607 h 2323145"/>
              <a:gd name="connsiteX250" fmla="*/ 938600 w 11269336"/>
              <a:gd name="connsiteY250" fmla="*/ 2238113 h 2323145"/>
              <a:gd name="connsiteX251" fmla="*/ 791788 w 11269336"/>
              <a:gd name="connsiteY251" fmla="*/ 2293224 h 2323145"/>
              <a:gd name="connsiteX252" fmla="*/ 706914 w 11269336"/>
              <a:gd name="connsiteY252" fmla="*/ 2305046 h 2323145"/>
              <a:gd name="connsiteX253" fmla="*/ 675971 w 11269336"/>
              <a:gd name="connsiteY253" fmla="*/ 2304030 h 2323145"/>
              <a:gd name="connsiteX254" fmla="*/ 624180 w 11269336"/>
              <a:gd name="connsiteY254" fmla="*/ 2302650 h 2323145"/>
              <a:gd name="connsiteX255" fmla="*/ 583453 w 11269336"/>
              <a:gd name="connsiteY255" fmla="*/ 2288788 h 2323145"/>
              <a:gd name="connsiteX256" fmla="*/ 540946 w 11269336"/>
              <a:gd name="connsiteY256" fmla="*/ 2292721 h 2323145"/>
              <a:gd name="connsiteX257" fmla="*/ 533680 w 11269336"/>
              <a:gd name="connsiteY257" fmla="*/ 2310233 h 2323145"/>
              <a:gd name="connsiteX258" fmla="*/ 487366 w 11269336"/>
              <a:gd name="connsiteY258" fmla="*/ 2309053 h 2323145"/>
              <a:gd name="connsiteX259" fmla="*/ 416820 w 11269336"/>
              <a:gd name="connsiteY259" fmla="*/ 2305443 h 2323145"/>
              <a:gd name="connsiteX260" fmla="*/ 376805 w 11269336"/>
              <a:gd name="connsiteY260" fmla="*/ 2307647 h 2323145"/>
              <a:gd name="connsiteX261" fmla="*/ 266777 w 11269336"/>
              <a:gd name="connsiteY261" fmla="*/ 2309012 h 2323145"/>
              <a:gd name="connsiteX262" fmla="*/ 156013 w 11269336"/>
              <a:gd name="connsiteY262" fmla="*/ 2306832 h 2323145"/>
              <a:gd name="connsiteX263" fmla="*/ 87258 w 11269336"/>
              <a:gd name="connsiteY263" fmla="*/ 2285511 h 2323145"/>
              <a:gd name="connsiteX264" fmla="*/ 23798 w 11269336"/>
              <a:gd name="connsiteY264" fmla="*/ 2281822 h 2323145"/>
              <a:gd name="connsiteX265" fmla="*/ 0 w 11269336"/>
              <a:gd name="connsiteY265" fmla="*/ 2285369 h 2323145"/>
              <a:gd name="connsiteX266" fmla="*/ 0 w 11269336"/>
              <a:gd name="connsiteY26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114263 w 11269336"/>
              <a:gd name="connsiteY21" fmla="*/ 709213 h 2323145"/>
              <a:gd name="connsiteX22" fmla="*/ 9028928 w 11269336"/>
              <a:gd name="connsiteY22" fmla="*/ 745350 h 2323145"/>
              <a:gd name="connsiteX23" fmla="*/ 8977138 w 11269336"/>
              <a:gd name="connsiteY23" fmla="*/ 774970 h 2323145"/>
              <a:gd name="connsiteX24" fmla="*/ 8947030 w 11269336"/>
              <a:gd name="connsiteY24" fmla="*/ 814934 h 2323145"/>
              <a:gd name="connsiteX25" fmla="*/ 8914746 w 11269336"/>
              <a:gd name="connsiteY25" fmla="*/ 826428 h 2323145"/>
              <a:gd name="connsiteX26" fmla="*/ 8917778 w 11269336"/>
              <a:gd name="connsiteY26" fmla="*/ 835198 h 2323145"/>
              <a:gd name="connsiteX27" fmla="*/ 8905560 w 11269336"/>
              <a:gd name="connsiteY27" fmla="*/ 838358 h 2323145"/>
              <a:gd name="connsiteX28" fmla="*/ 8897564 w 11269336"/>
              <a:gd name="connsiteY28" fmla="*/ 834287 h 2323145"/>
              <a:gd name="connsiteX29" fmla="*/ 8878040 w 11269336"/>
              <a:gd name="connsiteY29" fmla="*/ 844150 h 2323145"/>
              <a:gd name="connsiteX30" fmla="*/ 8882654 w 11269336"/>
              <a:gd name="connsiteY30" fmla="*/ 892768 h 2323145"/>
              <a:gd name="connsiteX31" fmla="*/ 8795998 w 11269336"/>
              <a:gd name="connsiteY31" fmla="*/ 863337 h 2323145"/>
              <a:gd name="connsiteX32" fmla="*/ 8776970 w 11269336"/>
              <a:gd name="connsiteY32" fmla="*/ 885177 h 2323145"/>
              <a:gd name="connsiteX33" fmla="*/ 8755719 w 11269336"/>
              <a:gd name="connsiteY33" fmla="*/ 889754 h 2323145"/>
              <a:gd name="connsiteX34" fmla="*/ 8743257 w 11269336"/>
              <a:gd name="connsiteY34" fmla="*/ 904723 h 2323145"/>
              <a:gd name="connsiteX35" fmla="*/ 8721366 w 11269336"/>
              <a:gd name="connsiteY35" fmla="*/ 904711 h 2323145"/>
              <a:gd name="connsiteX36" fmla="*/ 8678353 w 11269336"/>
              <a:gd name="connsiteY36" fmla="*/ 926318 h 2323145"/>
              <a:gd name="connsiteX37" fmla="*/ 8636849 w 11269336"/>
              <a:gd name="connsiteY37" fmla="*/ 937900 h 2323145"/>
              <a:gd name="connsiteX38" fmla="*/ 8620213 w 11269336"/>
              <a:gd name="connsiteY38" fmla="*/ 943068 h 2323145"/>
              <a:gd name="connsiteX39" fmla="*/ 8612581 w 11269336"/>
              <a:gd name="connsiteY39" fmla="*/ 952695 h 2323145"/>
              <a:gd name="connsiteX40" fmla="*/ 8589038 w 11269336"/>
              <a:gd name="connsiteY40" fmla="*/ 963892 h 2323145"/>
              <a:gd name="connsiteX41" fmla="*/ 8579950 w 11269336"/>
              <a:gd name="connsiteY41" fmla="*/ 960899 h 2323145"/>
              <a:gd name="connsiteX42" fmla="*/ 8579319 w 11269336"/>
              <a:gd name="connsiteY42" fmla="*/ 965630 h 2323145"/>
              <a:gd name="connsiteX43" fmla="*/ 8547429 w 11269336"/>
              <a:gd name="connsiteY43" fmla="*/ 984506 h 2323145"/>
              <a:gd name="connsiteX44" fmla="*/ 8478704 w 11269336"/>
              <a:gd name="connsiteY44" fmla="*/ 1025490 h 2323145"/>
              <a:gd name="connsiteX45" fmla="*/ 8461421 w 11269336"/>
              <a:gd name="connsiteY45" fmla="*/ 1035512 h 2323145"/>
              <a:gd name="connsiteX46" fmla="*/ 8445003 w 11269336"/>
              <a:gd name="connsiteY46" fmla="*/ 1036851 h 2323145"/>
              <a:gd name="connsiteX47" fmla="*/ 8357350 w 11269336"/>
              <a:gd name="connsiteY47" fmla="*/ 1060213 h 2323145"/>
              <a:gd name="connsiteX48" fmla="*/ 8335565 w 11269336"/>
              <a:gd name="connsiteY48" fmla="*/ 1061151 h 2323145"/>
              <a:gd name="connsiteX49" fmla="*/ 8325267 w 11269336"/>
              <a:gd name="connsiteY49" fmla="*/ 1055919 h 2323145"/>
              <a:gd name="connsiteX50" fmla="*/ 8293586 w 11269336"/>
              <a:gd name="connsiteY50" fmla="*/ 1076144 h 2323145"/>
              <a:gd name="connsiteX51" fmla="*/ 8242405 w 11269336"/>
              <a:gd name="connsiteY51" fmla="*/ 1095960 h 2323145"/>
              <a:gd name="connsiteX52" fmla="*/ 8197391 w 11269336"/>
              <a:gd name="connsiteY52" fmla="*/ 1107746 h 2323145"/>
              <a:gd name="connsiteX53" fmla="*/ 8081474 w 11269336"/>
              <a:gd name="connsiteY53" fmla="*/ 1130125 h 2323145"/>
              <a:gd name="connsiteX54" fmla="*/ 8053585 w 11269336"/>
              <a:gd name="connsiteY54" fmla="*/ 1129169 h 2323145"/>
              <a:gd name="connsiteX55" fmla="*/ 8038422 w 11269336"/>
              <a:gd name="connsiteY55" fmla="*/ 1119092 h 2323145"/>
              <a:gd name="connsiteX56" fmla="*/ 8029450 w 11269336"/>
              <a:gd name="connsiteY56" fmla="*/ 1125592 h 2323145"/>
              <a:gd name="connsiteX57" fmla="*/ 7959552 w 11269336"/>
              <a:gd name="connsiteY57" fmla="*/ 1140188 h 2323145"/>
              <a:gd name="connsiteX58" fmla="*/ 7914188 w 11269336"/>
              <a:gd name="connsiteY58" fmla="*/ 1150862 h 2323145"/>
              <a:gd name="connsiteX59" fmla="*/ 7914918 w 11269336"/>
              <a:gd name="connsiteY59" fmla="*/ 1168758 h 2323145"/>
              <a:gd name="connsiteX60" fmla="*/ 7875510 w 11269336"/>
              <a:gd name="connsiteY60" fmla="*/ 1183153 h 2323145"/>
              <a:gd name="connsiteX61" fmla="*/ 7829932 w 11269336"/>
              <a:gd name="connsiteY61" fmla="*/ 1180782 h 2323145"/>
              <a:gd name="connsiteX62" fmla="*/ 7779182 w 11269336"/>
              <a:gd name="connsiteY62" fmla="*/ 1192665 h 2323145"/>
              <a:gd name="connsiteX63" fmla="*/ 7748774 w 11269336"/>
              <a:gd name="connsiteY63" fmla="*/ 1199586 h 2323145"/>
              <a:gd name="connsiteX64" fmla="*/ 7671846 w 11269336"/>
              <a:gd name="connsiteY64" fmla="*/ 1231966 h 2323145"/>
              <a:gd name="connsiteX65" fmla="*/ 7554146 w 11269336"/>
              <a:gd name="connsiteY65" fmla="*/ 1319748 h 2323145"/>
              <a:gd name="connsiteX66" fmla="*/ 7515052 w 11269336"/>
              <a:gd name="connsiteY66" fmla="*/ 1336718 h 2323145"/>
              <a:gd name="connsiteX67" fmla="*/ 7507193 w 11269336"/>
              <a:gd name="connsiteY67" fmla="*/ 1334617 h 2323145"/>
              <a:gd name="connsiteX68" fmla="*/ 7461694 w 11269336"/>
              <a:gd name="connsiteY68" fmla="*/ 1375866 h 2323145"/>
              <a:gd name="connsiteX69" fmla="*/ 7377571 w 11269336"/>
              <a:gd name="connsiteY69" fmla="*/ 1400128 h 2323145"/>
              <a:gd name="connsiteX70" fmla="*/ 7311261 w 11269336"/>
              <a:gd name="connsiteY70" fmla="*/ 1412652 h 2323145"/>
              <a:gd name="connsiteX71" fmla="*/ 7275307 w 11269336"/>
              <a:gd name="connsiteY71" fmla="*/ 1422171 h 2323145"/>
              <a:gd name="connsiteX72" fmla="*/ 7247783 w 11269336"/>
              <a:gd name="connsiteY72" fmla="*/ 1426330 h 2323145"/>
              <a:gd name="connsiteX73" fmla="*/ 7185047 w 11269336"/>
              <a:gd name="connsiteY73" fmla="*/ 1451812 h 2323145"/>
              <a:gd name="connsiteX74" fmla="*/ 7084117 w 11269336"/>
              <a:gd name="connsiteY74" fmla="*/ 1500281 h 2323145"/>
              <a:gd name="connsiteX75" fmla="*/ 7062011 w 11269336"/>
              <a:gd name="connsiteY75" fmla="*/ 1509183 h 2323145"/>
              <a:gd name="connsiteX76" fmla="*/ 7040555 w 11269336"/>
              <a:gd name="connsiteY76" fmla="*/ 1511207 h 2323145"/>
              <a:gd name="connsiteX77" fmla="*/ 7033438 w 11269336"/>
              <a:gd name="connsiteY77" fmla="*/ 1506772 h 2323145"/>
              <a:gd name="connsiteX78" fmla="*/ 7020886 w 11269336"/>
              <a:gd name="connsiteY78" fmla="*/ 1510764 h 2323145"/>
              <a:gd name="connsiteX79" fmla="*/ 7017033 w 11269336"/>
              <a:gd name="connsiteY79" fmla="*/ 1510650 h 2323145"/>
              <a:gd name="connsiteX80" fmla="*/ 6995460 w 11269336"/>
              <a:gd name="connsiteY80" fmla="*/ 1511173 h 2323145"/>
              <a:gd name="connsiteX81" fmla="*/ 6962144 w 11269336"/>
              <a:gd name="connsiteY81" fmla="*/ 1541508 h 2323145"/>
              <a:gd name="connsiteX82" fmla="*/ 6910674 w 11269336"/>
              <a:gd name="connsiteY82" fmla="*/ 1554793 h 2323145"/>
              <a:gd name="connsiteX83" fmla="*/ 6732152 w 11269336"/>
              <a:gd name="connsiteY83" fmla="*/ 1642538 h 2323145"/>
              <a:gd name="connsiteX84" fmla="*/ 6694106 w 11269336"/>
              <a:gd name="connsiteY84" fmla="*/ 1632377 h 2323145"/>
              <a:gd name="connsiteX85" fmla="*/ 6617223 w 11269336"/>
              <a:gd name="connsiteY85" fmla="*/ 1659889 h 2323145"/>
              <a:gd name="connsiteX86" fmla="*/ 6521138 w 11269336"/>
              <a:gd name="connsiteY86" fmla="*/ 1744340 h 2323145"/>
              <a:gd name="connsiteX87" fmla="*/ 6380677 w 11269336"/>
              <a:gd name="connsiteY87" fmla="*/ 1796883 h 2323145"/>
              <a:gd name="connsiteX88" fmla="*/ 6374897 w 11269336"/>
              <a:gd name="connsiteY88" fmla="*/ 1809910 h 2323145"/>
              <a:gd name="connsiteX89" fmla="*/ 6364545 w 11269336"/>
              <a:gd name="connsiteY89" fmla="*/ 1820090 h 2323145"/>
              <a:gd name="connsiteX90" fmla="*/ 6362126 w 11269336"/>
              <a:gd name="connsiteY90" fmla="*/ 1819991 h 2323145"/>
              <a:gd name="connsiteX91" fmla="*/ 6346673 w 11269336"/>
              <a:gd name="connsiteY91" fmla="*/ 1827824 h 2323145"/>
              <a:gd name="connsiteX92" fmla="*/ 6345588 w 11269336"/>
              <a:gd name="connsiteY92" fmla="*/ 1832232 h 2323145"/>
              <a:gd name="connsiteX93" fmla="*/ 6335708 w 11269336"/>
              <a:gd name="connsiteY93" fmla="*/ 1838451 h 2323145"/>
              <a:gd name="connsiteX94" fmla="*/ 6318182 w 11269336"/>
              <a:gd name="connsiteY94" fmla="*/ 1852975 h 2323145"/>
              <a:gd name="connsiteX95" fmla="*/ 6313084 w 11269336"/>
              <a:gd name="connsiteY95" fmla="*/ 1853561 h 2323145"/>
              <a:gd name="connsiteX96" fmla="*/ 6283816 w 11269336"/>
              <a:gd name="connsiteY96" fmla="*/ 1872148 h 2323145"/>
              <a:gd name="connsiteX97" fmla="*/ 6282550 w 11269336"/>
              <a:gd name="connsiteY97" fmla="*/ 1871392 h 2323145"/>
              <a:gd name="connsiteX98" fmla="*/ 6270527 w 11269336"/>
              <a:gd name="connsiteY98" fmla="*/ 1872208 h 2323145"/>
              <a:gd name="connsiteX99" fmla="*/ 6249518 w 11269336"/>
              <a:gd name="connsiteY99" fmla="*/ 1876079 h 2323145"/>
              <a:gd name="connsiteX100" fmla="*/ 6190386 w 11269336"/>
              <a:gd name="connsiteY100" fmla="*/ 1872478 h 2323145"/>
              <a:gd name="connsiteX101" fmla="*/ 6159777 w 11269336"/>
              <a:gd name="connsiteY101" fmla="*/ 1891745 h 2323145"/>
              <a:gd name="connsiteX102" fmla="*/ 6153131 w 11269336"/>
              <a:gd name="connsiteY102" fmla="*/ 1895079 h 2323145"/>
              <a:gd name="connsiteX103" fmla="*/ 6152798 w 11269336"/>
              <a:gd name="connsiteY103" fmla="*/ 1894920 h 2323145"/>
              <a:gd name="connsiteX104" fmla="*/ 6145388 w 11269336"/>
              <a:gd name="connsiteY104" fmla="*/ 1897990 h 2323145"/>
              <a:gd name="connsiteX105" fmla="*/ 6141014 w 11269336"/>
              <a:gd name="connsiteY105" fmla="*/ 1901155 h 2323145"/>
              <a:gd name="connsiteX106" fmla="*/ 6128122 w 11269336"/>
              <a:gd name="connsiteY106" fmla="*/ 1907623 h 2323145"/>
              <a:gd name="connsiteX107" fmla="*/ 6122351 w 11269336"/>
              <a:gd name="connsiteY107" fmla="*/ 1908359 h 2323145"/>
              <a:gd name="connsiteX108" fmla="*/ 6064750 w 11269336"/>
              <a:gd name="connsiteY108" fmla="*/ 1896394 h 2323145"/>
              <a:gd name="connsiteX109" fmla="*/ 5964230 w 11269336"/>
              <a:gd name="connsiteY109" fmla="*/ 1910038 h 2323145"/>
              <a:gd name="connsiteX110" fmla="*/ 5865399 w 11269336"/>
              <a:gd name="connsiteY110" fmla="*/ 1926966 h 2323145"/>
              <a:gd name="connsiteX111" fmla="*/ 5829951 w 11269336"/>
              <a:gd name="connsiteY111" fmla="*/ 1934755 h 2323145"/>
              <a:gd name="connsiteX112" fmla="*/ 5765285 w 11269336"/>
              <a:gd name="connsiteY112" fmla="*/ 1941322 h 2323145"/>
              <a:gd name="connsiteX113" fmla="*/ 5734750 w 11269336"/>
              <a:gd name="connsiteY113" fmla="*/ 1939793 h 2323145"/>
              <a:gd name="connsiteX114" fmla="*/ 5733569 w 11269336"/>
              <a:gd name="connsiteY114" fmla="*/ 1940505 h 2323145"/>
              <a:gd name="connsiteX115" fmla="*/ 5730329 w 11269336"/>
              <a:gd name="connsiteY115" fmla="*/ 1937845 h 2323145"/>
              <a:gd name="connsiteX116" fmla="*/ 5724661 w 11269336"/>
              <a:gd name="connsiteY116" fmla="*/ 1937455 h 2323145"/>
              <a:gd name="connsiteX117" fmla="*/ 5710186 w 11269336"/>
              <a:gd name="connsiteY117" fmla="*/ 1941370 h 2323145"/>
              <a:gd name="connsiteX118" fmla="*/ 5704910 w 11269336"/>
              <a:gd name="connsiteY118" fmla="*/ 1943663 h 2323145"/>
              <a:gd name="connsiteX119" fmla="*/ 5696836 w 11269336"/>
              <a:gd name="connsiteY119" fmla="*/ 1945271 h 2323145"/>
              <a:gd name="connsiteX120" fmla="*/ 5696583 w 11269336"/>
              <a:gd name="connsiteY120" fmla="*/ 1945050 h 2323145"/>
              <a:gd name="connsiteX121" fmla="*/ 5689123 w 11269336"/>
              <a:gd name="connsiteY121" fmla="*/ 1947067 h 2323145"/>
              <a:gd name="connsiteX122" fmla="*/ 5653291 w 11269336"/>
              <a:gd name="connsiteY122" fmla="*/ 1960245 h 2323145"/>
              <a:gd name="connsiteX123" fmla="*/ 5599385 w 11269336"/>
              <a:gd name="connsiteY123" fmla="*/ 1945198 h 2323145"/>
              <a:gd name="connsiteX124" fmla="*/ 5578300 w 11269336"/>
              <a:gd name="connsiteY124" fmla="*/ 1944963 h 2323145"/>
              <a:gd name="connsiteX125" fmla="*/ 5566758 w 11269336"/>
              <a:gd name="connsiteY125" fmla="*/ 1943441 h 2323145"/>
              <a:gd name="connsiteX126" fmla="*/ 5565857 w 11269336"/>
              <a:gd name="connsiteY126" fmla="*/ 1942445 h 2323145"/>
              <a:gd name="connsiteX127" fmla="*/ 5531534 w 11269336"/>
              <a:gd name="connsiteY127" fmla="*/ 1955208 h 2323145"/>
              <a:gd name="connsiteX128" fmla="*/ 5526552 w 11269336"/>
              <a:gd name="connsiteY128" fmla="*/ 1954799 h 2323145"/>
              <a:gd name="connsiteX129" fmla="*/ 5504723 w 11269336"/>
              <a:gd name="connsiteY129" fmla="*/ 1965811 h 2323145"/>
              <a:gd name="connsiteX130" fmla="*/ 5493156 w 11269336"/>
              <a:gd name="connsiteY130" fmla="*/ 1970063 h 2323145"/>
              <a:gd name="connsiteX131" fmla="*/ 5490486 w 11269336"/>
              <a:gd name="connsiteY131" fmla="*/ 1974227 h 2323145"/>
              <a:gd name="connsiteX132" fmla="*/ 5473107 w 11269336"/>
              <a:gd name="connsiteY132" fmla="*/ 1979001 h 2323145"/>
              <a:gd name="connsiteX133" fmla="*/ 5470885 w 11269336"/>
              <a:gd name="connsiteY133" fmla="*/ 1978432 h 2323145"/>
              <a:gd name="connsiteX134" fmla="*/ 5457393 w 11269336"/>
              <a:gd name="connsiteY134" fmla="*/ 1986525 h 2323145"/>
              <a:gd name="connsiteX135" fmla="*/ 5447102 w 11269336"/>
              <a:gd name="connsiteY135" fmla="*/ 1998329 h 2323145"/>
              <a:gd name="connsiteX136" fmla="*/ 5159151 w 11269336"/>
              <a:gd name="connsiteY136" fmla="*/ 2029640 h 2323145"/>
              <a:gd name="connsiteX137" fmla="*/ 5041688 w 11269336"/>
              <a:gd name="connsiteY137" fmla="*/ 2022334 h 2323145"/>
              <a:gd name="connsiteX138" fmla="*/ 4860988 w 11269336"/>
              <a:gd name="connsiteY138" fmla="*/ 2135698 h 2323145"/>
              <a:gd name="connsiteX139" fmla="*/ 4807902 w 11269336"/>
              <a:gd name="connsiteY139" fmla="*/ 2138894 h 2323145"/>
              <a:gd name="connsiteX140" fmla="*/ 4765388 w 11269336"/>
              <a:gd name="connsiteY140" fmla="*/ 2162525 h 2323145"/>
              <a:gd name="connsiteX141" fmla="*/ 4745033 w 11269336"/>
              <a:gd name="connsiteY141" fmla="*/ 2158859 h 2323145"/>
              <a:gd name="connsiteX142" fmla="*/ 4741475 w 11269336"/>
              <a:gd name="connsiteY142" fmla="*/ 2157998 h 2323145"/>
              <a:gd name="connsiteX143" fmla="*/ 4728247 w 11269336"/>
              <a:gd name="connsiteY143" fmla="*/ 2159526 h 2323145"/>
              <a:gd name="connsiteX144" fmla="*/ 4723263 w 11269336"/>
              <a:gd name="connsiteY144" fmla="*/ 2153742 h 2323145"/>
              <a:gd name="connsiteX145" fmla="*/ 4702453 w 11269336"/>
              <a:gd name="connsiteY145" fmla="*/ 2151586 h 2323145"/>
              <a:gd name="connsiteX146" fmla="*/ 4678455 w 11269336"/>
              <a:gd name="connsiteY146" fmla="*/ 2156131 h 2323145"/>
              <a:gd name="connsiteX147" fmla="*/ 4593061 w 11269336"/>
              <a:gd name="connsiteY147" fmla="*/ 2171597 h 2323145"/>
              <a:gd name="connsiteX148" fmla="*/ 4579902 w 11269336"/>
              <a:gd name="connsiteY148" fmla="*/ 2177927 h 2323145"/>
              <a:gd name="connsiteX149" fmla="*/ 4533444 w 11269336"/>
              <a:gd name="connsiteY149" fmla="*/ 2181200 h 2323145"/>
              <a:gd name="connsiteX150" fmla="*/ 4492832 w 11269336"/>
              <a:gd name="connsiteY150" fmla="*/ 2188033 h 2323145"/>
              <a:gd name="connsiteX151" fmla="*/ 4467257 w 11269336"/>
              <a:gd name="connsiteY151" fmla="*/ 2196121 h 2323145"/>
              <a:gd name="connsiteX152" fmla="*/ 4459937 w 11269336"/>
              <a:gd name="connsiteY152" fmla="*/ 2195182 h 2323145"/>
              <a:gd name="connsiteX153" fmla="*/ 4433312 w 11269336"/>
              <a:gd name="connsiteY153" fmla="*/ 2199004 h 2323145"/>
              <a:gd name="connsiteX154" fmla="*/ 4420601 w 11269336"/>
              <a:gd name="connsiteY154" fmla="*/ 2205158 h 2323145"/>
              <a:gd name="connsiteX155" fmla="*/ 4405765 w 11269336"/>
              <a:gd name="connsiteY155" fmla="*/ 2199902 h 2323145"/>
              <a:gd name="connsiteX156" fmla="*/ 4401354 w 11269336"/>
              <a:gd name="connsiteY156" fmla="*/ 2194745 h 2323145"/>
              <a:gd name="connsiteX157" fmla="*/ 4383151 w 11269336"/>
              <a:gd name="connsiteY157" fmla="*/ 2201140 h 2323145"/>
              <a:gd name="connsiteX158" fmla="*/ 4366646 w 11269336"/>
              <a:gd name="connsiteY158" fmla="*/ 2198564 h 2323145"/>
              <a:gd name="connsiteX159" fmla="*/ 4354009 w 11269336"/>
              <a:gd name="connsiteY159" fmla="*/ 2204984 h 2323145"/>
              <a:gd name="connsiteX160" fmla="*/ 4348284 w 11269336"/>
              <a:gd name="connsiteY160" fmla="*/ 2205270 h 2323145"/>
              <a:gd name="connsiteX161" fmla="*/ 4333906 w 11269336"/>
              <a:gd name="connsiteY161" fmla="*/ 2205251 h 2323145"/>
              <a:gd name="connsiteX162" fmla="*/ 4308819 w 11269336"/>
              <a:gd name="connsiteY162" fmla="*/ 2203822 h 2323145"/>
              <a:gd name="connsiteX163" fmla="*/ 4301210 w 11269336"/>
              <a:gd name="connsiteY163" fmla="*/ 2204456 h 2323145"/>
              <a:gd name="connsiteX164" fmla="*/ 4283095 w 11269336"/>
              <a:gd name="connsiteY164" fmla="*/ 2198177 h 2323145"/>
              <a:gd name="connsiteX165" fmla="*/ 4250119 w 11269336"/>
              <a:gd name="connsiteY165" fmla="*/ 2196342 h 2323145"/>
              <a:gd name="connsiteX166" fmla="*/ 4189203 w 11269336"/>
              <a:gd name="connsiteY166" fmla="*/ 2178994 h 2323145"/>
              <a:gd name="connsiteX167" fmla="*/ 4154035 w 11269336"/>
              <a:gd name="connsiteY167" fmla="*/ 2171950 h 2323145"/>
              <a:gd name="connsiteX168" fmla="*/ 4129569 w 11269336"/>
              <a:gd name="connsiteY168" fmla="*/ 2163850 h 2323145"/>
              <a:gd name="connsiteX169" fmla="*/ 4061250 w 11269336"/>
              <a:gd name="connsiteY169" fmla="*/ 2159236 h 2323145"/>
              <a:gd name="connsiteX170" fmla="*/ 3945480 w 11269336"/>
              <a:gd name="connsiteY170" fmla="*/ 2158279 h 2323145"/>
              <a:gd name="connsiteX171" fmla="*/ 3921468 w 11269336"/>
              <a:gd name="connsiteY171" fmla="*/ 2156588 h 2323145"/>
              <a:gd name="connsiteX172" fmla="*/ 3903348 w 11269336"/>
              <a:gd name="connsiteY172" fmla="*/ 2149220 h 2323145"/>
              <a:gd name="connsiteX173" fmla="*/ 3901342 w 11269336"/>
              <a:gd name="connsiteY173" fmla="*/ 2142355 h 2323145"/>
              <a:gd name="connsiteX174" fmla="*/ 3888539 w 11269336"/>
              <a:gd name="connsiteY174" fmla="*/ 2140476 h 2323145"/>
              <a:gd name="connsiteX175" fmla="*/ 3885662 w 11269336"/>
              <a:gd name="connsiteY175" fmla="*/ 2138740 h 2323145"/>
              <a:gd name="connsiteX176" fmla="*/ 3868627 w 11269336"/>
              <a:gd name="connsiteY176" fmla="*/ 2130023 h 2323145"/>
              <a:gd name="connsiteX177" fmla="*/ 3819177 w 11269336"/>
              <a:gd name="connsiteY177" fmla="*/ 2142111 h 2323145"/>
              <a:gd name="connsiteX178" fmla="*/ 3769100 w 11269336"/>
              <a:gd name="connsiteY178" fmla="*/ 2131731 h 2323145"/>
              <a:gd name="connsiteX179" fmla="*/ 3562752 w 11269336"/>
              <a:gd name="connsiteY179" fmla="*/ 2131785 h 2323145"/>
              <a:gd name="connsiteX180" fmla="*/ 3541402 w 11269336"/>
              <a:gd name="connsiteY180" fmla="*/ 2106821 h 2323145"/>
              <a:gd name="connsiteX181" fmla="*/ 3365341 w 11269336"/>
              <a:gd name="connsiteY181" fmla="*/ 2077638 h 2323145"/>
              <a:gd name="connsiteX182" fmla="*/ 3170922 w 11269336"/>
              <a:gd name="connsiteY182" fmla="*/ 2115957 h 2323145"/>
              <a:gd name="connsiteX183" fmla="*/ 3156256 w 11269336"/>
              <a:gd name="connsiteY183" fmla="*/ 2124773 h 2323145"/>
              <a:gd name="connsiteX184" fmla="*/ 3140298 w 11269336"/>
              <a:gd name="connsiteY184" fmla="*/ 2129182 h 2323145"/>
              <a:gd name="connsiteX185" fmla="*/ 3138514 w 11269336"/>
              <a:gd name="connsiteY185" fmla="*/ 2128069 h 2323145"/>
              <a:gd name="connsiteX186" fmla="*/ 3120467 w 11269336"/>
              <a:gd name="connsiteY186" fmla="*/ 2128281 h 2323145"/>
              <a:gd name="connsiteX187" fmla="*/ 3116175 w 11269336"/>
              <a:gd name="connsiteY187" fmla="*/ 2131633 h 2323145"/>
              <a:gd name="connsiteX188" fmla="*/ 3103685 w 11269336"/>
              <a:gd name="connsiteY188" fmla="*/ 2132814 h 2323145"/>
              <a:gd name="connsiteX189" fmla="*/ 3078794 w 11269336"/>
              <a:gd name="connsiteY189" fmla="*/ 2137935 h 2323145"/>
              <a:gd name="connsiteX190" fmla="*/ 3074407 w 11269336"/>
              <a:gd name="connsiteY190" fmla="*/ 2136274 h 2323145"/>
              <a:gd name="connsiteX191" fmla="*/ 3037285 w 11269336"/>
              <a:gd name="connsiteY191" fmla="*/ 2139919 h 2323145"/>
              <a:gd name="connsiteX192" fmla="*/ 3036901 w 11269336"/>
              <a:gd name="connsiteY192" fmla="*/ 2138726 h 2323145"/>
              <a:gd name="connsiteX193" fmla="*/ 3026996 w 11269336"/>
              <a:gd name="connsiteY193" fmla="*/ 2134322 h 2323145"/>
              <a:gd name="connsiteX194" fmla="*/ 3007772 w 11269336"/>
              <a:gd name="connsiteY194" fmla="*/ 2128742 h 2323145"/>
              <a:gd name="connsiteX195" fmla="*/ 2965030 w 11269336"/>
              <a:gd name="connsiteY195" fmla="*/ 2100494 h 2323145"/>
              <a:gd name="connsiteX196" fmla="*/ 2926342 w 11269336"/>
              <a:gd name="connsiteY196" fmla="*/ 2104155 h 2323145"/>
              <a:gd name="connsiteX197" fmla="*/ 2918608 w 11269336"/>
              <a:gd name="connsiteY197" fmla="*/ 2104215 h 2323145"/>
              <a:gd name="connsiteX198" fmla="*/ 2918475 w 11269336"/>
              <a:gd name="connsiteY198" fmla="*/ 2103937 h 2323145"/>
              <a:gd name="connsiteX199" fmla="*/ 2910360 w 11269336"/>
              <a:gd name="connsiteY199" fmla="*/ 2103444 h 2323145"/>
              <a:gd name="connsiteX200" fmla="*/ 2904507 w 11269336"/>
              <a:gd name="connsiteY200" fmla="*/ 2104326 h 2323145"/>
              <a:gd name="connsiteX201" fmla="*/ 2889503 w 11269336"/>
              <a:gd name="connsiteY201" fmla="*/ 2104443 h 2323145"/>
              <a:gd name="connsiteX202" fmla="*/ 2884480 w 11269336"/>
              <a:gd name="connsiteY202" fmla="*/ 2102626 h 2323145"/>
              <a:gd name="connsiteX203" fmla="*/ 2882689 w 11269336"/>
              <a:gd name="connsiteY203" fmla="*/ 2099228 h 2323145"/>
              <a:gd name="connsiteX204" fmla="*/ 2881291 w 11269336"/>
              <a:gd name="connsiteY204" fmla="*/ 2099618 h 2323145"/>
              <a:gd name="connsiteX205" fmla="*/ 2853979 w 11269336"/>
              <a:gd name="connsiteY205" fmla="*/ 2090388 h 2323145"/>
              <a:gd name="connsiteX206" fmla="*/ 2791790 w 11269336"/>
              <a:gd name="connsiteY206" fmla="*/ 2080332 h 2323145"/>
              <a:gd name="connsiteX207" fmla="*/ 2755844 w 11269336"/>
              <a:gd name="connsiteY207" fmla="*/ 2078874 h 2323145"/>
              <a:gd name="connsiteX208" fmla="*/ 2657742 w 11269336"/>
              <a:gd name="connsiteY208" fmla="*/ 2070179 h 2323145"/>
              <a:gd name="connsiteX209" fmla="*/ 2559549 w 11269336"/>
              <a:gd name="connsiteY209" fmla="*/ 2057873 h 2323145"/>
              <a:gd name="connsiteX210" fmla="*/ 2512054 w 11269336"/>
              <a:gd name="connsiteY210" fmla="*/ 2031671 h 2323145"/>
              <a:gd name="connsiteX211" fmla="*/ 2506437 w 11269336"/>
              <a:gd name="connsiteY211" fmla="*/ 2030918 h 2323145"/>
              <a:gd name="connsiteX212" fmla="*/ 2491752 w 11269336"/>
              <a:gd name="connsiteY212" fmla="*/ 2033906 h 2323145"/>
              <a:gd name="connsiteX213" fmla="*/ 2486338 w 11269336"/>
              <a:gd name="connsiteY213" fmla="*/ 2035862 h 2323145"/>
              <a:gd name="connsiteX214" fmla="*/ 2478186 w 11269336"/>
              <a:gd name="connsiteY214" fmla="*/ 2036953 h 2323145"/>
              <a:gd name="connsiteX215" fmla="*/ 2477950 w 11269336"/>
              <a:gd name="connsiteY215" fmla="*/ 2036715 h 2323145"/>
              <a:gd name="connsiteX216" fmla="*/ 2470381 w 11269336"/>
              <a:gd name="connsiteY216" fmla="*/ 2038256 h 2323145"/>
              <a:gd name="connsiteX217" fmla="*/ 2433781 w 11269336"/>
              <a:gd name="connsiteY217" fmla="*/ 2049140 h 2323145"/>
              <a:gd name="connsiteX218" fmla="*/ 2381172 w 11269336"/>
              <a:gd name="connsiteY218" fmla="*/ 2030645 h 2323145"/>
              <a:gd name="connsiteX219" fmla="*/ 2360198 w 11269336"/>
              <a:gd name="connsiteY219" fmla="*/ 2029059 h 2323145"/>
              <a:gd name="connsiteX220" fmla="*/ 2348815 w 11269336"/>
              <a:gd name="connsiteY220" fmla="*/ 2026798 h 2323145"/>
              <a:gd name="connsiteX221" fmla="*/ 2347988 w 11269336"/>
              <a:gd name="connsiteY221" fmla="*/ 2025745 h 2323145"/>
              <a:gd name="connsiteX222" fmla="*/ 2312920 w 11269336"/>
              <a:gd name="connsiteY222" fmla="*/ 2036311 h 2323145"/>
              <a:gd name="connsiteX223" fmla="*/ 2307986 w 11269336"/>
              <a:gd name="connsiteY223" fmla="*/ 2035583 h 2323145"/>
              <a:gd name="connsiteX224" fmla="*/ 2285481 w 11269336"/>
              <a:gd name="connsiteY224" fmla="*/ 2045197 h 2323145"/>
              <a:gd name="connsiteX225" fmla="*/ 2273666 w 11269336"/>
              <a:gd name="connsiteY225" fmla="*/ 2048710 h 2323145"/>
              <a:gd name="connsiteX226" fmla="*/ 2270719 w 11269336"/>
              <a:gd name="connsiteY226" fmla="*/ 2052702 h 2323145"/>
              <a:gd name="connsiteX227" fmla="*/ 2253080 w 11269336"/>
              <a:gd name="connsiteY227" fmla="*/ 2056363 h 2323145"/>
              <a:gd name="connsiteX228" fmla="*/ 2250906 w 11269336"/>
              <a:gd name="connsiteY228" fmla="*/ 2055654 h 2323145"/>
              <a:gd name="connsiteX229" fmla="*/ 2236905 w 11269336"/>
              <a:gd name="connsiteY229" fmla="*/ 2062882 h 2323145"/>
              <a:gd name="connsiteX230" fmla="*/ 2225830 w 11269336"/>
              <a:gd name="connsiteY230" fmla="*/ 2074027 h 2323145"/>
              <a:gd name="connsiteX231" fmla="*/ 2073776 w 11269336"/>
              <a:gd name="connsiteY231" fmla="*/ 2089244 h 2323145"/>
              <a:gd name="connsiteX232" fmla="*/ 1948256 w 11269336"/>
              <a:gd name="connsiteY232" fmla="*/ 2146616 h 2323145"/>
              <a:gd name="connsiteX233" fmla="*/ 1865582 w 11269336"/>
              <a:gd name="connsiteY233" fmla="*/ 2153738 h 2323145"/>
              <a:gd name="connsiteX234" fmla="*/ 1835210 w 11269336"/>
              <a:gd name="connsiteY234" fmla="*/ 2134244 h 2323145"/>
              <a:gd name="connsiteX235" fmla="*/ 1632661 w 11269336"/>
              <a:gd name="connsiteY235" fmla="*/ 2173882 h 2323145"/>
              <a:gd name="connsiteX236" fmla="*/ 1579590 w 11269336"/>
              <a:gd name="connsiteY236" fmla="*/ 2173680 h 2323145"/>
              <a:gd name="connsiteX237" fmla="*/ 1535601 w 11269336"/>
              <a:gd name="connsiteY237" fmla="*/ 2194590 h 2323145"/>
              <a:gd name="connsiteX238" fmla="*/ 1515594 w 11269336"/>
              <a:gd name="connsiteY238" fmla="*/ 2189622 h 2323145"/>
              <a:gd name="connsiteX239" fmla="*/ 1512113 w 11269336"/>
              <a:gd name="connsiteY239" fmla="*/ 2188534 h 2323145"/>
              <a:gd name="connsiteX240" fmla="*/ 1498838 w 11269336"/>
              <a:gd name="connsiteY240" fmla="*/ 2189213 h 2323145"/>
              <a:gd name="connsiteX241" fmla="*/ 1494279 w 11269336"/>
              <a:gd name="connsiteY241" fmla="*/ 2183112 h 2323145"/>
              <a:gd name="connsiteX242" fmla="*/ 1473714 w 11269336"/>
              <a:gd name="connsiteY242" fmla="*/ 2179625 h 2323145"/>
              <a:gd name="connsiteX243" fmla="*/ 1449503 w 11269336"/>
              <a:gd name="connsiteY243" fmla="*/ 2182633 h 2323145"/>
              <a:gd name="connsiteX244" fmla="*/ 1266687 w 11269336"/>
              <a:gd name="connsiteY244" fmla="*/ 2212688 h 2323145"/>
              <a:gd name="connsiteX245" fmla="*/ 1239614 w 11269336"/>
              <a:gd name="connsiteY245" fmla="*/ 2209727 h 2323145"/>
              <a:gd name="connsiteX246" fmla="*/ 1202436 w 11269336"/>
              <a:gd name="connsiteY246" fmla="*/ 2209817 h 2323145"/>
              <a:gd name="connsiteX247" fmla="*/ 1136097 w 11269336"/>
              <a:gd name="connsiteY247" fmla="*/ 2205112 h 2323145"/>
              <a:gd name="connsiteX248" fmla="*/ 988232 w 11269336"/>
              <a:gd name="connsiteY248" fmla="*/ 2235635 h 2323145"/>
              <a:gd name="connsiteX249" fmla="*/ 981959 w 11269336"/>
              <a:gd name="connsiteY249" fmla="*/ 2231607 h 2323145"/>
              <a:gd name="connsiteX250" fmla="*/ 938600 w 11269336"/>
              <a:gd name="connsiteY250" fmla="*/ 2238113 h 2323145"/>
              <a:gd name="connsiteX251" fmla="*/ 791788 w 11269336"/>
              <a:gd name="connsiteY251" fmla="*/ 2293224 h 2323145"/>
              <a:gd name="connsiteX252" fmla="*/ 706914 w 11269336"/>
              <a:gd name="connsiteY252" fmla="*/ 2305046 h 2323145"/>
              <a:gd name="connsiteX253" fmla="*/ 675971 w 11269336"/>
              <a:gd name="connsiteY253" fmla="*/ 2304030 h 2323145"/>
              <a:gd name="connsiteX254" fmla="*/ 624180 w 11269336"/>
              <a:gd name="connsiteY254" fmla="*/ 2302650 h 2323145"/>
              <a:gd name="connsiteX255" fmla="*/ 583453 w 11269336"/>
              <a:gd name="connsiteY255" fmla="*/ 2288788 h 2323145"/>
              <a:gd name="connsiteX256" fmla="*/ 540946 w 11269336"/>
              <a:gd name="connsiteY256" fmla="*/ 2292721 h 2323145"/>
              <a:gd name="connsiteX257" fmla="*/ 533680 w 11269336"/>
              <a:gd name="connsiteY257" fmla="*/ 2310233 h 2323145"/>
              <a:gd name="connsiteX258" fmla="*/ 487366 w 11269336"/>
              <a:gd name="connsiteY258" fmla="*/ 2309053 h 2323145"/>
              <a:gd name="connsiteX259" fmla="*/ 416820 w 11269336"/>
              <a:gd name="connsiteY259" fmla="*/ 2305443 h 2323145"/>
              <a:gd name="connsiteX260" fmla="*/ 376805 w 11269336"/>
              <a:gd name="connsiteY260" fmla="*/ 2307647 h 2323145"/>
              <a:gd name="connsiteX261" fmla="*/ 266777 w 11269336"/>
              <a:gd name="connsiteY261" fmla="*/ 2309012 h 2323145"/>
              <a:gd name="connsiteX262" fmla="*/ 156013 w 11269336"/>
              <a:gd name="connsiteY262" fmla="*/ 2306832 h 2323145"/>
              <a:gd name="connsiteX263" fmla="*/ 87258 w 11269336"/>
              <a:gd name="connsiteY263" fmla="*/ 2285511 h 2323145"/>
              <a:gd name="connsiteX264" fmla="*/ 23798 w 11269336"/>
              <a:gd name="connsiteY264" fmla="*/ 2281822 h 2323145"/>
              <a:gd name="connsiteX265" fmla="*/ 0 w 11269336"/>
              <a:gd name="connsiteY265" fmla="*/ 2285369 h 2323145"/>
              <a:gd name="connsiteX266" fmla="*/ 0 w 11269336"/>
              <a:gd name="connsiteY26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39429 w 11269336"/>
              <a:gd name="connsiteY20" fmla="*/ 696446 h 2323145"/>
              <a:gd name="connsiteX21" fmla="*/ 9028928 w 11269336"/>
              <a:gd name="connsiteY21" fmla="*/ 745350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028928 w 11269336"/>
              <a:gd name="connsiteY21" fmla="*/ 745350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8947030 w 11269336"/>
              <a:gd name="connsiteY23" fmla="*/ 814934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9070855 w 11269336"/>
              <a:gd name="connsiteY23" fmla="*/ 794621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882654 w 11269336"/>
              <a:gd name="connsiteY29" fmla="*/ 892768 h 2323145"/>
              <a:gd name="connsiteX30" fmla="*/ 8795998 w 11269336"/>
              <a:gd name="connsiteY30" fmla="*/ 863337 h 2323145"/>
              <a:gd name="connsiteX31" fmla="*/ 8776970 w 11269336"/>
              <a:gd name="connsiteY31" fmla="*/ 885177 h 2323145"/>
              <a:gd name="connsiteX32" fmla="*/ 8755719 w 11269336"/>
              <a:gd name="connsiteY32" fmla="*/ 889754 h 2323145"/>
              <a:gd name="connsiteX33" fmla="*/ 8743257 w 11269336"/>
              <a:gd name="connsiteY33" fmla="*/ 904723 h 2323145"/>
              <a:gd name="connsiteX34" fmla="*/ 8721366 w 11269336"/>
              <a:gd name="connsiteY34" fmla="*/ 904711 h 2323145"/>
              <a:gd name="connsiteX35" fmla="*/ 8678353 w 11269336"/>
              <a:gd name="connsiteY35" fmla="*/ 926318 h 2323145"/>
              <a:gd name="connsiteX36" fmla="*/ 8636849 w 11269336"/>
              <a:gd name="connsiteY36" fmla="*/ 937900 h 2323145"/>
              <a:gd name="connsiteX37" fmla="*/ 8620213 w 11269336"/>
              <a:gd name="connsiteY37" fmla="*/ 943068 h 2323145"/>
              <a:gd name="connsiteX38" fmla="*/ 8612581 w 11269336"/>
              <a:gd name="connsiteY38" fmla="*/ 952695 h 2323145"/>
              <a:gd name="connsiteX39" fmla="*/ 8589038 w 11269336"/>
              <a:gd name="connsiteY39" fmla="*/ 963892 h 2323145"/>
              <a:gd name="connsiteX40" fmla="*/ 8579950 w 11269336"/>
              <a:gd name="connsiteY40" fmla="*/ 960899 h 2323145"/>
              <a:gd name="connsiteX41" fmla="*/ 8579319 w 11269336"/>
              <a:gd name="connsiteY41" fmla="*/ 965630 h 2323145"/>
              <a:gd name="connsiteX42" fmla="*/ 8547429 w 11269336"/>
              <a:gd name="connsiteY42" fmla="*/ 984506 h 2323145"/>
              <a:gd name="connsiteX43" fmla="*/ 8478704 w 11269336"/>
              <a:gd name="connsiteY43" fmla="*/ 1025490 h 2323145"/>
              <a:gd name="connsiteX44" fmla="*/ 8461421 w 11269336"/>
              <a:gd name="connsiteY44" fmla="*/ 1035512 h 2323145"/>
              <a:gd name="connsiteX45" fmla="*/ 8445003 w 11269336"/>
              <a:gd name="connsiteY45" fmla="*/ 1036851 h 2323145"/>
              <a:gd name="connsiteX46" fmla="*/ 8357350 w 11269336"/>
              <a:gd name="connsiteY46" fmla="*/ 1060213 h 2323145"/>
              <a:gd name="connsiteX47" fmla="*/ 8335565 w 11269336"/>
              <a:gd name="connsiteY47" fmla="*/ 1061151 h 2323145"/>
              <a:gd name="connsiteX48" fmla="*/ 8325267 w 11269336"/>
              <a:gd name="connsiteY48" fmla="*/ 1055919 h 2323145"/>
              <a:gd name="connsiteX49" fmla="*/ 8293586 w 11269336"/>
              <a:gd name="connsiteY49" fmla="*/ 1076144 h 2323145"/>
              <a:gd name="connsiteX50" fmla="*/ 8242405 w 11269336"/>
              <a:gd name="connsiteY50" fmla="*/ 1095960 h 2323145"/>
              <a:gd name="connsiteX51" fmla="*/ 8197391 w 11269336"/>
              <a:gd name="connsiteY51" fmla="*/ 1107746 h 2323145"/>
              <a:gd name="connsiteX52" fmla="*/ 8081474 w 11269336"/>
              <a:gd name="connsiteY52" fmla="*/ 1130125 h 2323145"/>
              <a:gd name="connsiteX53" fmla="*/ 8053585 w 11269336"/>
              <a:gd name="connsiteY53" fmla="*/ 1129169 h 2323145"/>
              <a:gd name="connsiteX54" fmla="*/ 8038422 w 11269336"/>
              <a:gd name="connsiteY54" fmla="*/ 1119092 h 2323145"/>
              <a:gd name="connsiteX55" fmla="*/ 8029450 w 11269336"/>
              <a:gd name="connsiteY55" fmla="*/ 1125592 h 2323145"/>
              <a:gd name="connsiteX56" fmla="*/ 7959552 w 11269336"/>
              <a:gd name="connsiteY56" fmla="*/ 1140188 h 2323145"/>
              <a:gd name="connsiteX57" fmla="*/ 7914188 w 11269336"/>
              <a:gd name="connsiteY57" fmla="*/ 1150862 h 2323145"/>
              <a:gd name="connsiteX58" fmla="*/ 7914918 w 11269336"/>
              <a:gd name="connsiteY58" fmla="*/ 1168758 h 2323145"/>
              <a:gd name="connsiteX59" fmla="*/ 7875510 w 11269336"/>
              <a:gd name="connsiteY59" fmla="*/ 1183153 h 2323145"/>
              <a:gd name="connsiteX60" fmla="*/ 7829932 w 11269336"/>
              <a:gd name="connsiteY60" fmla="*/ 1180782 h 2323145"/>
              <a:gd name="connsiteX61" fmla="*/ 7779182 w 11269336"/>
              <a:gd name="connsiteY61" fmla="*/ 1192665 h 2323145"/>
              <a:gd name="connsiteX62" fmla="*/ 7748774 w 11269336"/>
              <a:gd name="connsiteY62" fmla="*/ 1199586 h 2323145"/>
              <a:gd name="connsiteX63" fmla="*/ 7671846 w 11269336"/>
              <a:gd name="connsiteY63" fmla="*/ 1231966 h 2323145"/>
              <a:gd name="connsiteX64" fmla="*/ 7554146 w 11269336"/>
              <a:gd name="connsiteY64" fmla="*/ 1319748 h 2323145"/>
              <a:gd name="connsiteX65" fmla="*/ 7515052 w 11269336"/>
              <a:gd name="connsiteY65" fmla="*/ 1336718 h 2323145"/>
              <a:gd name="connsiteX66" fmla="*/ 7507193 w 11269336"/>
              <a:gd name="connsiteY66" fmla="*/ 1334617 h 2323145"/>
              <a:gd name="connsiteX67" fmla="*/ 7461694 w 11269336"/>
              <a:gd name="connsiteY67" fmla="*/ 1375866 h 2323145"/>
              <a:gd name="connsiteX68" fmla="*/ 7377571 w 11269336"/>
              <a:gd name="connsiteY68" fmla="*/ 1400128 h 2323145"/>
              <a:gd name="connsiteX69" fmla="*/ 7311261 w 11269336"/>
              <a:gd name="connsiteY69" fmla="*/ 1412652 h 2323145"/>
              <a:gd name="connsiteX70" fmla="*/ 7275307 w 11269336"/>
              <a:gd name="connsiteY70" fmla="*/ 1422171 h 2323145"/>
              <a:gd name="connsiteX71" fmla="*/ 7247783 w 11269336"/>
              <a:gd name="connsiteY71" fmla="*/ 1426330 h 2323145"/>
              <a:gd name="connsiteX72" fmla="*/ 7185047 w 11269336"/>
              <a:gd name="connsiteY72" fmla="*/ 1451812 h 2323145"/>
              <a:gd name="connsiteX73" fmla="*/ 7084117 w 11269336"/>
              <a:gd name="connsiteY73" fmla="*/ 1500281 h 2323145"/>
              <a:gd name="connsiteX74" fmla="*/ 7062011 w 11269336"/>
              <a:gd name="connsiteY74" fmla="*/ 1509183 h 2323145"/>
              <a:gd name="connsiteX75" fmla="*/ 7040555 w 11269336"/>
              <a:gd name="connsiteY75" fmla="*/ 1511207 h 2323145"/>
              <a:gd name="connsiteX76" fmla="*/ 7033438 w 11269336"/>
              <a:gd name="connsiteY76" fmla="*/ 1506772 h 2323145"/>
              <a:gd name="connsiteX77" fmla="*/ 7020886 w 11269336"/>
              <a:gd name="connsiteY77" fmla="*/ 1510764 h 2323145"/>
              <a:gd name="connsiteX78" fmla="*/ 7017033 w 11269336"/>
              <a:gd name="connsiteY78" fmla="*/ 1510650 h 2323145"/>
              <a:gd name="connsiteX79" fmla="*/ 6995460 w 11269336"/>
              <a:gd name="connsiteY79" fmla="*/ 1511173 h 2323145"/>
              <a:gd name="connsiteX80" fmla="*/ 6962144 w 11269336"/>
              <a:gd name="connsiteY80" fmla="*/ 1541508 h 2323145"/>
              <a:gd name="connsiteX81" fmla="*/ 6910674 w 11269336"/>
              <a:gd name="connsiteY81" fmla="*/ 1554793 h 2323145"/>
              <a:gd name="connsiteX82" fmla="*/ 6732152 w 11269336"/>
              <a:gd name="connsiteY82" fmla="*/ 1642538 h 2323145"/>
              <a:gd name="connsiteX83" fmla="*/ 6694106 w 11269336"/>
              <a:gd name="connsiteY83" fmla="*/ 1632377 h 2323145"/>
              <a:gd name="connsiteX84" fmla="*/ 6617223 w 11269336"/>
              <a:gd name="connsiteY84" fmla="*/ 1659889 h 2323145"/>
              <a:gd name="connsiteX85" fmla="*/ 6521138 w 11269336"/>
              <a:gd name="connsiteY85" fmla="*/ 1744340 h 2323145"/>
              <a:gd name="connsiteX86" fmla="*/ 6380677 w 11269336"/>
              <a:gd name="connsiteY86" fmla="*/ 1796883 h 2323145"/>
              <a:gd name="connsiteX87" fmla="*/ 6374897 w 11269336"/>
              <a:gd name="connsiteY87" fmla="*/ 1809910 h 2323145"/>
              <a:gd name="connsiteX88" fmla="*/ 6364545 w 11269336"/>
              <a:gd name="connsiteY88" fmla="*/ 1820090 h 2323145"/>
              <a:gd name="connsiteX89" fmla="*/ 6362126 w 11269336"/>
              <a:gd name="connsiteY89" fmla="*/ 1819991 h 2323145"/>
              <a:gd name="connsiteX90" fmla="*/ 6346673 w 11269336"/>
              <a:gd name="connsiteY90" fmla="*/ 1827824 h 2323145"/>
              <a:gd name="connsiteX91" fmla="*/ 6345588 w 11269336"/>
              <a:gd name="connsiteY91" fmla="*/ 1832232 h 2323145"/>
              <a:gd name="connsiteX92" fmla="*/ 6335708 w 11269336"/>
              <a:gd name="connsiteY92" fmla="*/ 1838451 h 2323145"/>
              <a:gd name="connsiteX93" fmla="*/ 6318182 w 11269336"/>
              <a:gd name="connsiteY93" fmla="*/ 1852975 h 2323145"/>
              <a:gd name="connsiteX94" fmla="*/ 6313084 w 11269336"/>
              <a:gd name="connsiteY94" fmla="*/ 1853561 h 2323145"/>
              <a:gd name="connsiteX95" fmla="*/ 6283816 w 11269336"/>
              <a:gd name="connsiteY95" fmla="*/ 1872148 h 2323145"/>
              <a:gd name="connsiteX96" fmla="*/ 6282550 w 11269336"/>
              <a:gd name="connsiteY96" fmla="*/ 1871392 h 2323145"/>
              <a:gd name="connsiteX97" fmla="*/ 6270527 w 11269336"/>
              <a:gd name="connsiteY97" fmla="*/ 1872208 h 2323145"/>
              <a:gd name="connsiteX98" fmla="*/ 6249518 w 11269336"/>
              <a:gd name="connsiteY98" fmla="*/ 1876079 h 2323145"/>
              <a:gd name="connsiteX99" fmla="*/ 6190386 w 11269336"/>
              <a:gd name="connsiteY99" fmla="*/ 1872478 h 2323145"/>
              <a:gd name="connsiteX100" fmla="*/ 6159777 w 11269336"/>
              <a:gd name="connsiteY100" fmla="*/ 1891745 h 2323145"/>
              <a:gd name="connsiteX101" fmla="*/ 6153131 w 11269336"/>
              <a:gd name="connsiteY101" fmla="*/ 1895079 h 2323145"/>
              <a:gd name="connsiteX102" fmla="*/ 6152798 w 11269336"/>
              <a:gd name="connsiteY102" fmla="*/ 1894920 h 2323145"/>
              <a:gd name="connsiteX103" fmla="*/ 6145388 w 11269336"/>
              <a:gd name="connsiteY103" fmla="*/ 1897990 h 2323145"/>
              <a:gd name="connsiteX104" fmla="*/ 6141014 w 11269336"/>
              <a:gd name="connsiteY104" fmla="*/ 1901155 h 2323145"/>
              <a:gd name="connsiteX105" fmla="*/ 6128122 w 11269336"/>
              <a:gd name="connsiteY105" fmla="*/ 1907623 h 2323145"/>
              <a:gd name="connsiteX106" fmla="*/ 6122351 w 11269336"/>
              <a:gd name="connsiteY106" fmla="*/ 1908359 h 2323145"/>
              <a:gd name="connsiteX107" fmla="*/ 6064750 w 11269336"/>
              <a:gd name="connsiteY107" fmla="*/ 1896394 h 2323145"/>
              <a:gd name="connsiteX108" fmla="*/ 5964230 w 11269336"/>
              <a:gd name="connsiteY108" fmla="*/ 1910038 h 2323145"/>
              <a:gd name="connsiteX109" fmla="*/ 5865399 w 11269336"/>
              <a:gd name="connsiteY109" fmla="*/ 1926966 h 2323145"/>
              <a:gd name="connsiteX110" fmla="*/ 5829951 w 11269336"/>
              <a:gd name="connsiteY110" fmla="*/ 1934755 h 2323145"/>
              <a:gd name="connsiteX111" fmla="*/ 5765285 w 11269336"/>
              <a:gd name="connsiteY111" fmla="*/ 1941322 h 2323145"/>
              <a:gd name="connsiteX112" fmla="*/ 5734750 w 11269336"/>
              <a:gd name="connsiteY112" fmla="*/ 1939793 h 2323145"/>
              <a:gd name="connsiteX113" fmla="*/ 5733569 w 11269336"/>
              <a:gd name="connsiteY113" fmla="*/ 1940505 h 2323145"/>
              <a:gd name="connsiteX114" fmla="*/ 5730329 w 11269336"/>
              <a:gd name="connsiteY114" fmla="*/ 1937845 h 2323145"/>
              <a:gd name="connsiteX115" fmla="*/ 5724661 w 11269336"/>
              <a:gd name="connsiteY115" fmla="*/ 1937455 h 2323145"/>
              <a:gd name="connsiteX116" fmla="*/ 5710186 w 11269336"/>
              <a:gd name="connsiteY116" fmla="*/ 1941370 h 2323145"/>
              <a:gd name="connsiteX117" fmla="*/ 5704910 w 11269336"/>
              <a:gd name="connsiteY117" fmla="*/ 1943663 h 2323145"/>
              <a:gd name="connsiteX118" fmla="*/ 5696836 w 11269336"/>
              <a:gd name="connsiteY118" fmla="*/ 1945271 h 2323145"/>
              <a:gd name="connsiteX119" fmla="*/ 5696583 w 11269336"/>
              <a:gd name="connsiteY119" fmla="*/ 1945050 h 2323145"/>
              <a:gd name="connsiteX120" fmla="*/ 5689123 w 11269336"/>
              <a:gd name="connsiteY120" fmla="*/ 1947067 h 2323145"/>
              <a:gd name="connsiteX121" fmla="*/ 5653291 w 11269336"/>
              <a:gd name="connsiteY121" fmla="*/ 1960245 h 2323145"/>
              <a:gd name="connsiteX122" fmla="*/ 5599385 w 11269336"/>
              <a:gd name="connsiteY122" fmla="*/ 1945198 h 2323145"/>
              <a:gd name="connsiteX123" fmla="*/ 5578300 w 11269336"/>
              <a:gd name="connsiteY123" fmla="*/ 1944963 h 2323145"/>
              <a:gd name="connsiteX124" fmla="*/ 5566758 w 11269336"/>
              <a:gd name="connsiteY124" fmla="*/ 1943441 h 2323145"/>
              <a:gd name="connsiteX125" fmla="*/ 5565857 w 11269336"/>
              <a:gd name="connsiteY125" fmla="*/ 1942445 h 2323145"/>
              <a:gd name="connsiteX126" fmla="*/ 5531534 w 11269336"/>
              <a:gd name="connsiteY126" fmla="*/ 1955208 h 2323145"/>
              <a:gd name="connsiteX127" fmla="*/ 5526552 w 11269336"/>
              <a:gd name="connsiteY127" fmla="*/ 1954799 h 2323145"/>
              <a:gd name="connsiteX128" fmla="*/ 5504723 w 11269336"/>
              <a:gd name="connsiteY128" fmla="*/ 1965811 h 2323145"/>
              <a:gd name="connsiteX129" fmla="*/ 5493156 w 11269336"/>
              <a:gd name="connsiteY129" fmla="*/ 1970063 h 2323145"/>
              <a:gd name="connsiteX130" fmla="*/ 5490486 w 11269336"/>
              <a:gd name="connsiteY130" fmla="*/ 1974227 h 2323145"/>
              <a:gd name="connsiteX131" fmla="*/ 5473107 w 11269336"/>
              <a:gd name="connsiteY131" fmla="*/ 1979001 h 2323145"/>
              <a:gd name="connsiteX132" fmla="*/ 5470885 w 11269336"/>
              <a:gd name="connsiteY132" fmla="*/ 1978432 h 2323145"/>
              <a:gd name="connsiteX133" fmla="*/ 5457393 w 11269336"/>
              <a:gd name="connsiteY133" fmla="*/ 1986525 h 2323145"/>
              <a:gd name="connsiteX134" fmla="*/ 5447102 w 11269336"/>
              <a:gd name="connsiteY134" fmla="*/ 1998329 h 2323145"/>
              <a:gd name="connsiteX135" fmla="*/ 5159151 w 11269336"/>
              <a:gd name="connsiteY135" fmla="*/ 2029640 h 2323145"/>
              <a:gd name="connsiteX136" fmla="*/ 5041688 w 11269336"/>
              <a:gd name="connsiteY136" fmla="*/ 2022334 h 2323145"/>
              <a:gd name="connsiteX137" fmla="*/ 4860988 w 11269336"/>
              <a:gd name="connsiteY137" fmla="*/ 2135698 h 2323145"/>
              <a:gd name="connsiteX138" fmla="*/ 4807902 w 11269336"/>
              <a:gd name="connsiteY138" fmla="*/ 2138894 h 2323145"/>
              <a:gd name="connsiteX139" fmla="*/ 4765388 w 11269336"/>
              <a:gd name="connsiteY139" fmla="*/ 2162525 h 2323145"/>
              <a:gd name="connsiteX140" fmla="*/ 4745033 w 11269336"/>
              <a:gd name="connsiteY140" fmla="*/ 2158859 h 2323145"/>
              <a:gd name="connsiteX141" fmla="*/ 4741475 w 11269336"/>
              <a:gd name="connsiteY141" fmla="*/ 2157998 h 2323145"/>
              <a:gd name="connsiteX142" fmla="*/ 4728247 w 11269336"/>
              <a:gd name="connsiteY142" fmla="*/ 2159526 h 2323145"/>
              <a:gd name="connsiteX143" fmla="*/ 4723263 w 11269336"/>
              <a:gd name="connsiteY143" fmla="*/ 2153742 h 2323145"/>
              <a:gd name="connsiteX144" fmla="*/ 4702453 w 11269336"/>
              <a:gd name="connsiteY144" fmla="*/ 2151586 h 2323145"/>
              <a:gd name="connsiteX145" fmla="*/ 4678455 w 11269336"/>
              <a:gd name="connsiteY145" fmla="*/ 2156131 h 2323145"/>
              <a:gd name="connsiteX146" fmla="*/ 4593061 w 11269336"/>
              <a:gd name="connsiteY146" fmla="*/ 2171597 h 2323145"/>
              <a:gd name="connsiteX147" fmla="*/ 4579902 w 11269336"/>
              <a:gd name="connsiteY147" fmla="*/ 2177927 h 2323145"/>
              <a:gd name="connsiteX148" fmla="*/ 4533444 w 11269336"/>
              <a:gd name="connsiteY148" fmla="*/ 2181200 h 2323145"/>
              <a:gd name="connsiteX149" fmla="*/ 4492832 w 11269336"/>
              <a:gd name="connsiteY149" fmla="*/ 2188033 h 2323145"/>
              <a:gd name="connsiteX150" fmla="*/ 4467257 w 11269336"/>
              <a:gd name="connsiteY150" fmla="*/ 2196121 h 2323145"/>
              <a:gd name="connsiteX151" fmla="*/ 4459937 w 11269336"/>
              <a:gd name="connsiteY151" fmla="*/ 2195182 h 2323145"/>
              <a:gd name="connsiteX152" fmla="*/ 4433312 w 11269336"/>
              <a:gd name="connsiteY152" fmla="*/ 2199004 h 2323145"/>
              <a:gd name="connsiteX153" fmla="*/ 4420601 w 11269336"/>
              <a:gd name="connsiteY153" fmla="*/ 2205158 h 2323145"/>
              <a:gd name="connsiteX154" fmla="*/ 4405765 w 11269336"/>
              <a:gd name="connsiteY154" fmla="*/ 2199902 h 2323145"/>
              <a:gd name="connsiteX155" fmla="*/ 4401354 w 11269336"/>
              <a:gd name="connsiteY155" fmla="*/ 2194745 h 2323145"/>
              <a:gd name="connsiteX156" fmla="*/ 4383151 w 11269336"/>
              <a:gd name="connsiteY156" fmla="*/ 2201140 h 2323145"/>
              <a:gd name="connsiteX157" fmla="*/ 4366646 w 11269336"/>
              <a:gd name="connsiteY157" fmla="*/ 2198564 h 2323145"/>
              <a:gd name="connsiteX158" fmla="*/ 4354009 w 11269336"/>
              <a:gd name="connsiteY158" fmla="*/ 2204984 h 2323145"/>
              <a:gd name="connsiteX159" fmla="*/ 4348284 w 11269336"/>
              <a:gd name="connsiteY159" fmla="*/ 2205270 h 2323145"/>
              <a:gd name="connsiteX160" fmla="*/ 4333906 w 11269336"/>
              <a:gd name="connsiteY160" fmla="*/ 2205251 h 2323145"/>
              <a:gd name="connsiteX161" fmla="*/ 4308819 w 11269336"/>
              <a:gd name="connsiteY161" fmla="*/ 2203822 h 2323145"/>
              <a:gd name="connsiteX162" fmla="*/ 4301210 w 11269336"/>
              <a:gd name="connsiteY162" fmla="*/ 2204456 h 2323145"/>
              <a:gd name="connsiteX163" fmla="*/ 4283095 w 11269336"/>
              <a:gd name="connsiteY163" fmla="*/ 2198177 h 2323145"/>
              <a:gd name="connsiteX164" fmla="*/ 4250119 w 11269336"/>
              <a:gd name="connsiteY164" fmla="*/ 2196342 h 2323145"/>
              <a:gd name="connsiteX165" fmla="*/ 4189203 w 11269336"/>
              <a:gd name="connsiteY165" fmla="*/ 2178994 h 2323145"/>
              <a:gd name="connsiteX166" fmla="*/ 4154035 w 11269336"/>
              <a:gd name="connsiteY166" fmla="*/ 2171950 h 2323145"/>
              <a:gd name="connsiteX167" fmla="*/ 4129569 w 11269336"/>
              <a:gd name="connsiteY167" fmla="*/ 2163850 h 2323145"/>
              <a:gd name="connsiteX168" fmla="*/ 4061250 w 11269336"/>
              <a:gd name="connsiteY168" fmla="*/ 2159236 h 2323145"/>
              <a:gd name="connsiteX169" fmla="*/ 3945480 w 11269336"/>
              <a:gd name="connsiteY169" fmla="*/ 2158279 h 2323145"/>
              <a:gd name="connsiteX170" fmla="*/ 3921468 w 11269336"/>
              <a:gd name="connsiteY170" fmla="*/ 2156588 h 2323145"/>
              <a:gd name="connsiteX171" fmla="*/ 3903348 w 11269336"/>
              <a:gd name="connsiteY171" fmla="*/ 2149220 h 2323145"/>
              <a:gd name="connsiteX172" fmla="*/ 3901342 w 11269336"/>
              <a:gd name="connsiteY172" fmla="*/ 2142355 h 2323145"/>
              <a:gd name="connsiteX173" fmla="*/ 3888539 w 11269336"/>
              <a:gd name="connsiteY173" fmla="*/ 2140476 h 2323145"/>
              <a:gd name="connsiteX174" fmla="*/ 3885662 w 11269336"/>
              <a:gd name="connsiteY174" fmla="*/ 2138740 h 2323145"/>
              <a:gd name="connsiteX175" fmla="*/ 3868627 w 11269336"/>
              <a:gd name="connsiteY175" fmla="*/ 2130023 h 2323145"/>
              <a:gd name="connsiteX176" fmla="*/ 3819177 w 11269336"/>
              <a:gd name="connsiteY176" fmla="*/ 2142111 h 2323145"/>
              <a:gd name="connsiteX177" fmla="*/ 3769100 w 11269336"/>
              <a:gd name="connsiteY177" fmla="*/ 2131731 h 2323145"/>
              <a:gd name="connsiteX178" fmla="*/ 3562752 w 11269336"/>
              <a:gd name="connsiteY178" fmla="*/ 2131785 h 2323145"/>
              <a:gd name="connsiteX179" fmla="*/ 3541402 w 11269336"/>
              <a:gd name="connsiteY179" fmla="*/ 2106821 h 2323145"/>
              <a:gd name="connsiteX180" fmla="*/ 3365341 w 11269336"/>
              <a:gd name="connsiteY180" fmla="*/ 2077638 h 2323145"/>
              <a:gd name="connsiteX181" fmla="*/ 3170922 w 11269336"/>
              <a:gd name="connsiteY181" fmla="*/ 2115957 h 2323145"/>
              <a:gd name="connsiteX182" fmla="*/ 3156256 w 11269336"/>
              <a:gd name="connsiteY182" fmla="*/ 2124773 h 2323145"/>
              <a:gd name="connsiteX183" fmla="*/ 3140298 w 11269336"/>
              <a:gd name="connsiteY183" fmla="*/ 2129182 h 2323145"/>
              <a:gd name="connsiteX184" fmla="*/ 3138514 w 11269336"/>
              <a:gd name="connsiteY184" fmla="*/ 2128069 h 2323145"/>
              <a:gd name="connsiteX185" fmla="*/ 3120467 w 11269336"/>
              <a:gd name="connsiteY185" fmla="*/ 2128281 h 2323145"/>
              <a:gd name="connsiteX186" fmla="*/ 3116175 w 11269336"/>
              <a:gd name="connsiteY186" fmla="*/ 2131633 h 2323145"/>
              <a:gd name="connsiteX187" fmla="*/ 3103685 w 11269336"/>
              <a:gd name="connsiteY187" fmla="*/ 2132814 h 2323145"/>
              <a:gd name="connsiteX188" fmla="*/ 3078794 w 11269336"/>
              <a:gd name="connsiteY188" fmla="*/ 2137935 h 2323145"/>
              <a:gd name="connsiteX189" fmla="*/ 3074407 w 11269336"/>
              <a:gd name="connsiteY189" fmla="*/ 2136274 h 2323145"/>
              <a:gd name="connsiteX190" fmla="*/ 3037285 w 11269336"/>
              <a:gd name="connsiteY190" fmla="*/ 2139919 h 2323145"/>
              <a:gd name="connsiteX191" fmla="*/ 3036901 w 11269336"/>
              <a:gd name="connsiteY191" fmla="*/ 2138726 h 2323145"/>
              <a:gd name="connsiteX192" fmla="*/ 3026996 w 11269336"/>
              <a:gd name="connsiteY192" fmla="*/ 2134322 h 2323145"/>
              <a:gd name="connsiteX193" fmla="*/ 3007772 w 11269336"/>
              <a:gd name="connsiteY193" fmla="*/ 2128742 h 2323145"/>
              <a:gd name="connsiteX194" fmla="*/ 2965030 w 11269336"/>
              <a:gd name="connsiteY194" fmla="*/ 2100494 h 2323145"/>
              <a:gd name="connsiteX195" fmla="*/ 2926342 w 11269336"/>
              <a:gd name="connsiteY195" fmla="*/ 2104155 h 2323145"/>
              <a:gd name="connsiteX196" fmla="*/ 2918608 w 11269336"/>
              <a:gd name="connsiteY196" fmla="*/ 2104215 h 2323145"/>
              <a:gd name="connsiteX197" fmla="*/ 2918475 w 11269336"/>
              <a:gd name="connsiteY197" fmla="*/ 2103937 h 2323145"/>
              <a:gd name="connsiteX198" fmla="*/ 2910360 w 11269336"/>
              <a:gd name="connsiteY198" fmla="*/ 2103444 h 2323145"/>
              <a:gd name="connsiteX199" fmla="*/ 2904507 w 11269336"/>
              <a:gd name="connsiteY199" fmla="*/ 2104326 h 2323145"/>
              <a:gd name="connsiteX200" fmla="*/ 2889503 w 11269336"/>
              <a:gd name="connsiteY200" fmla="*/ 2104443 h 2323145"/>
              <a:gd name="connsiteX201" fmla="*/ 2884480 w 11269336"/>
              <a:gd name="connsiteY201" fmla="*/ 2102626 h 2323145"/>
              <a:gd name="connsiteX202" fmla="*/ 2882689 w 11269336"/>
              <a:gd name="connsiteY202" fmla="*/ 2099228 h 2323145"/>
              <a:gd name="connsiteX203" fmla="*/ 2881291 w 11269336"/>
              <a:gd name="connsiteY203" fmla="*/ 2099618 h 2323145"/>
              <a:gd name="connsiteX204" fmla="*/ 2853979 w 11269336"/>
              <a:gd name="connsiteY204" fmla="*/ 2090388 h 2323145"/>
              <a:gd name="connsiteX205" fmla="*/ 2791790 w 11269336"/>
              <a:gd name="connsiteY205" fmla="*/ 2080332 h 2323145"/>
              <a:gd name="connsiteX206" fmla="*/ 2755844 w 11269336"/>
              <a:gd name="connsiteY206" fmla="*/ 2078874 h 2323145"/>
              <a:gd name="connsiteX207" fmla="*/ 2657742 w 11269336"/>
              <a:gd name="connsiteY207" fmla="*/ 2070179 h 2323145"/>
              <a:gd name="connsiteX208" fmla="*/ 2559549 w 11269336"/>
              <a:gd name="connsiteY208" fmla="*/ 2057873 h 2323145"/>
              <a:gd name="connsiteX209" fmla="*/ 2512054 w 11269336"/>
              <a:gd name="connsiteY209" fmla="*/ 2031671 h 2323145"/>
              <a:gd name="connsiteX210" fmla="*/ 2506437 w 11269336"/>
              <a:gd name="connsiteY210" fmla="*/ 2030918 h 2323145"/>
              <a:gd name="connsiteX211" fmla="*/ 2491752 w 11269336"/>
              <a:gd name="connsiteY211" fmla="*/ 2033906 h 2323145"/>
              <a:gd name="connsiteX212" fmla="*/ 2486338 w 11269336"/>
              <a:gd name="connsiteY212" fmla="*/ 2035862 h 2323145"/>
              <a:gd name="connsiteX213" fmla="*/ 2478186 w 11269336"/>
              <a:gd name="connsiteY213" fmla="*/ 2036953 h 2323145"/>
              <a:gd name="connsiteX214" fmla="*/ 2477950 w 11269336"/>
              <a:gd name="connsiteY214" fmla="*/ 2036715 h 2323145"/>
              <a:gd name="connsiteX215" fmla="*/ 2470381 w 11269336"/>
              <a:gd name="connsiteY215" fmla="*/ 2038256 h 2323145"/>
              <a:gd name="connsiteX216" fmla="*/ 2433781 w 11269336"/>
              <a:gd name="connsiteY216" fmla="*/ 2049140 h 2323145"/>
              <a:gd name="connsiteX217" fmla="*/ 2381172 w 11269336"/>
              <a:gd name="connsiteY217" fmla="*/ 2030645 h 2323145"/>
              <a:gd name="connsiteX218" fmla="*/ 2360198 w 11269336"/>
              <a:gd name="connsiteY218" fmla="*/ 2029059 h 2323145"/>
              <a:gd name="connsiteX219" fmla="*/ 2348815 w 11269336"/>
              <a:gd name="connsiteY219" fmla="*/ 2026798 h 2323145"/>
              <a:gd name="connsiteX220" fmla="*/ 2347988 w 11269336"/>
              <a:gd name="connsiteY220" fmla="*/ 2025745 h 2323145"/>
              <a:gd name="connsiteX221" fmla="*/ 2312920 w 11269336"/>
              <a:gd name="connsiteY221" fmla="*/ 2036311 h 2323145"/>
              <a:gd name="connsiteX222" fmla="*/ 2307986 w 11269336"/>
              <a:gd name="connsiteY222" fmla="*/ 2035583 h 2323145"/>
              <a:gd name="connsiteX223" fmla="*/ 2285481 w 11269336"/>
              <a:gd name="connsiteY223" fmla="*/ 2045197 h 2323145"/>
              <a:gd name="connsiteX224" fmla="*/ 2273666 w 11269336"/>
              <a:gd name="connsiteY224" fmla="*/ 2048710 h 2323145"/>
              <a:gd name="connsiteX225" fmla="*/ 2270719 w 11269336"/>
              <a:gd name="connsiteY225" fmla="*/ 2052702 h 2323145"/>
              <a:gd name="connsiteX226" fmla="*/ 2253080 w 11269336"/>
              <a:gd name="connsiteY226" fmla="*/ 2056363 h 2323145"/>
              <a:gd name="connsiteX227" fmla="*/ 2250906 w 11269336"/>
              <a:gd name="connsiteY227" fmla="*/ 2055654 h 2323145"/>
              <a:gd name="connsiteX228" fmla="*/ 2236905 w 11269336"/>
              <a:gd name="connsiteY228" fmla="*/ 2062882 h 2323145"/>
              <a:gd name="connsiteX229" fmla="*/ 2225830 w 11269336"/>
              <a:gd name="connsiteY229" fmla="*/ 2074027 h 2323145"/>
              <a:gd name="connsiteX230" fmla="*/ 2073776 w 11269336"/>
              <a:gd name="connsiteY230" fmla="*/ 2089244 h 2323145"/>
              <a:gd name="connsiteX231" fmla="*/ 1948256 w 11269336"/>
              <a:gd name="connsiteY231" fmla="*/ 2146616 h 2323145"/>
              <a:gd name="connsiteX232" fmla="*/ 1865582 w 11269336"/>
              <a:gd name="connsiteY232" fmla="*/ 2153738 h 2323145"/>
              <a:gd name="connsiteX233" fmla="*/ 1835210 w 11269336"/>
              <a:gd name="connsiteY233" fmla="*/ 2134244 h 2323145"/>
              <a:gd name="connsiteX234" fmla="*/ 1632661 w 11269336"/>
              <a:gd name="connsiteY234" fmla="*/ 2173882 h 2323145"/>
              <a:gd name="connsiteX235" fmla="*/ 1579590 w 11269336"/>
              <a:gd name="connsiteY235" fmla="*/ 2173680 h 2323145"/>
              <a:gd name="connsiteX236" fmla="*/ 1535601 w 11269336"/>
              <a:gd name="connsiteY236" fmla="*/ 2194590 h 2323145"/>
              <a:gd name="connsiteX237" fmla="*/ 1515594 w 11269336"/>
              <a:gd name="connsiteY237" fmla="*/ 2189622 h 2323145"/>
              <a:gd name="connsiteX238" fmla="*/ 1512113 w 11269336"/>
              <a:gd name="connsiteY238" fmla="*/ 2188534 h 2323145"/>
              <a:gd name="connsiteX239" fmla="*/ 1498838 w 11269336"/>
              <a:gd name="connsiteY239" fmla="*/ 2189213 h 2323145"/>
              <a:gd name="connsiteX240" fmla="*/ 1494279 w 11269336"/>
              <a:gd name="connsiteY240" fmla="*/ 2183112 h 2323145"/>
              <a:gd name="connsiteX241" fmla="*/ 1473714 w 11269336"/>
              <a:gd name="connsiteY241" fmla="*/ 2179625 h 2323145"/>
              <a:gd name="connsiteX242" fmla="*/ 1449503 w 11269336"/>
              <a:gd name="connsiteY242" fmla="*/ 2182633 h 2323145"/>
              <a:gd name="connsiteX243" fmla="*/ 1266687 w 11269336"/>
              <a:gd name="connsiteY243" fmla="*/ 2212688 h 2323145"/>
              <a:gd name="connsiteX244" fmla="*/ 1239614 w 11269336"/>
              <a:gd name="connsiteY244" fmla="*/ 2209727 h 2323145"/>
              <a:gd name="connsiteX245" fmla="*/ 1202436 w 11269336"/>
              <a:gd name="connsiteY245" fmla="*/ 2209817 h 2323145"/>
              <a:gd name="connsiteX246" fmla="*/ 1136097 w 11269336"/>
              <a:gd name="connsiteY246" fmla="*/ 2205112 h 2323145"/>
              <a:gd name="connsiteX247" fmla="*/ 988232 w 11269336"/>
              <a:gd name="connsiteY247" fmla="*/ 2235635 h 2323145"/>
              <a:gd name="connsiteX248" fmla="*/ 981959 w 11269336"/>
              <a:gd name="connsiteY248" fmla="*/ 2231607 h 2323145"/>
              <a:gd name="connsiteX249" fmla="*/ 938600 w 11269336"/>
              <a:gd name="connsiteY249" fmla="*/ 2238113 h 2323145"/>
              <a:gd name="connsiteX250" fmla="*/ 791788 w 11269336"/>
              <a:gd name="connsiteY250" fmla="*/ 2293224 h 2323145"/>
              <a:gd name="connsiteX251" fmla="*/ 706914 w 11269336"/>
              <a:gd name="connsiteY251" fmla="*/ 2305046 h 2323145"/>
              <a:gd name="connsiteX252" fmla="*/ 675971 w 11269336"/>
              <a:gd name="connsiteY252" fmla="*/ 2304030 h 2323145"/>
              <a:gd name="connsiteX253" fmla="*/ 624180 w 11269336"/>
              <a:gd name="connsiteY253" fmla="*/ 2302650 h 2323145"/>
              <a:gd name="connsiteX254" fmla="*/ 583453 w 11269336"/>
              <a:gd name="connsiteY254" fmla="*/ 2288788 h 2323145"/>
              <a:gd name="connsiteX255" fmla="*/ 540946 w 11269336"/>
              <a:gd name="connsiteY255" fmla="*/ 2292721 h 2323145"/>
              <a:gd name="connsiteX256" fmla="*/ 533680 w 11269336"/>
              <a:gd name="connsiteY256" fmla="*/ 2310233 h 2323145"/>
              <a:gd name="connsiteX257" fmla="*/ 487366 w 11269336"/>
              <a:gd name="connsiteY257" fmla="*/ 2309053 h 2323145"/>
              <a:gd name="connsiteX258" fmla="*/ 416820 w 11269336"/>
              <a:gd name="connsiteY258" fmla="*/ 2305443 h 2323145"/>
              <a:gd name="connsiteX259" fmla="*/ 376805 w 11269336"/>
              <a:gd name="connsiteY259" fmla="*/ 2307647 h 2323145"/>
              <a:gd name="connsiteX260" fmla="*/ 266777 w 11269336"/>
              <a:gd name="connsiteY260" fmla="*/ 2309012 h 2323145"/>
              <a:gd name="connsiteX261" fmla="*/ 156013 w 11269336"/>
              <a:gd name="connsiteY261" fmla="*/ 2306832 h 2323145"/>
              <a:gd name="connsiteX262" fmla="*/ 87258 w 11269336"/>
              <a:gd name="connsiteY262" fmla="*/ 2285511 h 2323145"/>
              <a:gd name="connsiteX263" fmla="*/ 23798 w 11269336"/>
              <a:gd name="connsiteY263" fmla="*/ 2281822 h 2323145"/>
              <a:gd name="connsiteX264" fmla="*/ 0 w 11269336"/>
              <a:gd name="connsiteY264" fmla="*/ 2285369 h 2323145"/>
              <a:gd name="connsiteX265" fmla="*/ 0 w 11269336"/>
              <a:gd name="connsiteY26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9070855 w 11269336"/>
              <a:gd name="connsiteY23" fmla="*/ 794621 h 2323145"/>
              <a:gd name="connsiteX24" fmla="*/ 8914746 w 11269336"/>
              <a:gd name="connsiteY24" fmla="*/ 826428 h 2323145"/>
              <a:gd name="connsiteX25" fmla="*/ 8917778 w 11269336"/>
              <a:gd name="connsiteY25" fmla="*/ 835198 h 2323145"/>
              <a:gd name="connsiteX26" fmla="*/ 8905560 w 11269336"/>
              <a:gd name="connsiteY26" fmla="*/ 838358 h 2323145"/>
              <a:gd name="connsiteX27" fmla="*/ 8897564 w 11269336"/>
              <a:gd name="connsiteY27" fmla="*/ 834287 h 2323145"/>
              <a:gd name="connsiteX28" fmla="*/ 8878040 w 11269336"/>
              <a:gd name="connsiteY28" fmla="*/ 844150 h 2323145"/>
              <a:gd name="connsiteX29" fmla="*/ 8795998 w 11269336"/>
              <a:gd name="connsiteY29" fmla="*/ 863337 h 2323145"/>
              <a:gd name="connsiteX30" fmla="*/ 8776970 w 11269336"/>
              <a:gd name="connsiteY30" fmla="*/ 885177 h 2323145"/>
              <a:gd name="connsiteX31" fmla="*/ 8755719 w 11269336"/>
              <a:gd name="connsiteY31" fmla="*/ 889754 h 2323145"/>
              <a:gd name="connsiteX32" fmla="*/ 8743257 w 11269336"/>
              <a:gd name="connsiteY32" fmla="*/ 904723 h 2323145"/>
              <a:gd name="connsiteX33" fmla="*/ 8721366 w 11269336"/>
              <a:gd name="connsiteY33" fmla="*/ 904711 h 2323145"/>
              <a:gd name="connsiteX34" fmla="*/ 8678353 w 11269336"/>
              <a:gd name="connsiteY34" fmla="*/ 926318 h 2323145"/>
              <a:gd name="connsiteX35" fmla="*/ 8636849 w 11269336"/>
              <a:gd name="connsiteY35" fmla="*/ 937900 h 2323145"/>
              <a:gd name="connsiteX36" fmla="*/ 8620213 w 11269336"/>
              <a:gd name="connsiteY36" fmla="*/ 943068 h 2323145"/>
              <a:gd name="connsiteX37" fmla="*/ 8612581 w 11269336"/>
              <a:gd name="connsiteY37" fmla="*/ 952695 h 2323145"/>
              <a:gd name="connsiteX38" fmla="*/ 8589038 w 11269336"/>
              <a:gd name="connsiteY38" fmla="*/ 963892 h 2323145"/>
              <a:gd name="connsiteX39" fmla="*/ 8579950 w 11269336"/>
              <a:gd name="connsiteY39" fmla="*/ 960899 h 2323145"/>
              <a:gd name="connsiteX40" fmla="*/ 8579319 w 11269336"/>
              <a:gd name="connsiteY40" fmla="*/ 965630 h 2323145"/>
              <a:gd name="connsiteX41" fmla="*/ 8547429 w 11269336"/>
              <a:gd name="connsiteY41" fmla="*/ 984506 h 2323145"/>
              <a:gd name="connsiteX42" fmla="*/ 8478704 w 11269336"/>
              <a:gd name="connsiteY42" fmla="*/ 1025490 h 2323145"/>
              <a:gd name="connsiteX43" fmla="*/ 8461421 w 11269336"/>
              <a:gd name="connsiteY43" fmla="*/ 1035512 h 2323145"/>
              <a:gd name="connsiteX44" fmla="*/ 8445003 w 11269336"/>
              <a:gd name="connsiteY44" fmla="*/ 1036851 h 2323145"/>
              <a:gd name="connsiteX45" fmla="*/ 8357350 w 11269336"/>
              <a:gd name="connsiteY45" fmla="*/ 1060213 h 2323145"/>
              <a:gd name="connsiteX46" fmla="*/ 8335565 w 11269336"/>
              <a:gd name="connsiteY46" fmla="*/ 1061151 h 2323145"/>
              <a:gd name="connsiteX47" fmla="*/ 8325267 w 11269336"/>
              <a:gd name="connsiteY47" fmla="*/ 1055919 h 2323145"/>
              <a:gd name="connsiteX48" fmla="*/ 8293586 w 11269336"/>
              <a:gd name="connsiteY48" fmla="*/ 1076144 h 2323145"/>
              <a:gd name="connsiteX49" fmla="*/ 8242405 w 11269336"/>
              <a:gd name="connsiteY49" fmla="*/ 1095960 h 2323145"/>
              <a:gd name="connsiteX50" fmla="*/ 8197391 w 11269336"/>
              <a:gd name="connsiteY50" fmla="*/ 1107746 h 2323145"/>
              <a:gd name="connsiteX51" fmla="*/ 8081474 w 11269336"/>
              <a:gd name="connsiteY51" fmla="*/ 1130125 h 2323145"/>
              <a:gd name="connsiteX52" fmla="*/ 8053585 w 11269336"/>
              <a:gd name="connsiteY52" fmla="*/ 1129169 h 2323145"/>
              <a:gd name="connsiteX53" fmla="*/ 8038422 w 11269336"/>
              <a:gd name="connsiteY53" fmla="*/ 1119092 h 2323145"/>
              <a:gd name="connsiteX54" fmla="*/ 8029450 w 11269336"/>
              <a:gd name="connsiteY54" fmla="*/ 1125592 h 2323145"/>
              <a:gd name="connsiteX55" fmla="*/ 7959552 w 11269336"/>
              <a:gd name="connsiteY55" fmla="*/ 1140188 h 2323145"/>
              <a:gd name="connsiteX56" fmla="*/ 7914188 w 11269336"/>
              <a:gd name="connsiteY56" fmla="*/ 1150862 h 2323145"/>
              <a:gd name="connsiteX57" fmla="*/ 7914918 w 11269336"/>
              <a:gd name="connsiteY57" fmla="*/ 1168758 h 2323145"/>
              <a:gd name="connsiteX58" fmla="*/ 7875510 w 11269336"/>
              <a:gd name="connsiteY58" fmla="*/ 1183153 h 2323145"/>
              <a:gd name="connsiteX59" fmla="*/ 7829932 w 11269336"/>
              <a:gd name="connsiteY59" fmla="*/ 1180782 h 2323145"/>
              <a:gd name="connsiteX60" fmla="*/ 7779182 w 11269336"/>
              <a:gd name="connsiteY60" fmla="*/ 1192665 h 2323145"/>
              <a:gd name="connsiteX61" fmla="*/ 7748774 w 11269336"/>
              <a:gd name="connsiteY61" fmla="*/ 1199586 h 2323145"/>
              <a:gd name="connsiteX62" fmla="*/ 7671846 w 11269336"/>
              <a:gd name="connsiteY62" fmla="*/ 1231966 h 2323145"/>
              <a:gd name="connsiteX63" fmla="*/ 7554146 w 11269336"/>
              <a:gd name="connsiteY63" fmla="*/ 1319748 h 2323145"/>
              <a:gd name="connsiteX64" fmla="*/ 7515052 w 11269336"/>
              <a:gd name="connsiteY64" fmla="*/ 1336718 h 2323145"/>
              <a:gd name="connsiteX65" fmla="*/ 7507193 w 11269336"/>
              <a:gd name="connsiteY65" fmla="*/ 1334617 h 2323145"/>
              <a:gd name="connsiteX66" fmla="*/ 7461694 w 11269336"/>
              <a:gd name="connsiteY66" fmla="*/ 1375866 h 2323145"/>
              <a:gd name="connsiteX67" fmla="*/ 7377571 w 11269336"/>
              <a:gd name="connsiteY67" fmla="*/ 1400128 h 2323145"/>
              <a:gd name="connsiteX68" fmla="*/ 7311261 w 11269336"/>
              <a:gd name="connsiteY68" fmla="*/ 1412652 h 2323145"/>
              <a:gd name="connsiteX69" fmla="*/ 7275307 w 11269336"/>
              <a:gd name="connsiteY69" fmla="*/ 1422171 h 2323145"/>
              <a:gd name="connsiteX70" fmla="*/ 7247783 w 11269336"/>
              <a:gd name="connsiteY70" fmla="*/ 1426330 h 2323145"/>
              <a:gd name="connsiteX71" fmla="*/ 7185047 w 11269336"/>
              <a:gd name="connsiteY71" fmla="*/ 1451812 h 2323145"/>
              <a:gd name="connsiteX72" fmla="*/ 7084117 w 11269336"/>
              <a:gd name="connsiteY72" fmla="*/ 1500281 h 2323145"/>
              <a:gd name="connsiteX73" fmla="*/ 7062011 w 11269336"/>
              <a:gd name="connsiteY73" fmla="*/ 1509183 h 2323145"/>
              <a:gd name="connsiteX74" fmla="*/ 7040555 w 11269336"/>
              <a:gd name="connsiteY74" fmla="*/ 1511207 h 2323145"/>
              <a:gd name="connsiteX75" fmla="*/ 7033438 w 11269336"/>
              <a:gd name="connsiteY75" fmla="*/ 1506772 h 2323145"/>
              <a:gd name="connsiteX76" fmla="*/ 7020886 w 11269336"/>
              <a:gd name="connsiteY76" fmla="*/ 1510764 h 2323145"/>
              <a:gd name="connsiteX77" fmla="*/ 7017033 w 11269336"/>
              <a:gd name="connsiteY77" fmla="*/ 1510650 h 2323145"/>
              <a:gd name="connsiteX78" fmla="*/ 6995460 w 11269336"/>
              <a:gd name="connsiteY78" fmla="*/ 1511173 h 2323145"/>
              <a:gd name="connsiteX79" fmla="*/ 6962144 w 11269336"/>
              <a:gd name="connsiteY79" fmla="*/ 1541508 h 2323145"/>
              <a:gd name="connsiteX80" fmla="*/ 6910674 w 11269336"/>
              <a:gd name="connsiteY80" fmla="*/ 1554793 h 2323145"/>
              <a:gd name="connsiteX81" fmla="*/ 6732152 w 11269336"/>
              <a:gd name="connsiteY81" fmla="*/ 1642538 h 2323145"/>
              <a:gd name="connsiteX82" fmla="*/ 6694106 w 11269336"/>
              <a:gd name="connsiteY82" fmla="*/ 1632377 h 2323145"/>
              <a:gd name="connsiteX83" fmla="*/ 6617223 w 11269336"/>
              <a:gd name="connsiteY83" fmla="*/ 1659889 h 2323145"/>
              <a:gd name="connsiteX84" fmla="*/ 6521138 w 11269336"/>
              <a:gd name="connsiteY84" fmla="*/ 1744340 h 2323145"/>
              <a:gd name="connsiteX85" fmla="*/ 6380677 w 11269336"/>
              <a:gd name="connsiteY85" fmla="*/ 1796883 h 2323145"/>
              <a:gd name="connsiteX86" fmla="*/ 6374897 w 11269336"/>
              <a:gd name="connsiteY86" fmla="*/ 1809910 h 2323145"/>
              <a:gd name="connsiteX87" fmla="*/ 6364545 w 11269336"/>
              <a:gd name="connsiteY87" fmla="*/ 1820090 h 2323145"/>
              <a:gd name="connsiteX88" fmla="*/ 6362126 w 11269336"/>
              <a:gd name="connsiteY88" fmla="*/ 1819991 h 2323145"/>
              <a:gd name="connsiteX89" fmla="*/ 6346673 w 11269336"/>
              <a:gd name="connsiteY89" fmla="*/ 1827824 h 2323145"/>
              <a:gd name="connsiteX90" fmla="*/ 6345588 w 11269336"/>
              <a:gd name="connsiteY90" fmla="*/ 1832232 h 2323145"/>
              <a:gd name="connsiteX91" fmla="*/ 6335708 w 11269336"/>
              <a:gd name="connsiteY91" fmla="*/ 1838451 h 2323145"/>
              <a:gd name="connsiteX92" fmla="*/ 6318182 w 11269336"/>
              <a:gd name="connsiteY92" fmla="*/ 1852975 h 2323145"/>
              <a:gd name="connsiteX93" fmla="*/ 6313084 w 11269336"/>
              <a:gd name="connsiteY93" fmla="*/ 1853561 h 2323145"/>
              <a:gd name="connsiteX94" fmla="*/ 6283816 w 11269336"/>
              <a:gd name="connsiteY94" fmla="*/ 1872148 h 2323145"/>
              <a:gd name="connsiteX95" fmla="*/ 6282550 w 11269336"/>
              <a:gd name="connsiteY95" fmla="*/ 1871392 h 2323145"/>
              <a:gd name="connsiteX96" fmla="*/ 6270527 w 11269336"/>
              <a:gd name="connsiteY96" fmla="*/ 1872208 h 2323145"/>
              <a:gd name="connsiteX97" fmla="*/ 6249518 w 11269336"/>
              <a:gd name="connsiteY97" fmla="*/ 1876079 h 2323145"/>
              <a:gd name="connsiteX98" fmla="*/ 6190386 w 11269336"/>
              <a:gd name="connsiteY98" fmla="*/ 1872478 h 2323145"/>
              <a:gd name="connsiteX99" fmla="*/ 6159777 w 11269336"/>
              <a:gd name="connsiteY99" fmla="*/ 1891745 h 2323145"/>
              <a:gd name="connsiteX100" fmla="*/ 6153131 w 11269336"/>
              <a:gd name="connsiteY100" fmla="*/ 1895079 h 2323145"/>
              <a:gd name="connsiteX101" fmla="*/ 6152798 w 11269336"/>
              <a:gd name="connsiteY101" fmla="*/ 1894920 h 2323145"/>
              <a:gd name="connsiteX102" fmla="*/ 6145388 w 11269336"/>
              <a:gd name="connsiteY102" fmla="*/ 1897990 h 2323145"/>
              <a:gd name="connsiteX103" fmla="*/ 6141014 w 11269336"/>
              <a:gd name="connsiteY103" fmla="*/ 1901155 h 2323145"/>
              <a:gd name="connsiteX104" fmla="*/ 6128122 w 11269336"/>
              <a:gd name="connsiteY104" fmla="*/ 1907623 h 2323145"/>
              <a:gd name="connsiteX105" fmla="*/ 6122351 w 11269336"/>
              <a:gd name="connsiteY105" fmla="*/ 1908359 h 2323145"/>
              <a:gd name="connsiteX106" fmla="*/ 6064750 w 11269336"/>
              <a:gd name="connsiteY106" fmla="*/ 1896394 h 2323145"/>
              <a:gd name="connsiteX107" fmla="*/ 5964230 w 11269336"/>
              <a:gd name="connsiteY107" fmla="*/ 1910038 h 2323145"/>
              <a:gd name="connsiteX108" fmla="*/ 5865399 w 11269336"/>
              <a:gd name="connsiteY108" fmla="*/ 1926966 h 2323145"/>
              <a:gd name="connsiteX109" fmla="*/ 5829951 w 11269336"/>
              <a:gd name="connsiteY109" fmla="*/ 1934755 h 2323145"/>
              <a:gd name="connsiteX110" fmla="*/ 5765285 w 11269336"/>
              <a:gd name="connsiteY110" fmla="*/ 1941322 h 2323145"/>
              <a:gd name="connsiteX111" fmla="*/ 5734750 w 11269336"/>
              <a:gd name="connsiteY111" fmla="*/ 1939793 h 2323145"/>
              <a:gd name="connsiteX112" fmla="*/ 5733569 w 11269336"/>
              <a:gd name="connsiteY112" fmla="*/ 1940505 h 2323145"/>
              <a:gd name="connsiteX113" fmla="*/ 5730329 w 11269336"/>
              <a:gd name="connsiteY113" fmla="*/ 1937845 h 2323145"/>
              <a:gd name="connsiteX114" fmla="*/ 5724661 w 11269336"/>
              <a:gd name="connsiteY114" fmla="*/ 1937455 h 2323145"/>
              <a:gd name="connsiteX115" fmla="*/ 5710186 w 11269336"/>
              <a:gd name="connsiteY115" fmla="*/ 1941370 h 2323145"/>
              <a:gd name="connsiteX116" fmla="*/ 5704910 w 11269336"/>
              <a:gd name="connsiteY116" fmla="*/ 1943663 h 2323145"/>
              <a:gd name="connsiteX117" fmla="*/ 5696836 w 11269336"/>
              <a:gd name="connsiteY117" fmla="*/ 1945271 h 2323145"/>
              <a:gd name="connsiteX118" fmla="*/ 5696583 w 11269336"/>
              <a:gd name="connsiteY118" fmla="*/ 1945050 h 2323145"/>
              <a:gd name="connsiteX119" fmla="*/ 5689123 w 11269336"/>
              <a:gd name="connsiteY119" fmla="*/ 1947067 h 2323145"/>
              <a:gd name="connsiteX120" fmla="*/ 5653291 w 11269336"/>
              <a:gd name="connsiteY120" fmla="*/ 1960245 h 2323145"/>
              <a:gd name="connsiteX121" fmla="*/ 5599385 w 11269336"/>
              <a:gd name="connsiteY121" fmla="*/ 1945198 h 2323145"/>
              <a:gd name="connsiteX122" fmla="*/ 5578300 w 11269336"/>
              <a:gd name="connsiteY122" fmla="*/ 1944963 h 2323145"/>
              <a:gd name="connsiteX123" fmla="*/ 5566758 w 11269336"/>
              <a:gd name="connsiteY123" fmla="*/ 1943441 h 2323145"/>
              <a:gd name="connsiteX124" fmla="*/ 5565857 w 11269336"/>
              <a:gd name="connsiteY124" fmla="*/ 1942445 h 2323145"/>
              <a:gd name="connsiteX125" fmla="*/ 5531534 w 11269336"/>
              <a:gd name="connsiteY125" fmla="*/ 1955208 h 2323145"/>
              <a:gd name="connsiteX126" fmla="*/ 5526552 w 11269336"/>
              <a:gd name="connsiteY126" fmla="*/ 1954799 h 2323145"/>
              <a:gd name="connsiteX127" fmla="*/ 5504723 w 11269336"/>
              <a:gd name="connsiteY127" fmla="*/ 1965811 h 2323145"/>
              <a:gd name="connsiteX128" fmla="*/ 5493156 w 11269336"/>
              <a:gd name="connsiteY128" fmla="*/ 1970063 h 2323145"/>
              <a:gd name="connsiteX129" fmla="*/ 5490486 w 11269336"/>
              <a:gd name="connsiteY129" fmla="*/ 1974227 h 2323145"/>
              <a:gd name="connsiteX130" fmla="*/ 5473107 w 11269336"/>
              <a:gd name="connsiteY130" fmla="*/ 1979001 h 2323145"/>
              <a:gd name="connsiteX131" fmla="*/ 5470885 w 11269336"/>
              <a:gd name="connsiteY131" fmla="*/ 1978432 h 2323145"/>
              <a:gd name="connsiteX132" fmla="*/ 5457393 w 11269336"/>
              <a:gd name="connsiteY132" fmla="*/ 1986525 h 2323145"/>
              <a:gd name="connsiteX133" fmla="*/ 5447102 w 11269336"/>
              <a:gd name="connsiteY133" fmla="*/ 1998329 h 2323145"/>
              <a:gd name="connsiteX134" fmla="*/ 5159151 w 11269336"/>
              <a:gd name="connsiteY134" fmla="*/ 2029640 h 2323145"/>
              <a:gd name="connsiteX135" fmla="*/ 5041688 w 11269336"/>
              <a:gd name="connsiteY135" fmla="*/ 2022334 h 2323145"/>
              <a:gd name="connsiteX136" fmla="*/ 4860988 w 11269336"/>
              <a:gd name="connsiteY136" fmla="*/ 2135698 h 2323145"/>
              <a:gd name="connsiteX137" fmla="*/ 4807902 w 11269336"/>
              <a:gd name="connsiteY137" fmla="*/ 2138894 h 2323145"/>
              <a:gd name="connsiteX138" fmla="*/ 4765388 w 11269336"/>
              <a:gd name="connsiteY138" fmla="*/ 2162525 h 2323145"/>
              <a:gd name="connsiteX139" fmla="*/ 4745033 w 11269336"/>
              <a:gd name="connsiteY139" fmla="*/ 2158859 h 2323145"/>
              <a:gd name="connsiteX140" fmla="*/ 4741475 w 11269336"/>
              <a:gd name="connsiteY140" fmla="*/ 2157998 h 2323145"/>
              <a:gd name="connsiteX141" fmla="*/ 4728247 w 11269336"/>
              <a:gd name="connsiteY141" fmla="*/ 2159526 h 2323145"/>
              <a:gd name="connsiteX142" fmla="*/ 4723263 w 11269336"/>
              <a:gd name="connsiteY142" fmla="*/ 2153742 h 2323145"/>
              <a:gd name="connsiteX143" fmla="*/ 4702453 w 11269336"/>
              <a:gd name="connsiteY143" fmla="*/ 2151586 h 2323145"/>
              <a:gd name="connsiteX144" fmla="*/ 4678455 w 11269336"/>
              <a:gd name="connsiteY144" fmla="*/ 2156131 h 2323145"/>
              <a:gd name="connsiteX145" fmla="*/ 4593061 w 11269336"/>
              <a:gd name="connsiteY145" fmla="*/ 2171597 h 2323145"/>
              <a:gd name="connsiteX146" fmla="*/ 4579902 w 11269336"/>
              <a:gd name="connsiteY146" fmla="*/ 2177927 h 2323145"/>
              <a:gd name="connsiteX147" fmla="*/ 4533444 w 11269336"/>
              <a:gd name="connsiteY147" fmla="*/ 2181200 h 2323145"/>
              <a:gd name="connsiteX148" fmla="*/ 4492832 w 11269336"/>
              <a:gd name="connsiteY148" fmla="*/ 2188033 h 2323145"/>
              <a:gd name="connsiteX149" fmla="*/ 4467257 w 11269336"/>
              <a:gd name="connsiteY149" fmla="*/ 2196121 h 2323145"/>
              <a:gd name="connsiteX150" fmla="*/ 4459937 w 11269336"/>
              <a:gd name="connsiteY150" fmla="*/ 2195182 h 2323145"/>
              <a:gd name="connsiteX151" fmla="*/ 4433312 w 11269336"/>
              <a:gd name="connsiteY151" fmla="*/ 2199004 h 2323145"/>
              <a:gd name="connsiteX152" fmla="*/ 4420601 w 11269336"/>
              <a:gd name="connsiteY152" fmla="*/ 2205158 h 2323145"/>
              <a:gd name="connsiteX153" fmla="*/ 4405765 w 11269336"/>
              <a:gd name="connsiteY153" fmla="*/ 2199902 h 2323145"/>
              <a:gd name="connsiteX154" fmla="*/ 4401354 w 11269336"/>
              <a:gd name="connsiteY154" fmla="*/ 2194745 h 2323145"/>
              <a:gd name="connsiteX155" fmla="*/ 4383151 w 11269336"/>
              <a:gd name="connsiteY155" fmla="*/ 2201140 h 2323145"/>
              <a:gd name="connsiteX156" fmla="*/ 4366646 w 11269336"/>
              <a:gd name="connsiteY156" fmla="*/ 2198564 h 2323145"/>
              <a:gd name="connsiteX157" fmla="*/ 4354009 w 11269336"/>
              <a:gd name="connsiteY157" fmla="*/ 2204984 h 2323145"/>
              <a:gd name="connsiteX158" fmla="*/ 4348284 w 11269336"/>
              <a:gd name="connsiteY158" fmla="*/ 2205270 h 2323145"/>
              <a:gd name="connsiteX159" fmla="*/ 4333906 w 11269336"/>
              <a:gd name="connsiteY159" fmla="*/ 2205251 h 2323145"/>
              <a:gd name="connsiteX160" fmla="*/ 4308819 w 11269336"/>
              <a:gd name="connsiteY160" fmla="*/ 2203822 h 2323145"/>
              <a:gd name="connsiteX161" fmla="*/ 4301210 w 11269336"/>
              <a:gd name="connsiteY161" fmla="*/ 2204456 h 2323145"/>
              <a:gd name="connsiteX162" fmla="*/ 4283095 w 11269336"/>
              <a:gd name="connsiteY162" fmla="*/ 2198177 h 2323145"/>
              <a:gd name="connsiteX163" fmla="*/ 4250119 w 11269336"/>
              <a:gd name="connsiteY163" fmla="*/ 2196342 h 2323145"/>
              <a:gd name="connsiteX164" fmla="*/ 4189203 w 11269336"/>
              <a:gd name="connsiteY164" fmla="*/ 2178994 h 2323145"/>
              <a:gd name="connsiteX165" fmla="*/ 4154035 w 11269336"/>
              <a:gd name="connsiteY165" fmla="*/ 2171950 h 2323145"/>
              <a:gd name="connsiteX166" fmla="*/ 4129569 w 11269336"/>
              <a:gd name="connsiteY166" fmla="*/ 2163850 h 2323145"/>
              <a:gd name="connsiteX167" fmla="*/ 4061250 w 11269336"/>
              <a:gd name="connsiteY167" fmla="*/ 2159236 h 2323145"/>
              <a:gd name="connsiteX168" fmla="*/ 3945480 w 11269336"/>
              <a:gd name="connsiteY168" fmla="*/ 2158279 h 2323145"/>
              <a:gd name="connsiteX169" fmla="*/ 3921468 w 11269336"/>
              <a:gd name="connsiteY169" fmla="*/ 2156588 h 2323145"/>
              <a:gd name="connsiteX170" fmla="*/ 3903348 w 11269336"/>
              <a:gd name="connsiteY170" fmla="*/ 2149220 h 2323145"/>
              <a:gd name="connsiteX171" fmla="*/ 3901342 w 11269336"/>
              <a:gd name="connsiteY171" fmla="*/ 2142355 h 2323145"/>
              <a:gd name="connsiteX172" fmla="*/ 3888539 w 11269336"/>
              <a:gd name="connsiteY172" fmla="*/ 2140476 h 2323145"/>
              <a:gd name="connsiteX173" fmla="*/ 3885662 w 11269336"/>
              <a:gd name="connsiteY173" fmla="*/ 2138740 h 2323145"/>
              <a:gd name="connsiteX174" fmla="*/ 3868627 w 11269336"/>
              <a:gd name="connsiteY174" fmla="*/ 2130023 h 2323145"/>
              <a:gd name="connsiteX175" fmla="*/ 3819177 w 11269336"/>
              <a:gd name="connsiteY175" fmla="*/ 2142111 h 2323145"/>
              <a:gd name="connsiteX176" fmla="*/ 3769100 w 11269336"/>
              <a:gd name="connsiteY176" fmla="*/ 2131731 h 2323145"/>
              <a:gd name="connsiteX177" fmla="*/ 3562752 w 11269336"/>
              <a:gd name="connsiteY177" fmla="*/ 2131785 h 2323145"/>
              <a:gd name="connsiteX178" fmla="*/ 3541402 w 11269336"/>
              <a:gd name="connsiteY178" fmla="*/ 2106821 h 2323145"/>
              <a:gd name="connsiteX179" fmla="*/ 3365341 w 11269336"/>
              <a:gd name="connsiteY179" fmla="*/ 2077638 h 2323145"/>
              <a:gd name="connsiteX180" fmla="*/ 3170922 w 11269336"/>
              <a:gd name="connsiteY180" fmla="*/ 2115957 h 2323145"/>
              <a:gd name="connsiteX181" fmla="*/ 3156256 w 11269336"/>
              <a:gd name="connsiteY181" fmla="*/ 2124773 h 2323145"/>
              <a:gd name="connsiteX182" fmla="*/ 3140298 w 11269336"/>
              <a:gd name="connsiteY182" fmla="*/ 2129182 h 2323145"/>
              <a:gd name="connsiteX183" fmla="*/ 3138514 w 11269336"/>
              <a:gd name="connsiteY183" fmla="*/ 2128069 h 2323145"/>
              <a:gd name="connsiteX184" fmla="*/ 3120467 w 11269336"/>
              <a:gd name="connsiteY184" fmla="*/ 2128281 h 2323145"/>
              <a:gd name="connsiteX185" fmla="*/ 3116175 w 11269336"/>
              <a:gd name="connsiteY185" fmla="*/ 2131633 h 2323145"/>
              <a:gd name="connsiteX186" fmla="*/ 3103685 w 11269336"/>
              <a:gd name="connsiteY186" fmla="*/ 2132814 h 2323145"/>
              <a:gd name="connsiteX187" fmla="*/ 3078794 w 11269336"/>
              <a:gd name="connsiteY187" fmla="*/ 2137935 h 2323145"/>
              <a:gd name="connsiteX188" fmla="*/ 3074407 w 11269336"/>
              <a:gd name="connsiteY188" fmla="*/ 2136274 h 2323145"/>
              <a:gd name="connsiteX189" fmla="*/ 3037285 w 11269336"/>
              <a:gd name="connsiteY189" fmla="*/ 2139919 h 2323145"/>
              <a:gd name="connsiteX190" fmla="*/ 3036901 w 11269336"/>
              <a:gd name="connsiteY190" fmla="*/ 2138726 h 2323145"/>
              <a:gd name="connsiteX191" fmla="*/ 3026996 w 11269336"/>
              <a:gd name="connsiteY191" fmla="*/ 2134322 h 2323145"/>
              <a:gd name="connsiteX192" fmla="*/ 3007772 w 11269336"/>
              <a:gd name="connsiteY192" fmla="*/ 2128742 h 2323145"/>
              <a:gd name="connsiteX193" fmla="*/ 2965030 w 11269336"/>
              <a:gd name="connsiteY193" fmla="*/ 2100494 h 2323145"/>
              <a:gd name="connsiteX194" fmla="*/ 2926342 w 11269336"/>
              <a:gd name="connsiteY194" fmla="*/ 2104155 h 2323145"/>
              <a:gd name="connsiteX195" fmla="*/ 2918608 w 11269336"/>
              <a:gd name="connsiteY195" fmla="*/ 2104215 h 2323145"/>
              <a:gd name="connsiteX196" fmla="*/ 2918475 w 11269336"/>
              <a:gd name="connsiteY196" fmla="*/ 2103937 h 2323145"/>
              <a:gd name="connsiteX197" fmla="*/ 2910360 w 11269336"/>
              <a:gd name="connsiteY197" fmla="*/ 2103444 h 2323145"/>
              <a:gd name="connsiteX198" fmla="*/ 2904507 w 11269336"/>
              <a:gd name="connsiteY198" fmla="*/ 2104326 h 2323145"/>
              <a:gd name="connsiteX199" fmla="*/ 2889503 w 11269336"/>
              <a:gd name="connsiteY199" fmla="*/ 2104443 h 2323145"/>
              <a:gd name="connsiteX200" fmla="*/ 2884480 w 11269336"/>
              <a:gd name="connsiteY200" fmla="*/ 2102626 h 2323145"/>
              <a:gd name="connsiteX201" fmla="*/ 2882689 w 11269336"/>
              <a:gd name="connsiteY201" fmla="*/ 2099228 h 2323145"/>
              <a:gd name="connsiteX202" fmla="*/ 2881291 w 11269336"/>
              <a:gd name="connsiteY202" fmla="*/ 2099618 h 2323145"/>
              <a:gd name="connsiteX203" fmla="*/ 2853979 w 11269336"/>
              <a:gd name="connsiteY203" fmla="*/ 2090388 h 2323145"/>
              <a:gd name="connsiteX204" fmla="*/ 2791790 w 11269336"/>
              <a:gd name="connsiteY204" fmla="*/ 2080332 h 2323145"/>
              <a:gd name="connsiteX205" fmla="*/ 2755844 w 11269336"/>
              <a:gd name="connsiteY205" fmla="*/ 2078874 h 2323145"/>
              <a:gd name="connsiteX206" fmla="*/ 2657742 w 11269336"/>
              <a:gd name="connsiteY206" fmla="*/ 2070179 h 2323145"/>
              <a:gd name="connsiteX207" fmla="*/ 2559549 w 11269336"/>
              <a:gd name="connsiteY207" fmla="*/ 2057873 h 2323145"/>
              <a:gd name="connsiteX208" fmla="*/ 2512054 w 11269336"/>
              <a:gd name="connsiteY208" fmla="*/ 2031671 h 2323145"/>
              <a:gd name="connsiteX209" fmla="*/ 2506437 w 11269336"/>
              <a:gd name="connsiteY209" fmla="*/ 2030918 h 2323145"/>
              <a:gd name="connsiteX210" fmla="*/ 2491752 w 11269336"/>
              <a:gd name="connsiteY210" fmla="*/ 2033906 h 2323145"/>
              <a:gd name="connsiteX211" fmla="*/ 2486338 w 11269336"/>
              <a:gd name="connsiteY211" fmla="*/ 2035862 h 2323145"/>
              <a:gd name="connsiteX212" fmla="*/ 2478186 w 11269336"/>
              <a:gd name="connsiteY212" fmla="*/ 2036953 h 2323145"/>
              <a:gd name="connsiteX213" fmla="*/ 2477950 w 11269336"/>
              <a:gd name="connsiteY213" fmla="*/ 2036715 h 2323145"/>
              <a:gd name="connsiteX214" fmla="*/ 2470381 w 11269336"/>
              <a:gd name="connsiteY214" fmla="*/ 2038256 h 2323145"/>
              <a:gd name="connsiteX215" fmla="*/ 2433781 w 11269336"/>
              <a:gd name="connsiteY215" fmla="*/ 2049140 h 2323145"/>
              <a:gd name="connsiteX216" fmla="*/ 2381172 w 11269336"/>
              <a:gd name="connsiteY216" fmla="*/ 2030645 h 2323145"/>
              <a:gd name="connsiteX217" fmla="*/ 2360198 w 11269336"/>
              <a:gd name="connsiteY217" fmla="*/ 2029059 h 2323145"/>
              <a:gd name="connsiteX218" fmla="*/ 2348815 w 11269336"/>
              <a:gd name="connsiteY218" fmla="*/ 2026798 h 2323145"/>
              <a:gd name="connsiteX219" fmla="*/ 2347988 w 11269336"/>
              <a:gd name="connsiteY219" fmla="*/ 2025745 h 2323145"/>
              <a:gd name="connsiteX220" fmla="*/ 2312920 w 11269336"/>
              <a:gd name="connsiteY220" fmla="*/ 2036311 h 2323145"/>
              <a:gd name="connsiteX221" fmla="*/ 2307986 w 11269336"/>
              <a:gd name="connsiteY221" fmla="*/ 2035583 h 2323145"/>
              <a:gd name="connsiteX222" fmla="*/ 2285481 w 11269336"/>
              <a:gd name="connsiteY222" fmla="*/ 2045197 h 2323145"/>
              <a:gd name="connsiteX223" fmla="*/ 2273666 w 11269336"/>
              <a:gd name="connsiteY223" fmla="*/ 2048710 h 2323145"/>
              <a:gd name="connsiteX224" fmla="*/ 2270719 w 11269336"/>
              <a:gd name="connsiteY224" fmla="*/ 2052702 h 2323145"/>
              <a:gd name="connsiteX225" fmla="*/ 2253080 w 11269336"/>
              <a:gd name="connsiteY225" fmla="*/ 2056363 h 2323145"/>
              <a:gd name="connsiteX226" fmla="*/ 2250906 w 11269336"/>
              <a:gd name="connsiteY226" fmla="*/ 2055654 h 2323145"/>
              <a:gd name="connsiteX227" fmla="*/ 2236905 w 11269336"/>
              <a:gd name="connsiteY227" fmla="*/ 2062882 h 2323145"/>
              <a:gd name="connsiteX228" fmla="*/ 2225830 w 11269336"/>
              <a:gd name="connsiteY228" fmla="*/ 2074027 h 2323145"/>
              <a:gd name="connsiteX229" fmla="*/ 2073776 w 11269336"/>
              <a:gd name="connsiteY229" fmla="*/ 2089244 h 2323145"/>
              <a:gd name="connsiteX230" fmla="*/ 1948256 w 11269336"/>
              <a:gd name="connsiteY230" fmla="*/ 2146616 h 2323145"/>
              <a:gd name="connsiteX231" fmla="*/ 1865582 w 11269336"/>
              <a:gd name="connsiteY231" fmla="*/ 2153738 h 2323145"/>
              <a:gd name="connsiteX232" fmla="*/ 1835210 w 11269336"/>
              <a:gd name="connsiteY232" fmla="*/ 2134244 h 2323145"/>
              <a:gd name="connsiteX233" fmla="*/ 1632661 w 11269336"/>
              <a:gd name="connsiteY233" fmla="*/ 2173882 h 2323145"/>
              <a:gd name="connsiteX234" fmla="*/ 1579590 w 11269336"/>
              <a:gd name="connsiteY234" fmla="*/ 2173680 h 2323145"/>
              <a:gd name="connsiteX235" fmla="*/ 1535601 w 11269336"/>
              <a:gd name="connsiteY235" fmla="*/ 2194590 h 2323145"/>
              <a:gd name="connsiteX236" fmla="*/ 1515594 w 11269336"/>
              <a:gd name="connsiteY236" fmla="*/ 2189622 h 2323145"/>
              <a:gd name="connsiteX237" fmla="*/ 1512113 w 11269336"/>
              <a:gd name="connsiteY237" fmla="*/ 2188534 h 2323145"/>
              <a:gd name="connsiteX238" fmla="*/ 1498838 w 11269336"/>
              <a:gd name="connsiteY238" fmla="*/ 2189213 h 2323145"/>
              <a:gd name="connsiteX239" fmla="*/ 1494279 w 11269336"/>
              <a:gd name="connsiteY239" fmla="*/ 2183112 h 2323145"/>
              <a:gd name="connsiteX240" fmla="*/ 1473714 w 11269336"/>
              <a:gd name="connsiteY240" fmla="*/ 2179625 h 2323145"/>
              <a:gd name="connsiteX241" fmla="*/ 1449503 w 11269336"/>
              <a:gd name="connsiteY241" fmla="*/ 2182633 h 2323145"/>
              <a:gd name="connsiteX242" fmla="*/ 1266687 w 11269336"/>
              <a:gd name="connsiteY242" fmla="*/ 2212688 h 2323145"/>
              <a:gd name="connsiteX243" fmla="*/ 1239614 w 11269336"/>
              <a:gd name="connsiteY243" fmla="*/ 2209727 h 2323145"/>
              <a:gd name="connsiteX244" fmla="*/ 1202436 w 11269336"/>
              <a:gd name="connsiteY244" fmla="*/ 2209817 h 2323145"/>
              <a:gd name="connsiteX245" fmla="*/ 1136097 w 11269336"/>
              <a:gd name="connsiteY245" fmla="*/ 2205112 h 2323145"/>
              <a:gd name="connsiteX246" fmla="*/ 988232 w 11269336"/>
              <a:gd name="connsiteY246" fmla="*/ 2235635 h 2323145"/>
              <a:gd name="connsiteX247" fmla="*/ 981959 w 11269336"/>
              <a:gd name="connsiteY247" fmla="*/ 2231607 h 2323145"/>
              <a:gd name="connsiteX248" fmla="*/ 938600 w 11269336"/>
              <a:gd name="connsiteY248" fmla="*/ 2238113 h 2323145"/>
              <a:gd name="connsiteX249" fmla="*/ 791788 w 11269336"/>
              <a:gd name="connsiteY249" fmla="*/ 2293224 h 2323145"/>
              <a:gd name="connsiteX250" fmla="*/ 706914 w 11269336"/>
              <a:gd name="connsiteY250" fmla="*/ 2305046 h 2323145"/>
              <a:gd name="connsiteX251" fmla="*/ 675971 w 11269336"/>
              <a:gd name="connsiteY251" fmla="*/ 2304030 h 2323145"/>
              <a:gd name="connsiteX252" fmla="*/ 624180 w 11269336"/>
              <a:gd name="connsiteY252" fmla="*/ 2302650 h 2323145"/>
              <a:gd name="connsiteX253" fmla="*/ 583453 w 11269336"/>
              <a:gd name="connsiteY253" fmla="*/ 2288788 h 2323145"/>
              <a:gd name="connsiteX254" fmla="*/ 540946 w 11269336"/>
              <a:gd name="connsiteY254" fmla="*/ 2292721 h 2323145"/>
              <a:gd name="connsiteX255" fmla="*/ 533680 w 11269336"/>
              <a:gd name="connsiteY255" fmla="*/ 2310233 h 2323145"/>
              <a:gd name="connsiteX256" fmla="*/ 487366 w 11269336"/>
              <a:gd name="connsiteY256" fmla="*/ 2309053 h 2323145"/>
              <a:gd name="connsiteX257" fmla="*/ 416820 w 11269336"/>
              <a:gd name="connsiteY257" fmla="*/ 2305443 h 2323145"/>
              <a:gd name="connsiteX258" fmla="*/ 376805 w 11269336"/>
              <a:gd name="connsiteY258" fmla="*/ 2307647 h 2323145"/>
              <a:gd name="connsiteX259" fmla="*/ 266777 w 11269336"/>
              <a:gd name="connsiteY259" fmla="*/ 2309012 h 2323145"/>
              <a:gd name="connsiteX260" fmla="*/ 156013 w 11269336"/>
              <a:gd name="connsiteY260" fmla="*/ 2306832 h 2323145"/>
              <a:gd name="connsiteX261" fmla="*/ 87258 w 11269336"/>
              <a:gd name="connsiteY261" fmla="*/ 2285511 h 2323145"/>
              <a:gd name="connsiteX262" fmla="*/ 23798 w 11269336"/>
              <a:gd name="connsiteY262" fmla="*/ 2281822 h 2323145"/>
              <a:gd name="connsiteX263" fmla="*/ 0 w 11269336"/>
              <a:gd name="connsiteY263" fmla="*/ 2285369 h 2323145"/>
              <a:gd name="connsiteX264" fmla="*/ 0 w 11269336"/>
              <a:gd name="connsiteY264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8977138 w 11269336"/>
              <a:gd name="connsiteY22" fmla="*/ 774970 h 2323145"/>
              <a:gd name="connsiteX23" fmla="*/ 8914746 w 11269336"/>
              <a:gd name="connsiteY23" fmla="*/ 826428 h 2323145"/>
              <a:gd name="connsiteX24" fmla="*/ 8917778 w 11269336"/>
              <a:gd name="connsiteY24" fmla="*/ 835198 h 2323145"/>
              <a:gd name="connsiteX25" fmla="*/ 8905560 w 11269336"/>
              <a:gd name="connsiteY25" fmla="*/ 838358 h 2323145"/>
              <a:gd name="connsiteX26" fmla="*/ 8897564 w 11269336"/>
              <a:gd name="connsiteY26" fmla="*/ 834287 h 2323145"/>
              <a:gd name="connsiteX27" fmla="*/ 8878040 w 11269336"/>
              <a:gd name="connsiteY27" fmla="*/ 844150 h 2323145"/>
              <a:gd name="connsiteX28" fmla="*/ 8795998 w 11269336"/>
              <a:gd name="connsiteY28" fmla="*/ 863337 h 2323145"/>
              <a:gd name="connsiteX29" fmla="*/ 8776970 w 11269336"/>
              <a:gd name="connsiteY29" fmla="*/ 885177 h 2323145"/>
              <a:gd name="connsiteX30" fmla="*/ 8755719 w 11269336"/>
              <a:gd name="connsiteY30" fmla="*/ 889754 h 2323145"/>
              <a:gd name="connsiteX31" fmla="*/ 8743257 w 11269336"/>
              <a:gd name="connsiteY31" fmla="*/ 904723 h 2323145"/>
              <a:gd name="connsiteX32" fmla="*/ 8721366 w 11269336"/>
              <a:gd name="connsiteY32" fmla="*/ 904711 h 2323145"/>
              <a:gd name="connsiteX33" fmla="*/ 8678353 w 11269336"/>
              <a:gd name="connsiteY33" fmla="*/ 926318 h 2323145"/>
              <a:gd name="connsiteX34" fmla="*/ 8636849 w 11269336"/>
              <a:gd name="connsiteY34" fmla="*/ 937900 h 2323145"/>
              <a:gd name="connsiteX35" fmla="*/ 8620213 w 11269336"/>
              <a:gd name="connsiteY35" fmla="*/ 943068 h 2323145"/>
              <a:gd name="connsiteX36" fmla="*/ 8612581 w 11269336"/>
              <a:gd name="connsiteY36" fmla="*/ 952695 h 2323145"/>
              <a:gd name="connsiteX37" fmla="*/ 8589038 w 11269336"/>
              <a:gd name="connsiteY37" fmla="*/ 963892 h 2323145"/>
              <a:gd name="connsiteX38" fmla="*/ 8579950 w 11269336"/>
              <a:gd name="connsiteY38" fmla="*/ 960899 h 2323145"/>
              <a:gd name="connsiteX39" fmla="*/ 8579319 w 11269336"/>
              <a:gd name="connsiteY39" fmla="*/ 965630 h 2323145"/>
              <a:gd name="connsiteX40" fmla="*/ 8547429 w 11269336"/>
              <a:gd name="connsiteY40" fmla="*/ 984506 h 2323145"/>
              <a:gd name="connsiteX41" fmla="*/ 8478704 w 11269336"/>
              <a:gd name="connsiteY41" fmla="*/ 1025490 h 2323145"/>
              <a:gd name="connsiteX42" fmla="*/ 8461421 w 11269336"/>
              <a:gd name="connsiteY42" fmla="*/ 1035512 h 2323145"/>
              <a:gd name="connsiteX43" fmla="*/ 8445003 w 11269336"/>
              <a:gd name="connsiteY43" fmla="*/ 1036851 h 2323145"/>
              <a:gd name="connsiteX44" fmla="*/ 8357350 w 11269336"/>
              <a:gd name="connsiteY44" fmla="*/ 1060213 h 2323145"/>
              <a:gd name="connsiteX45" fmla="*/ 8335565 w 11269336"/>
              <a:gd name="connsiteY45" fmla="*/ 1061151 h 2323145"/>
              <a:gd name="connsiteX46" fmla="*/ 8325267 w 11269336"/>
              <a:gd name="connsiteY46" fmla="*/ 1055919 h 2323145"/>
              <a:gd name="connsiteX47" fmla="*/ 8293586 w 11269336"/>
              <a:gd name="connsiteY47" fmla="*/ 1076144 h 2323145"/>
              <a:gd name="connsiteX48" fmla="*/ 8242405 w 11269336"/>
              <a:gd name="connsiteY48" fmla="*/ 1095960 h 2323145"/>
              <a:gd name="connsiteX49" fmla="*/ 8197391 w 11269336"/>
              <a:gd name="connsiteY49" fmla="*/ 1107746 h 2323145"/>
              <a:gd name="connsiteX50" fmla="*/ 8081474 w 11269336"/>
              <a:gd name="connsiteY50" fmla="*/ 1130125 h 2323145"/>
              <a:gd name="connsiteX51" fmla="*/ 8053585 w 11269336"/>
              <a:gd name="connsiteY51" fmla="*/ 1129169 h 2323145"/>
              <a:gd name="connsiteX52" fmla="*/ 8038422 w 11269336"/>
              <a:gd name="connsiteY52" fmla="*/ 1119092 h 2323145"/>
              <a:gd name="connsiteX53" fmla="*/ 8029450 w 11269336"/>
              <a:gd name="connsiteY53" fmla="*/ 1125592 h 2323145"/>
              <a:gd name="connsiteX54" fmla="*/ 7959552 w 11269336"/>
              <a:gd name="connsiteY54" fmla="*/ 1140188 h 2323145"/>
              <a:gd name="connsiteX55" fmla="*/ 7914188 w 11269336"/>
              <a:gd name="connsiteY55" fmla="*/ 1150862 h 2323145"/>
              <a:gd name="connsiteX56" fmla="*/ 7914918 w 11269336"/>
              <a:gd name="connsiteY56" fmla="*/ 1168758 h 2323145"/>
              <a:gd name="connsiteX57" fmla="*/ 7875510 w 11269336"/>
              <a:gd name="connsiteY57" fmla="*/ 1183153 h 2323145"/>
              <a:gd name="connsiteX58" fmla="*/ 7829932 w 11269336"/>
              <a:gd name="connsiteY58" fmla="*/ 1180782 h 2323145"/>
              <a:gd name="connsiteX59" fmla="*/ 7779182 w 11269336"/>
              <a:gd name="connsiteY59" fmla="*/ 1192665 h 2323145"/>
              <a:gd name="connsiteX60" fmla="*/ 7748774 w 11269336"/>
              <a:gd name="connsiteY60" fmla="*/ 1199586 h 2323145"/>
              <a:gd name="connsiteX61" fmla="*/ 7671846 w 11269336"/>
              <a:gd name="connsiteY61" fmla="*/ 1231966 h 2323145"/>
              <a:gd name="connsiteX62" fmla="*/ 7554146 w 11269336"/>
              <a:gd name="connsiteY62" fmla="*/ 1319748 h 2323145"/>
              <a:gd name="connsiteX63" fmla="*/ 7515052 w 11269336"/>
              <a:gd name="connsiteY63" fmla="*/ 1336718 h 2323145"/>
              <a:gd name="connsiteX64" fmla="*/ 7507193 w 11269336"/>
              <a:gd name="connsiteY64" fmla="*/ 1334617 h 2323145"/>
              <a:gd name="connsiteX65" fmla="*/ 7461694 w 11269336"/>
              <a:gd name="connsiteY65" fmla="*/ 1375866 h 2323145"/>
              <a:gd name="connsiteX66" fmla="*/ 7377571 w 11269336"/>
              <a:gd name="connsiteY66" fmla="*/ 1400128 h 2323145"/>
              <a:gd name="connsiteX67" fmla="*/ 7311261 w 11269336"/>
              <a:gd name="connsiteY67" fmla="*/ 1412652 h 2323145"/>
              <a:gd name="connsiteX68" fmla="*/ 7275307 w 11269336"/>
              <a:gd name="connsiteY68" fmla="*/ 1422171 h 2323145"/>
              <a:gd name="connsiteX69" fmla="*/ 7247783 w 11269336"/>
              <a:gd name="connsiteY69" fmla="*/ 1426330 h 2323145"/>
              <a:gd name="connsiteX70" fmla="*/ 7185047 w 11269336"/>
              <a:gd name="connsiteY70" fmla="*/ 1451812 h 2323145"/>
              <a:gd name="connsiteX71" fmla="*/ 7084117 w 11269336"/>
              <a:gd name="connsiteY71" fmla="*/ 1500281 h 2323145"/>
              <a:gd name="connsiteX72" fmla="*/ 7062011 w 11269336"/>
              <a:gd name="connsiteY72" fmla="*/ 1509183 h 2323145"/>
              <a:gd name="connsiteX73" fmla="*/ 7040555 w 11269336"/>
              <a:gd name="connsiteY73" fmla="*/ 1511207 h 2323145"/>
              <a:gd name="connsiteX74" fmla="*/ 7033438 w 11269336"/>
              <a:gd name="connsiteY74" fmla="*/ 1506772 h 2323145"/>
              <a:gd name="connsiteX75" fmla="*/ 7020886 w 11269336"/>
              <a:gd name="connsiteY75" fmla="*/ 1510764 h 2323145"/>
              <a:gd name="connsiteX76" fmla="*/ 7017033 w 11269336"/>
              <a:gd name="connsiteY76" fmla="*/ 1510650 h 2323145"/>
              <a:gd name="connsiteX77" fmla="*/ 6995460 w 11269336"/>
              <a:gd name="connsiteY77" fmla="*/ 1511173 h 2323145"/>
              <a:gd name="connsiteX78" fmla="*/ 6962144 w 11269336"/>
              <a:gd name="connsiteY78" fmla="*/ 1541508 h 2323145"/>
              <a:gd name="connsiteX79" fmla="*/ 6910674 w 11269336"/>
              <a:gd name="connsiteY79" fmla="*/ 1554793 h 2323145"/>
              <a:gd name="connsiteX80" fmla="*/ 6732152 w 11269336"/>
              <a:gd name="connsiteY80" fmla="*/ 1642538 h 2323145"/>
              <a:gd name="connsiteX81" fmla="*/ 6694106 w 11269336"/>
              <a:gd name="connsiteY81" fmla="*/ 1632377 h 2323145"/>
              <a:gd name="connsiteX82" fmla="*/ 6617223 w 11269336"/>
              <a:gd name="connsiteY82" fmla="*/ 1659889 h 2323145"/>
              <a:gd name="connsiteX83" fmla="*/ 6521138 w 11269336"/>
              <a:gd name="connsiteY83" fmla="*/ 1744340 h 2323145"/>
              <a:gd name="connsiteX84" fmla="*/ 6380677 w 11269336"/>
              <a:gd name="connsiteY84" fmla="*/ 1796883 h 2323145"/>
              <a:gd name="connsiteX85" fmla="*/ 6374897 w 11269336"/>
              <a:gd name="connsiteY85" fmla="*/ 1809910 h 2323145"/>
              <a:gd name="connsiteX86" fmla="*/ 6364545 w 11269336"/>
              <a:gd name="connsiteY86" fmla="*/ 1820090 h 2323145"/>
              <a:gd name="connsiteX87" fmla="*/ 6362126 w 11269336"/>
              <a:gd name="connsiteY87" fmla="*/ 1819991 h 2323145"/>
              <a:gd name="connsiteX88" fmla="*/ 6346673 w 11269336"/>
              <a:gd name="connsiteY88" fmla="*/ 1827824 h 2323145"/>
              <a:gd name="connsiteX89" fmla="*/ 6345588 w 11269336"/>
              <a:gd name="connsiteY89" fmla="*/ 1832232 h 2323145"/>
              <a:gd name="connsiteX90" fmla="*/ 6335708 w 11269336"/>
              <a:gd name="connsiteY90" fmla="*/ 1838451 h 2323145"/>
              <a:gd name="connsiteX91" fmla="*/ 6318182 w 11269336"/>
              <a:gd name="connsiteY91" fmla="*/ 1852975 h 2323145"/>
              <a:gd name="connsiteX92" fmla="*/ 6313084 w 11269336"/>
              <a:gd name="connsiteY92" fmla="*/ 1853561 h 2323145"/>
              <a:gd name="connsiteX93" fmla="*/ 6283816 w 11269336"/>
              <a:gd name="connsiteY93" fmla="*/ 1872148 h 2323145"/>
              <a:gd name="connsiteX94" fmla="*/ 6282550 w 11269336"/>
              <a:gd name="connsiteY94" fmla="*/ 1871392 h 2323145"/>
              <a:gd name="connsiteX95" fmla="*/ 6270527 w 11269336"/>
              <a:gd name="connsiteY95" fmla="*/ 1872208 h 2323145"/>
              <a:gd name="connsiteX96" fmla="*/ 6249518 w 11269336"/>
              <a:gd name="connsiteY96" fmla="*/ 1876079 h 2323145"/>
              <a:gd name="connsiteX97" fmla="*/ 6190386 w 11269336"/>
              <a:gd name="connsiteY97" fmla="*/ 1872478 h 2323145"/>
              <a:gd name="connsiteX98" fmla="*/ 6159777 w 11269336"/>
              <a:gd name="connsiteY98" fmla="*/ 1891745 h 2323145"/>
              <a:gd name="connsiteX99" fmla="*/ 6153131 w 11269336"/>
              <a:gd name="connsiteY99" fmla="*/ 1895079 h 2323145"/>
              <a:gd name="connsiteX100" fmla="*/ 6152798 w 11269336"/>
              <a:gd name="connsiteY100" fmla="*/ 1894920 h 2323145"/>
              <a:gd name="connsiteX101" fmla="*/ 6145388 w 11269336"/>
              <a:gd name="connsiteY101" fmla="*/ 1897990 h 2323145"/>
              <a:gd name="connsiteX102" fmla="*/ 6141014 w 11269336"/>
              <a:gd name="connsiteY102" fmla="*/ 1901155 h 2323145"/>
              <a:gd name="connsiteX103" fmla="*/ 6128122 w 11269336"/>
              <a:gd name="connsiteY103" fmla="*/ 1907623 h 2323145"/>
              <a:gd name="connsiteX104" fmla="*/ 6122351 w 11269336"/>
              <a:gd name="connsiteY104" fmla="*/ 1908359 h 2323145"/>
              <a:gd name="connsiteX105" fmla="*/ 6064750 w 11269336"/>
              <a:gd name="connsiteY105" fmla="*/ 1896394 h 2323145"/>
              <a:gd name="connsiteX106" fmla="*/ 5964230 w 11269336"/>
              <a:gd name="connsiteY106" fmla="*/ 1910038 h 2323145"/>
              <a:gd name="connsiteX107" fmla="*/ 5865399 w 11269336"/>
              <a:gd name="connsiteY107" fmla="*/ 1926966 h 2323145"/>
              <a:gd name="connsiteX108" fmla="*/ 5829951 w 11269336"/>
              <a:gd name="connsiteY108" fmla="*/ 1934755 h 2323145"/>
              <a:gd name="connsiteX109" fmla="*/ 5765285 w 11269336"/>
              <a:gd name="connsiteY109" fmla="*/ 1941322 h 2323145"/>
              <a:gd name="connsiteX110" fmla="*/ 5734750 w 11269336"/>
              <a:gd name="connsiteY110" fmla="*/ 1939793 h 2323145"/>
              <a:gd name="connsiteX111" fmla="*/ 5733569 w 11269336"/>
              <a:gd name="connsiteY111" fmla="*/ 1940505 h 2323145"/>
              <a:gd name="connsiteX112" fmla="*/ 5730329 w 11269336"/>
              <a:gd name="connsiteY112" fmla="*/ 1937845 h 2323145"/>
              <a:gd name="connsiteX113" fmla="*/ 5724661 w 11269336"/>
              <a:gd name="connsiteY113" fmla="*/ 1937455 h 2323145"/>
              <a:gd name="connsiteX114" fmla="*/ 5710186 w 11269336"/>
              <a:gd name="connsiteY114" fmla="*/ 1941370 h 2323145"/>
              <a:gd name="connsiteX115" fmla="*/ 5704910 w 11269336"/>
              <a:gd name="connsiteY115" fmla="*/ 1943663 h 2323145"/>
              <a:gd name="connsiteX116" fmla="*/ 5696836 w 11269336"/>
              <a:gd name="connsiteY116" fmla="*/ 1945271 h 2323145"/>
              <a:gd name="connsiteX117" fmla="*/ 5696583 w 11269336"/>
              <a:gd name="connsiteY117" fmla="*/ 1945050 h 2323145"/>
              <a:gd name="connsiteX118" fmla="*/ 5689123 w 11269336"/>
              <a:gd name="connsiteY118" fmla="*/ 1947067 h 2323145"/>
              <a:gd name="connsiteX119" fmla="*/ 5653291 w 11269336"/>
              <a:gd name="connsiteY119" fmla="*/ 1960245 h 2323145"/>
              <a:gd name="connsiteX120" fmla="*/ 5599385 w 11269336"/>
              <a:gd name="connsiteY120" fmla="*/ 1945198 h 2323145"/>
              <a:gd name="connsiteX121" fmla="*/ 5578300 w 11269336"/>
              <a:gd name="connsiteY121" fmla="*/ 1944963 h 2323145"/>
              <a:gd name="connsiteX122" fmla="*/ 5566758 w 11269336"/>
              <a:gd name="connsiteY122" fmla="*/ 1943441 h 2323145"/>
              <a:gd name="connsiteX123" fmla="*/ 5565857 w 11269336"/>
              <a:gd name="connsiteY123" fmla="*/ 1942445 h 2323145"/>
              <a:gd name="connsiteX124" fmla="*/ 5531534 w 11269336"/>
              <a:gd name="connsiteY124" fmla="*/ 1955208 h 2323145"/>
              <a:gd name="connsiteX125" fmla="*/ 5526552 w 11269336"/>
              <a:gd name="connsiteY125" fmla="*/ 1954799 h 2323145"/>
              <a:gd name="connsiteX126" fmla="*/ 5504723 w 11269336"/>
              <a:gd name="connsiteY126" fmla="*/ 1965811 h 2323145"/>
              <a:gd name="connsiteX127" fmla="*/ 5493156 w 11269336"/>
              <a:gd name="connsiteY127" fmla="*/ 1970063 h 2323145"/>
              <a:gd name="connsiteX128" fmla="*/ 5490486 w 11269336"/>
              <a:gd name="connsiteY128" fmla="*/ 1974227 h 2323145"/>
              <a:gd name="connsiteX129" fmla="*/ 5473107 w 11269336"/>
              <a:gd name="connsiteY129" fmla="*/ 1979001 h 2323145"/>
              <a:gd name="connsiteX130" fmla="*/ 5470885 w 11269336"/>
              <a:gd name="connsiteY130" fmla="*/ 1978432 h 2323145"/>
              <a:gd name="connsiteX131" fmla="*/ 5457393 w 11269336"/>
              <a:gd name="connsiteY131" fmla="*/ 1986525 h 2323145"/>
              <a:gd name="connsiteX132" fmla="*/ 5447102 w 11269336"/>
              <a:gd name="connsiteY132" fmla="*/ 1998329 h 2323145"/>
              <a:gd name="connsiteX133" fmla="*/ 5159151 w 11269336"/>
              <a:gd name="connsiteY133" fmla="*/ 2029640 h 2323145"/>
              <a:gd name="connsiteX134" fmla="*/ 5041688 w 11269336"/>
              <a:gd name="connsiteY134" fmla="*/ 2022334 h 2323145"/>
              <a:gd name="connsiteX135" fmla="*/ 4860988 w 11269336"/>
              <a:gd name="connsiteY135" fmla="*/ 2135698 h 2323145"/>
              <a:gd name="connsiteX136" fmla="*/ 4807902 w 11269336"/>
              <a:gd name="connsiteY136" fmla="*/ 2138894 h 2323145"/>
              <a:gd name="connsiteX137" fmla="*/ 4765388 w 11269336"/>
              <a:gd name="connsiteY137" fmla="*/ 2162525 h 2323145"/>
              <a:gd name="connsiteX138" fmla="*/ 4745033 w 11269336"/>
              <a:gd name="connsiteY138" fmla="*/ 2158859 h 2323145"/>
              <a:gd name="connsiteX139" fmla="*/ 4741475 w 11269336"/>
              <a:gd name="connsiteY139" fmla="*/ 2157998 h 2323145"/>
              <a:gd name="connsiteX140" fmla="*/ 4728247 w 11269336"/>
              <a:gd name="connsiteY140" fmla="*/ 2159526 h 2323145"/>
              <a:gd name="connsiteX141" fmla="*/ 4723263 w 11269336"/>
              <a:gd name="connsiteY141" fmla="*/ 2153742 h 2323145"/>
              <a:gd name="connsiteX142" fmla="*/ 4702453 w 11269336"/>
              <a:gd name="connsiteY142" fmla="*/ 2151586 h 2323145"/>
              <a:gd name="connsiteX143" fmla="*/ 4678455 w 11269336"/>
              <a:gd name="connsiteY143" fmla="*/ 2156131 h 2323145"/>
              <a:gd name="connsiteX144" fmla="*/ 4593061 w 11269336"/>
              <a:gd name="connsiteY144" fmla="*/ 2171597 h 2323145"/>
              <a:gd name="connsiteX145" fmla="*/ 4579902 w 11269336"/>
              <a:gd name="connsiteY145" fmla="*/ 2177927 h 2323145"/>
              <a:gd name="connsiteX146" fmla="*/ 4533444 w 11269336"/>
              <a:gd name="connsiteY146" fmla="*/ 2181200 h 2323145"/>
              <a:gd name="connsiteX147" fmla="*/ 4492832 w 11269336"/>
              <a:gd name="connsiteY147" fmla="*/ 2188033 h 2323145"/>
              <a:gd name="connsiteX148" fmla="*/ 4467257 w 11269336"/>
              <a:gd name="connsiteY148" fmla="*/ 2196121 h 2323145"/>
              <a:gd name="connsiteX149" fmla="*/ 4459937 w 11269336"/>
              <a:gd name="connsiteY149" fmla="*/ 2195182 h 2323145"/>
              <a:gd name="connsiteX150" fmla="*/ 4433312 w 11269336"/>
              <a:gd name="connsiteY150" fmla="*/ 2199004 h 2323145"/>
              <a:gd name="connsiteX151" fmla="*/ 4420601 w 11269336"/>
              <a:gd name="connsiteY151" fmla="*/ 2205158 h 2323145"/>
              <a:gd name="connsiteX152" fmla="*/ 4405765 w 11269336"/>
              <a:gd name="connsiteY152" fmla="*/ 2199902 h 2323145"/>
              <a:gd name="connsiteX153" fmla="*/ 4401354 w 11269336"/>
              <a:gd name="connsiteY153" fmla="*/ 2194745 h 2323145"/>
              <a:gd name="connsiteX154" fmla="*/ 4383151 w 11269336"/>
              <a:gd name="connsiteY154" fmla="*/ 2201140 h 2323145"/>
              <a:gd name="connsiteX155" fmla="*/ 4366646 w 11269336"/>
              <a:gd name="connsiteY155" fmla="*/ 2198564 h 2323145"/>
              <a:gd name="connsiteX156" fmla="*/ 4354009 w 11269336"/>
              <a:gd name="connsiteY156" fmla="*/ 2204984 h 2323145"/>
              <a:gd name="connsiteX157" fmla="*/ 4348284 w 11269336"/>
              <a:gd name="connsiteY157" fmla="*/ 2205270 h 2323145"/>
              <a:gd name="connsiteX158" fmla="*/ 4333906 w 11269336"/>
              <a:gd name="connsiteY158" fmla="*/ 2205251 h 2323145"/>
              <a:gd name="connsiteX159" fmla="*/ 4308819 w 11269336"/>
              <a:gd name="connsiteY159" fmla="*/ 2203822 h 2323145"/>
              <a:gd name="connsiteX160" fmla="*/ 4301210 w 11269336"/>
              <a:gd name="connsiteY160" fmla="*/ 2204456 h 2323145"/>
              <a:gd name="connsiteX161" fmla="*/ 4283095 w 11269336"/>
              <a:gd name="connsiteY161" fmla="*/ 2198177 h 2323145"/>
              <a:gd name="connsiteX162" fmla="*/ 4250119 w 11269336"/>
              <a:gd name="connsiteY162" fmla="*/ 2196342 h 2323145"/>
              <a:gd name="connsiteX163" fmla="*/ 4189203 w 11269336"/>
              <a:gd name="connsiteY163" fmla="*/ 2178994 h 2323145"/>
              <a:gd name="connsiteX164" fmla="*/ 4154035 w 11269336"/>
              <a:gd name="connsiteY164" fmla="*/ 2171950 h 2323145"/>
              <a:gd name="connsiteX165" fmla="*/ 4129569 w 11269336"/>
              <a:gd name="connsiteY165" fmla="*/ 2163850 h 2323145"/>
              <a:gd name="connsiteX166" fmla="*/ 4061250 w 11269336"/>
              <a:gd name="connsiteY166" fmla="*/ 2159236 h 2323145"/>
              <a:gd name="connsiteX167" fmla="*/ 3945480 w 11269336"/>
              <a:gd name="connsiteY167" fmla="*/ 2158279 h 2323145"/>
              <a:gd name="connsiteX168" fmla="*/ 3921468 w 11269336"/>
              <a:gd name="connsiteY168" fmla="*/ 2156588 h 2323145"/>
              <a:gd name="connsiteX169" fmla="*/ 3903348 w 11269336"/>
              <a:gd name="connsiteY169" fmla="*/ 2149220 h 2323145"/>
              <a:gd name="connsiteX170" fmla="*/ 3901342 w 11269336"/>
              <a:gd name="connsiteY170" fmla="*/ 2142355 h 2323145"/>
              <a:gd name="connsiteX171" fmla="*/ 3888539 w 11269336"/>
              <a:gd name="connsiteY171" fmla="*/ 2140476 h 2323145"/>
              <a:gd name="connsiteX172" fmla="*/ 3885662 w 11269336"/>
              <a:gd name="connsiteY172" fmla="*/ 2138740 h 2323145"/>
              <a:gd name="connsiteX173" fmla="*/ 3868627 w 11269336"/>
              <a:gd name="connsiteY173" fmla="*/ 2130023 h 2323145"/>
              <a:gd name="connsiteX174" fmla="*/ 3819177 w 11269336"/>
              <a:gd name="connsiteY174" fmla="*/ 2142111 h 2323145"/>
              <a:gd name="connsiteX175" fmla="*/ 3769100 w 11269336"/>
              <a:gd name="connsiteY175" fmla="*/ 2131731 h 2323145"/>
              <a:gd name="connsiteX176" fmla="*/ 3562752 w 11269336"/>
              <a:gd name="connsiteY176" fmla="*/ 2131785 h 2323145"/>
              <a:gd name="connsiteX177" fmla="*/ 3541402 w 11269336"/>
              <a:gd name="connsiteY177" fmla="*/ 2106821 h 2323145"/>
              <a:gd name="connsiteX178" fmla="*/ 3365341 w 11269336"/>
              <a:gd name="connsiteY178" fmla="*/ 2077638 h 2323145"/>
              <a:gd name="connsiteX179" fmla="*/ 3170922 w 11269336"/>
              <a:gd name="connsiteY179" fmla="*/ 2115957 h 2323145"/>
              <a:gd name="connsiteX180" fmla="*/ 3156256 w 11269336"/>
              <a:gd name="connsiteY180" fmla="*/ 2124773 h 2323145"/>
              <a:gd name="connsiteX181" fmla="*/ 3140298 w 11269336"/>
              <a:gd name="connsiteY181" fmla="*/ 2129182 h 2323145"/>
              <a:gd name="connsiteX182" fmla="*/ 3138514 w 11269336"/>
              <a:gd name="connsiteY182" fmla="*/ 2128069 h 2323145"/>
              <a:gd name="connsiteX183" fmla="*/ 3120467 w 11269336"/>
              <a:gd name="connsiteY183" fmla="*/ 2128281 h 2323145"/>
              <a:gd name="connsiteX184" fmla="*/ 3116175 w 11269336"/>
              <a:gd name="connsiteY184" fmla="*/ 2131633 h 2323145"/>
              <a:gd name="connsiteX185" fmla="*/ 3103685 w 11269336"/>
              <a:gd name="connsiteY185" fmla="*/ 2132814 h 2323145"/>
              <a:gd name="connsiteX186" fmla="*/ 3078794 w 11269336"/>
              <a:gd name="connsiteY186" fmla="*/ 2137935 h 2323145"/>
              <a:gd name="connsiteX187" fmla="*/ 3074407 w 11269336"/>
              <a:gd name="connsiteY187" fmla="*/ 2136274 h 2323145"/>
              <a:gd name="connsiteX188" fmla="*/ 3037285 w 11269336"/>
              <a:gd name="connsiteY188" fmla="*/ 2139919 h 2323145"/>
              <a:gd name="connsiteX189" fmla="*/ 3036901 w 11269336"/>
              <a:gd name="connsiteY189" fmla="*/ 2138726 h 2323145"/>
              <a:gd name="connsiteX190" fmla="*/ 3026996 w 11269336"/>
              <a:gd name="connsiteY190" fmla="*/ 2134322 h 2323145"/>
              <a:gd name="connsiteX191" fmla="*/ 3007772 w 11269336"/>
              <a:gd name="connsiteY191" fmla="*/ 2128742 h 2323145"/>
              <a:gd name="connsiteX192" fmla="*/ 2965030 w 11269336"/>
              <a:gd name="connsiteY192" fmla="*/ 2100494 h 2323145"/>
              <a:gd name="connsiteX193" fmla="*/ 2926342 w 11269336"/>
              <a:gd name="connsiteY193" fmla="*/ 2104155 h 2323145"/>
              <a:gd name="connsiteX194" fmla="*/ 2918608 w 11269336"/>
              <a:gd name="connsiteY194" fmla="*/ 2104215 h 2323145"/>
              <a:gd name="connsiteX195" fmla="*/ 2918475 w 11269336"/>
              <a:gd name="connsiteY195" fmla="*/ 2103937 h 2323145"/>
              <a:gd name="connsiteX196" fmla="*/ 2910360 w 11269336"/>
              <a:gd name="connsiteY196" fmla="*/ 2103444 h 2323145"/>
              <a:gd name="connsiteX197" fmla="*/ 2904507 w 11269336"/>
              <a:gd name="connsiteY197" fmla="*/ 2104326 h 2323145"/>
              <a:gd name="connsiteX198" fmla="*/ 2889503 w 11269336"/>
              <a:gd name="connsiteY198" fmla="*/ 2104443 h 2323145"/>
              <a:gd name="connsiteX199" fmla="*/ 2884480 w 11269336"/>
              <a:gd name="connsiteY199" fmla="*/ 2102626 h 2323145"/>
              <a:gd name="connsiteX200" fmla="*/ 2882689 w 11269336"/>
              <a:gd name="connsiteY200" fmla="*/ 2099228 h 2323145"/>
              <a:gd name="connsiteX201" fmla="*/ 2881291 w 11269336"/>
              <a:gd name="connsiteY201" fmla="*/ 2099618 h 2323145"/>
              <a:gd name="connsiteX202" fmla="*/ 2853979 w 11269336"/>
              <a:gd name="connsiteY202" fmla="*/ 2090388 h 2323145"/>
              <a:gd name="connsiteX203" fmla="*/ 2791790 w 11269336"/>
              <a:gd name="connsiteY203" fmla="*/ 2080332 h 2323145"/>
              <a:gd name="connsiteX204" fmla="*/ 2755844 w 11269336"/>
              <a:gd name="connsiteY204" fmla="*/ 2078874 h 2323145"/>
              <a:gd name="connsiteX205" fmla="*/ 2657742 w 11269336"/>
              <a:gd name="connsiteY205" fmla="*/ 2070179 h 2323145"/>
              <a:gd name="connsiteX206" fmla="*/ 2559549 w 11269336"/>
              <a:gd name="connsiteY206" fmla="*/ 2057873 h 2323145"/>
              <a:gd name="connsiteX207" fmla="*/ 2512054 w 11269336"/>
              <a:gd name="connsiteY207" fmla="*/ 2031671 h 2323145"/>
              <a:gd name="connsiteX208" fmla="*/ 2506437 w 11269336"/>
              <a:gd name="connsiteY208" fmla="*/ 2030918 h 2323145"/>
              <a:gd name="connsiteX209" fmla="*/ 2491752 w 11269336"/>
              <a:gd name="connsiteY209" fmla="*/ 2033906 h 2323145"/>
              <a:gd name="connsiteX210" fmla="*/ 2486338 w 11269336"/>
              <a:gd name="connsiteY210" fmla="*/ 2035862 h 2323145"/>
              <a:gd name="connsiteX211" fmla="*/ 2478186 w 11269336"/>
              <a:gd name="connsiteY211" fmla="*/ 2036953 h 2323145"/>
              <a:gd name="connsiteX212" fmla="*/ 2477950 w 11269336"/>
              <a:gd name="connsiteY212" fmla="*/ 2036715 h 2323145"/>
              <a:gd name="connsiteX213" fmla="*/ 2470381 w 11269336"/>
              <a:gd name="connsiteY213" fmla="*/ 2038256 h 2323145"/>
              <a:gd name="connsiteX214" fmla="*/ 2433781 w 11269336"/>
              <a:gd name="connsiteY214" fmla="*/ 2049140 h 2323145"/>
              <a:gd name="connsiteX215" fmla="*/ 2381172 w 11269336"/>
              <a:gd name="connsiteY215" fmla="*/ 2030645 h 2323145"/>
              <a:gd name="connsiteX216" fmla="*/ 2360198 w 11269336"/>
              <a:gd name="connsiteY216" fmla="*/ 2029059 h 2323145"/>
              <a:gd name="connsiteX217" fmla="*/ 2348815 w 11269336"/>
              <a:gd name="connsiteY217" fmla="*/ 2026798 h 2323145"/>
              <a:gd name="connsiteX218" fmla="*/ 2347988 w 11269336"/>
              <a:gd name="connsiteY218" fmla="*/ 2025745 h 2323145"/>
              <a:gd name="connsiteX219" fmla="*/ 2312920 w 11269336"/>
              <a:gd name="connsiteY219" fmla="*/ 2036311 h 2323145"/>
              <a:gd name="connsiteX220" fmla="*/ 2307986 w 11269336"/>
              <a:gd name="connsiteY220" fmla="*/ 2035583 h 2323145"/>
              <a:gd name="connsiteX221" fmla="*/ 2285481 w 11269336"/>
              <a:gd name="connsiteY221" fmla="*/ 2045197 h 2323145"/>
              <a:gd name="connsiteX222" fmla="*/ 2273666 w 11269336"/>
              <a:gd name="connsiteY222" fmla="*/ 2048710 h 2323145"/>
              <a:gd name="connsiteX223" fmla="*/ 2270719 w 11269336"/>
              <a:gd name="connsiteY223" fmla="*/ 2052702 h 2323145"/>
              <a:gd name="connsiteX224" fmla="*/ 2253080 w 11269336"/>
              <a:gd name="connsiteY224" fmla="*/ 2056363 h 2323145"/>
              <a:gd name="connsiteX225" fmla="*/ 2250906 w 11269336"/>
              <a:gd name="connsiteY225" fmla="*/ 2055654 h 2323145"/>
              <a:gd name="connsiteX226" fmla="*/ 2236905 w 11269336"/>
              <a:gd name="connsiteY226" fmla="*/ 2062882 h 2323145"/>
              <a:gd name="connsiteX227" fmla="*/ 2225830 w 11269336"/>
              <a:gd name="connsiteY227" fmla="*/ 2074027 h 2323145"/>
              <a:gd name="connsiteX228" fmla="*/ 2073776 w 11269336"/>
              <a:gd name="connsiteY228" fmla="*/ 2089244 h 2323145"/>
              <a:gd name="connsiteX229" fmla="*/ 1948256 w 11269336"/>
              <a:gd name="connsiteY229" fmla="*/ 2146616 h 2323145"/>
              <a:gd name="connsiteX230" fmla="*/ 1865582 w 11269336"/>
              <a:gd name="connsiteY230" fmla="*/ 2153738 h 2323145"/>
              <a:gd name="connsiteX231" fmla="*/ 1835210 w 11269336"/>
              <a:gd name="connsiteY231" fmla="*/ 2134244 h 2323145"/>
              <a:gd name="connsiteX232" fmla="*/ 1632661 w 11269336"/>
              <a:gd name="connsiteY232" fmla="*/ 2173882 h 2323145"/>
              <a:gd name="connsiteX233" fmla="*/ 1579590 w 11269336"/>
              <a:gd name="connsiteY233" fmla="*/ 2173680 h 2323145"/>
              <a:gd name="connsiteX234" fmla="*/ 1535601 w 11269336"/>
              <a:gd name="connsiteY234" fmla="*/ 2194590 h 2323145"/>
              <a:gd name="connsiteX235" fmla="*/ 1515594 w 11269336"/>
              <a:gd name="connsiteY235" fmla="*/ 2189622 h 2323145"/>
              <a:gd name="connsiteX236" fmla="*/ 1512113 w 11269336"/>
              <a:gd name="connsiteY236" fmla="*/ 2188534 h 2323145"/>
              <a:gd name="connsiteX237" fmla="*/ 1498838 w 11269336"/>
              <a:gd name="connsiteY237" fmla="*/ 2189213 h 2323145"/>
              <a:gd name="connsiteX238" fmla="*/ 1494279 w 11269336"/>
              <a:gd name="connsiteY238" fmla="*/ 2183112 h 2323145"/>
              <a:gd name="connsiteX239" fmla="*/ 1473714 w 11269336"/>
              <a:gd name="connsiteY239" fmla="*/ 2179625 h 2323145"/>
              <a:gd name="connsiteX240" fmla="*/ 1449503 w 11269336"/>
              <a:gd name="connsiteY240" fmla="*/ 2182633 h 2323145"/>
              <a:gd name="connsiteX241" fmla="*/ 1266687 w 11269336"/>
              <a:gd name="connsiteY241" fmla="*/ 2212688 h 2323145"/>
              <a:gd name="connsiteX242" fmla="*/ 1239614 w 11269336"/>
              <a:gd name="connsiteY242" fmla="*/ 2209727 h 2323145"/>
              <a:gd name="connsiteX243" fmla="*/ 1202436 w 11269336"/>
              <a:gd name="connsiteY243" fmla="*/ 2209817 h 2323145"/>
              <a:gd name="connsiteX244" fmla="*/ 1136097 w 11269336"/>
              <a:gd name="connsiteY244" fmla="*/ 2205112 h 2323145"/>
              <a:gd name="connsiteX245" fmla="*/ 988232 w 11269336"/>
              <a:gd name="connsiteY245" fmla="*/ 2235635 h 2323145"/>
              <a:gd name="connsiteX246" fmla="*/ 981959 w 11269336"/>
              <a:gd name="connsiteY246" fmla="*/ 2231607 h 2323145"/>
              <a:gd name="connsiteX247" fmla="*/ 938600 w 11269336"/>
              <a:gd name="connsiteY247" fmla="*/ 2238113 h 2323145"/>
              <a:gd name="connsiteX248" fmla="*/ 791788 w 11269336"/>
              <a:gd name="connsiteY248" fmla="*/ 2293224 h 2323145"/>
              <a:gd name="connsiteX249" fmla="*/ 706914 w 11269336"/>
              <a:gd name="connsiteY249" fmla="*/ 2305046 h 2323145"/>
              <a:gd name="connsiteX250" fmla="*/ 675971 w 11269336"/>
              <a:gd name="connsiteY250" fmla="*/ 2304030 h 2323145"/>
              <a:gd name="connsiteX251" fmla="*/ 624180 w 11269336"/>
              <a:gd name="connsiteY251" fmla="*/ 2302650 h 2323145"/>
              <a:gd name="connsiteX252" fmla="*/ 583453 w 11269336"/>
              <a:gd name="connsiteY252" fmla="*/ 2288788 h 2323145"/>
              <a:gd name="connsiteX253" fmla="*/ 540946 w 11269336"/>
              <a:gd name="connsiteY253" fmla="*/ 2292721 h 2323145"/>
              <a:gd name="connsiteX254" fmla="*/ 533680 w 11269336"/>
              <a:gd name="connsiteY254" fmla="*/ 2310233 h 2323145"/>
              <a:gd name="connsiteX255" fmla="*/ 487366 w 11269336"/>
              <a:gd name="connsiteY255" fmla="*/ 2309053 h 2323145"/>
              <a:gd name="connsiteX256" fmla="*/ 416820 w 11269336"/>
              <a:gd name="connsiteY256" fmla="*/ 2305443 h 2323145"/>
              <a:gd name="connsiteX257" fmla="*/ 376805 w 11269336"/>
              <a:gd name="connsiteY257" fmla="*/ 2307647 h 2323145"/>
              <a:gd name="connsiteX258" fmla="*/ 266777 w 11269336"/>
              <a:gd name="connsiteY258" fmla="*/ 2309012 h 2323145"/>
              <a:gd name="connsiteX259" fmla="*/ 156013 w 11269336"/>
              <a:gd name="connsiteY259" fmla="*/ 2306832 h 2323145"/>
              <a:gd name="connsiteX260" fmla="*/ 87258 w 11269336"/>
              <a:gd name="connsiteY260" fmla="*/ 2285511 h 2323145"/>
              <a:gd name="connsiteX261" fmla="*/ 23798 w 11269336"/>
              <a:gd name="connsiteY261" fmla="*/ 2281822 h 2323145"/>
              <a:gd name="connsiteX262" fmla="*/ 0 w 11269336"/>
              <a:gd name="connsiteY262" fmla="*/ 2285369 h 2323145"/>
              <a:gd name="connsiteX263" fmla="*/ 0 w 11269336"/>
              <a:gd name="connsiteY26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263254 w 11269336"/>
              <a:gd name="connsiteY20" fmla="*/ 645662 h 2323145"/>
              <a:gd name="connsiteX21" fmla="*/ 9162278 w 11269336"/>
              <a:gd name="connsiteY21" fmla="*/ 704724 h 2323145"/>
              <a:gd name="connsiteX22" fmla="*/ 9062863 w 11269336"/>
              <a:gd name="connsiteY22" fmla="*/ 754656 h 2323145"/>
              <a:gd name="connsiteX23" fmla="*/ 8914746 w 11269336"/>
              <a:gd name="connsiteY23" fmla="*/ 826428 h 2323145"/>
              <a:gd name="connsiteX24" fmla="*/ 8917778 w 11269336"/>
              <a:gd name="connsiteY24" fmla="*/ 835198 h 2323145"/>
              <a:gd name="connsiteX25" fmla="*/ 8905560 w 11269336"/>
              <a:gd name="connsiteY25" fmla="*/ 838358 h 2323145"/>
              <a:gd name="connsiteX26" fmla="*/ 8897564 w 11269336"/>
              <a:gd name="connsiteY26" fmla="*/ 834287 h 2323145"/>
              <a:gd name="connsiteX27" fmla="*/ 8878040 w 11269336"/>
              <a:gd name="connsiteY27" fmla="*/ 844150 h 2323145"/>
              <a:gd name="connsiteX28" fmla="*/ 8795998 w 11269336"/>
              <a:gd name="connsiteY28" fmla="*/ 863337 h 2323145"/>
              <a:gd name="connsiteX29" fmla="*/ 8776970 w 11269336"/>
              <a:gd name="connsiteY29" fmla="*/ 885177 h 2323145"/>
              <a:gd name="connsiteX30" fmla="*/ 8755719 w 11269336"/>
              <a:gd name="connsiteY30" fmla="*/ 889754 h 2323145"/>
              <a:gd name="connsiteX31" fmla="*/ 8743257 w 11269336"/>
              <a:gd name="connsiteY31" fmla="*/ 904723 h 2323145"/>
              <a:gd name="connsiteX32" fmla="*/ 8721366 w 11269336"/>
              <a:gd name="connsiteY32" fmla="*/ 904711 h 2323145"/>
              <a:gd name="connsiteX33" fmla="*/ 8678353 w 11269336"/>
              <a:gd name="connsiteY33" fmla="*/ 926318 h 2323145"/>
              <a:gd name="connsiteX34" fmla="*/ 8636849 w 11269336"/>
              <a:gd name="connsiteY34" fmla="*/ 937900 h 2323145"/>
              <a:gd name="connsiteX35" fmla="*/ 8620213 w 11269336"/>
              <a:gd name="connsiteY35" fmla="*/ 943068 h 2323145"/>
              <a:gd name="connsiteX36" fmla="*/ 8612581 w 11269336"/>
              <a:gd name="connsiteY36" fmla="*/ 952695 h 2323145"/>
              <a:gd name="connsiteX37" fmla="*/ 8589038 w 11269336"/>
              <a:gd name="connsiteY37" fmla="*/ 963892 h 2323145"/>
              <a:gd name="connsiteX38" fmla="*/ 8579950 w 11269336"/>
              <a:gd name="connsiteY38" fmla="*/ 960899 h 2323145"/>
              <a:gd name="connsiteX39" fmla="*/ 8579319 w 11269336"/>
              <a:gd name="connsiteY39" fmla="*/ 965630 h 2323145"/>
              <a:gd name="connsiteX40" fmla="*/ 8547429 w 11269336"/>
              <a:gd name="connsiteY40" fmla="*/ 984506 h 2323145"/>
              <a:gd name="connsiteX41" fmla="*/ 8478704 w 11269336"/>
              <a:gd name="connsiteY41" fmla="*/ 1025490 h 2323145"/>
              <a:gd name="connsiteX42" fmla="*/ 8461421 w 11269336"/>
              <a:gd name="connsiteY42" fmla="*/ 1035512 h 2323145"/>
              <a:gd name="connsiteX43" fmla="*/ 8445003 w 11269336"/>
              <a:gd name="connsiteY43" fmla="*/ 1036851 h 2323145"/>
              <a:gd name="connsiteX44" fmla="*/ 8357350 w 11269336"/>
              <a:gd name="connsiteY44" fmla="*/ 1060213 h 2323145"/>
              <a:gd name="connsiteX45" fmla="*/ 8335565 w 11269336"/>
              <a:gd name="connsiteY45" fmla="*/ 1061151 h 2323145"/>
              <a:gd name="connsiteX46" fmla="*/ 8325267 w 11269336"/>
              <a:gd name="connsiteY46" fmla="*/ 1055919 h 2323145"/>
              <a:gd name="connsiteX47" fmla="*/ 8293586 w 11269336"/>
              <a:gd name="connsiteY47" fmla="*/ 1076144 h 2323145"/>
              <a:gd name="connsiteX48" fmla="*/ 8242405 w 11269336"/>
              <a:gd name="connsiteY48" fmla="*/ 1095960 h 2323145"/>
              <a:gd name="connsiteX49" fmla="*/ 8197391 w 11269336"/>
              <a:gd name="connsiteY49" fmla="*/ 1107746 h 2323145"/>
              <a:gd name="connsiteX50" fmla="*/ 8081474 w 11269336"/>
              <a:gd name="connsiteY50" fmla="*/ 1130125 h 2323145"/>
              <a:gd name="connsiteX51" fmla="*/ 8053585 w 11269336"/>
              <a:gd name="connsiteY51" fmla="*/ 1129169 h 2323145"/>
              <a:gd name="connsiteX52" fmla="*/ 8038422 w 11269336"/>
              <a:gd name="connsiteY52" fmla="*/ 1119092 h 2323145"/>
              <a:gd name="connsiteX53" fmla="*/ 8029450 w 11269336"/>
              <a:gd name="connsiteY53" fmla="*/ 1125592 h 2323145"/>
              <a:gd name="connsiteX54" fmla="*/ 7959552 w 11269336"/>
              <a:gd name="connsiteY54" fmla="*/ 1140188 h 2323145"/>
              <a:gd name="connsiteX55" fmla="*/ 7914188 w 11269336"/>
              <a:gd name="connsiteY55" fmla="*/ 1150862 h 2323145"/>
              <a:gd name="connsiteX56" fmla="*/ 7914918 w 11269336"/>
              <a:gd name="connsiteY56" fmla="*/ 1168758 h 2323145"/>
              <a:gd name="connsiteX57" fmla="*/ 7875510 w 11269336"/>
              <a:gd name="connsiteY57" fmla="*/ 1183153 h 2323145"/>
              <a:gd name="connsiteX58" fmla="*/ 7829932 w 11269336"/>
              <a:gd name="connsiteY58" fmla="*/ 1180782 h 2323145"/>
              <a:gd name="connsiteX59" fmla="*/ 7779182 w 11269336"/>
              <a:gd name="connsiteY59" fmla="*/ 1192665 h 2323145"/>
              <a:gd name="connsiteX60" fmla="*/ 7748774 w 11269336"/>
              <a:gd name="connsiteY60" fmla="*/ 1199586 h 2323145"/>
              <a:gd name="connsiteX61" fmla="*/ 7671846 w 11269336"/>
              <a:gd name="connsiteY61" fmla="*/ 1231966 h 2323145"/>
              <a:gd name="connsiteX62" fmla="*/ 7554146 w 11269336"/>
              <a:gd name="connsiteY62" fmla="*/ 1319748 h 2323145"/>
              <a:gd name="connsiteX63" fmla="*/ 7515052 w 11269336"/>
              <a:gd name="connsiteY63" fmla="*/ 1336718 h 2323145"/>
              <a:gd name="connsiteX64" fmla="*/ 7507193 w 11269336"/>
              <a:gd name="connsiteY64" fmla="*/ 1334617 h 2323145"/>
              <a:gd name="connsiteX65" fmla="*/ 7461694 w 11269336"/>
              <a:gd name="connsiteY65" fmla="*/ 1375866 h 2323145"/>
              <a:gd name="connsiteX66" fmla="*/ 7377571 w 11269336"/>
              <a:gd name="connsiteY66" fmla="*/ 1400128 h 2323145"/>
              <a:gd name="connsiteX67" fmla="*/ 7311261 w 11269336"/>
              <a:gd name="connsiteY67" fmla="*/ 1412652 h 2323145"/>
              <a:gd name="connsiteX68" fmla="*/ 7275307 w 11269336"/>
              <a:gd name="connsiteY68" fmla="*/ 1422171 h 2323145"/>
              <a:gd name="connsiteX69" fmla="*/ 7247783 w 11269336"/>
              <a:gd name="connsiteY69" fmla="*/ 1426330 h 2323145"/>
              <a:gd name="connsiteX70" fmla="*/ 7185047 w 11269336"/>
              <a:gd name="connsiteY70" fmla="*/ 1451812 h 2323145"/>
              <a:gd name="connsiteX71" fmla="*/ 7084117 w 11269336"/>
              <a:gd name="connsiteY71" fmla="*/ 1500281 h 2323145"/>
              <a:gd name="connsiteX72" fmla="*/ 7062011 w 11269336"/>
              <a:gd name="connsiteY72" fmla="*/ 1509183 h 2323145"/>
              <a:gd name="connsiteX73" fmla="*/ 7040555 w 11269336"/>
              <a:gd name="connsiteY73" fmla="*/ 1511207 h 2323145"/>
              <a:gd name="connsiteX74" fmla="*/ 7033438 w 11269336"/>
              <a:gd name="connsiteY74" fmla="*/ 1506772 h 2323145"/>
              <a:gd name="connsiteX75" fmla="*/ 7020886 w 11269336"/>
              <a:gd name="connsiteY75" fmla="*/ 1510764 h 2323145"/>
              <a:gd name="connsiteX76" fmla="*/ 7017033 w 11269336"/>
              <a:gd name="connsiteY76" fmla="*/ 1510650 h 2323145"/>
              <a:gd name="connsiteX77" fmla="*/ 6995460 w 11269336"/>
              <a:gd name="connsiteY77" fmla="*/ 1511173 h 2323145"/>
              <a:gd name="connsiteX78" fmla="*/ 6962144 w 11269336"/>
              <a:gd name="connsiteY78" fmla="*/ 1541508 h 2323145"/>
              <a:gd name="connsiteX79" fmla="*/ 6910674 w 11269336"/>
              <a:gd name="connsiteY79" fmla="*/ 1554793 h 2323145"/>
              <a:gd name="connsiteX80" fmla="*/ 6732152 w 11269336"/>
              <a:gd name="connsiteY80" fmla="*/ 1642538 h 2323145"/>
              <a:gd name="connsiteX81" fmla="*/ 6694106 w 11269336"/>
              <a:gd name="connsiteY81" fmla="*/ 1632377 h 2323145"/>
              <a:gd name="connsiteX82" fmla="*/ 6617223 w 11269336"/>
              <a:gd name="connsiteY82" fmla="*/ 1659889 h 2323145"/>
              <a:gd name="connsiteX83" fmla="*/ 6521138 w 11269336"/>
              <a:gd name="connsiteY83" fmla="*/ 1744340 h 2323145"/>
              <a:gd name="connsiteX84" fmla="*/ 6380677 w 11269336"/>
              <a:gd name="connsiteY84" fmla="*/ 1796883 h 2323145"/>
              <a:gd name="connsiteX85" fmla="*/ 6374897 w 11269336"/>
              <a:gd name="connsiteY85" fmla="*/ 1809910 h 2323145"/>
              <a:gd name="connsiteX86" fmla="*/ 6364545 w 11269336"/>
              <a:gd name="connsiteY86" fmla="*/ 1820090 h 2323145"/>
              <a:gd name="connsiteX87" fmla="*/ 6362126 w 11269336"/>
              <a:gd name="connsiteY87" fmla="*/ 1819991 h 2323145"/>
              <a:gd name="connsiteX88" fmla="*/ 6346673 w 11269336"/>
              <a:gd name="connsiteY88" fmla="*/ 1827824 h 2323145"/>
              <a:gd name="connsiteX89" fmla="*/ 6345588 w 11269336"/>
              <a:gd name="connsiteY89" fmla="*/ 1832232 h 2323145"/>
              <a:gd name="connsiteX90" fmla="*/ 6335708 w 11269336"/>
              <a:gd name="connsiteY90" fmla="*/ 1838451 h 2323145"/>
              <a:gd name="connsiteX91" fmla="*/ 6318182 w 11269336"/>
              <a:gd name="connsiteY91" fmla="*/ 1852975 h 2323145"/>
              <a:gd name="connsiteX92" fmla="*/ 6313084 w 11269336"/>
              <a:gd name="connsiteY92" fmla="*/ 1853561 h 2323145"/>
              <a:gd name="connsiteX93" fmla="*/ 6283816 w 11269336"/>
              <a:gd name="connsiteY93" fmla="*/ 1872148 h 2323145"/>
              <a:gd name="connsiteX94" fmla="*/ 6282550 w 11269336"/>
              <a:gd name="connsiteY94" fmla="*/ 1871392 h 2323145"/>
              <a:gd name="connsiteX95" fmla="*/ 6270527 w 11269336"/>
              <a:gd name="connsiteY95" fmla="*/ 1872208 h 2323145"/>
              <a:gd name="connsiteX96" fmla="*/ 6249518 w 11269336"/>
              <a:gd name="connsiteY96" fmla="*/ 1876079 h 2323145"/>
              <a:gd name="connsiteX97" fmla="*/ 6190386 w 11269336"/>
              <a:gd name="connsiteY97" fmla="*/ 1872478 h 2323145"/>
              <a:gd name="connsiteX98" fmla="*/ 6159777 w 11269336"/>
              <a:gd name="connsiteY98" fmla="*/ 1891745 h 2323145"/>
              <a:gd name="connsiteX99" fmla="*/ 6153131 w 11269336"/>
              <a:gd name="connsiteY99" fmla="*/ 1895079 h 2323145"/>
              <a:gd name="connsiteX100" fmla="*/ 6152798 w 11269336"/>
              <a:gd name="connsiteY100" fmla="*/ 1894920 h 2323145"/>
              <a:gd name="connsiteX101" fmla="*/ 6145388 w 11269336"/>
              <a:gd name="connsiteY101" fmla="*/ 1897990 h 2323145"/>
              <a:gd name="connsiteX102" fmla="*/ 6141014 w 11269336"/>
              <a:gd name="connsiteY102" fmla="*/ 1901155 h 2323145"/>
              <a:gd name="connsiteX103" fmla="*/ 6128122 w 11269336"/>
              <a:gd name="connsiteY103" fmla="*/ 1907623 h 2323145"/>
              <a:gd name="connsiteX104" fmla="*/ 6122351 w 11269336"/>
              <a:gd name="connsiteY104" fmla="*/ 1908359 h 2323145"/>
              <a:gd name="connsiteX105" fmla="*/ 6064750 w 11269336"/>
              <a:gd name="connsiteY105" fmla="*/ 1896394 h 2323145"/>
              <a:gd name="connsiteX106" fmla="*/ 5964230 w 11269336"/>
              <a:gd name="connsiteY106" fmla="*/ 1910038 h 2323145"/>
              <a:gd name="connsiteX107" fmla="*/ 5865399 w 11269336"/>
              <a:gd name="connsiteY107" fmla="*/ 1926966 h 2323145"/>
              <a:gd name="connsiteX108" fmla="*/ 5829951 w 11269336"/>
              <a:gd name="connsiteY108" fmla="*/ 1934755 h 2323145"/>
              <a:gd name="connsiteX109" fmla="*/ 5765285 w 11269336"/>
              <a:gd name="connsiteY109" fmla="*/ 1941322 h 2323145"/>
              <a:gd name="connsiteX110" fmla="*/ 5734750 w 11269336"/>
              <a:gd name="connsiteY110" fmla="*/ 1939793 h 2323145"/>
              <a:gd name="connsiteX111" fmla="*/ 5733569 w 11269336"/>
              <a:gd name="connsiteY111" fmla="*/ 1940505 h 2323145"/>
              <a:gd name="connsiteX112" fmla="*/ 5730329 w 11269336"/>
              <a:gd name="connsiteY112" fmla="*/ 1937845 h 2323145"/>
              <a:gd name="connsiteX113" fmla="*/ 5724661 w 11269336"/>
              <a:gd name="connsiteY113" fmla="*/ 1937455 h 2323145"/>
              <a:gd name="connsiteX114" fmla="*/ 5710186 w 11269336"/>
              <a:gd name="connsiteY114" fmla="*/ 1941370 h 2323145"/>
              <a:gd name="connsiteX115" fmla="*/ 5704910 w 11269336"/>
              <a:gd name="connsiteY115" fmla="*/ 1943663 h 2323145"/>
              <a:gd name="connsiteX116" fmla="*/ 5696836 w 11269336"/>
              <a:gd name="connsiteY116" fmla="*/ 1945271 h 2323145"/>
              <a:gd name="connsiteX117" fmla="*/ 5696583 w 11269336"/>
              <a:gd name="connsiteY117" fmla="*/ 1945050 h 2323145"/>
              <a:gd name="connsiteX118" fmla="*/ 5689123 w 11269336"/>
              <a:gd name="connsiteY118" fmla="*/ 1947067 h 2323145"/>
              <a:gd name="connsiteX119" fmla="*/ 5653291 w 11269336"/>
              <a:gd name="connsiteY119" fmla="*/ 1960245 h 2323145"/>
              <a:gd name="connsiteX120" fmla="*/ 5599385 w 11269336"/>
              <a:gd name="connsiteY120" fmla="*/ 1945198 h 2323145"/>
              <a:gd name="connsiteX121" fmla="*/ 5578300 w 11269336"/>
              <a:gd name="connsiteY121" fmla="*/ 1944963 h 2323145"/>
              <a:gd name="connsiteX122" fmla="*/ 5566758 w 11269336"/>
              <a:gd name="connsiteY122" fmla="*/ 1943441 h 2323145"/>
              <a:gd name="connsiteX123" fmla="*/ 5565857 w 11269336"/>
              <a:gd name="connsiteY123" fmla="*/ 1942445 h 2323145"/>
              <a:gd name="connsiteX124" fmla="*/ 5531534 w 11269336"/>
              <a:gd name="connsiteY124" fmla="*/ 1955208 h 2323145"/>
              <a:gd name="connsiteX125" fmla="*/ 5526552 w 11269336"/>
              <a:gd name="connsiteY125" fmla="*/ 1954799 h 2323145"/>
              <a:gd name="connsiteX126" fmla="*/ 5504723 w 11269336"/>
              <a:gd name="connsiteY126" fmla="*/ 1965811 h 2323145"/>
              <a:gd name="connsiteX127" fmla="*/ 5493156 w 11269336"/>
              <a:gd name="connsiteY127" fmla="*/ 1970063 h 2323145"/>
              <a:gd name="connsiteX128" fmla="*/ 5490486 w 11269336"/>
              <a:gd name="connsiteY128" fmla="*/ 1974227 h 2323145"/>
              <a:gd name="connsiteX129" fmla="*/ 5473107 w 11269336"/>
              <a:gd name="connsiteY129" fmla="*/ 1979001 h 2323145"/>
              <a:gd name="connsiteX130" fmla="*/ 5470885 w 11269336"/>
              <a:gd name="connsiteY130" fmla="*/ 1978432 h 2323145"/>
              <a:gd name="connsiteX131" fmla="*/ 5457393 w 11269336"/>
              <a:gd name="connsiteY131" fmla="*/ 1986525 h 2323145"/>
              <a:gd name="connsiteX132" fmla="*/ 5447102 w 11269336"/>
              <a:gd name="connsiteY132" fmla="*/ 1998329 h 2323145"/>
              <a:gd name="connsiteX133" fmla="*/ 5159151 w 11269336"/>
              <a:gd name="connsiteY133" fmla="*/ 2029640 h 2323145"/>
              <a:gd name="connsiteX134" fmla="*/ 5041688 w 11269336"/>
              <a:gd name="connsiteY134" fmla="*/ 2022334 h 2323145"/>
              <a:gd name="connsiteX135" fmla="*/ 4860988 w 11269336"/>
              <a:gd name="connsiteY135" fmla="*/ 2135698 h 2323145"/>
              <a:gd name="connsiteX136" fmla="*/ 4807902 w 11269336"/>
              <a:gd name="connsiteY136" fmla="*/ 2138894 h 2323145"/>
              <a:gd name="connsiteX137" fmla="*/ 4765388 w 11269336"/>
              <a:gd name="connsiteY137" fmla="*/ 2162525 h 2323145"/>
              <a:gd name="connsiteX138" fmla="*/ 4745033 w 11269336"/>
              <a:gd name="connsiteY138" fmla="*/ 2158859 h 2323145"/>
              <a:gd name="connsiteX139" fmla="*/ 4741475 w 11269336"/>
              <a:gd name="connsiteY139" fmla="*/ 2157998 h 2323145"/>
              <a:gd name="connsiteX140" fmla="*/ 4728247 w 11269336"/>
              <a:gd name="connsiteY140" fmla="*/ 2159526 h 2323145"/>
              <a:gd name="connsiteX141" fmla="*/ 4723263 w 11269336"/>
              <a:gd name="connsiteY141" fmla="*/ 2153742 h 2323145"/>
              <a:gd name="connsiteX142" fmla="*/ 4702453 w 11269336"/>
              <a:gd name="connsiteY142" fmla="*/ 2151586 h 2323145"/>
              <a:gd name="connsiteX143" fmla="*/ 4678455 w 11269336"/>
              <a:gd name="connsiteY143" fmla="*/ 2156131 h 2323145"/>
              <a:gd name="connsiteX144" fmla="*/ 4593061 w 11269336"/>
              <a:gd name="connsiteY144" fmla="*/ 2171597 h 2323145"/>
              <a:gd name="connsiteX145" fmla="*/ 4579902 w 11269336"/>
              <a:gd name="connsiteY145" fmla="*/ 2177927 h 2323145"/>
              <a:gd name="connsiteX146" fmla="*/ 4533444 w 11269336"/>
              <a:gd name="connsiteY146" fmla="*/ 2181200 h 2323145"/>
              <a:gd name="connsiteX147" fmla="*/ 4492832 w 11269336"/>
              <a:gd name="connsiteY147" fmla="*/ 2188033 h 2323145"/>
              <a:gd name="connsiteX148" fmla="*/ 4467257 w 11269336"/>
              <a:gd name="connsiteY148" fmla="*/ 2196121 h 2323145"/>
              <a:gd name="connsiteX149" fmla="*/ 4459937 w 11269336"/>
              <a:gd name="connsiteY149" fmla="*/ 2195182 h 2323145"/>
              <a:gd name="connsiteX150" fmla="*/ 4433312 w 11269336"/>
              <a:gd name="connsiteY150" fmla="*/ 2199004 h 2323145"/>
              <a:gd name="connsiteX151" fmla="*/ 4420601 w 11269336"/>
              <a:gd name="connsiteY151" fmla="*/ 2205158 h 2323145"/>
              <a:gd name="connsiteX152" fmla="*/ 4405765 w 11269336"/>
              <a:gd name="connsiteY152" fmla="*/ 2199902 h 2323145"/>
              <a:gd name="connsiteX153" fmla="*/ 4401354 w 11269336"/>
              <a:gd name="connsiteY153" fmla="*/ 2194745 h 2323145"/>
              <a:gd name="connsiteX154" fmla="*/ 4383151 w 11269336"/>
              <a:gd name="connsiteY154" fmla="*/ 2201140 h 2323145"/>
              <a:gd name="connsiteX155" fmla="*/ 4366646 w 11269336"/>
              <a:gd name="connsiteY155" fmla="*/ 2198564 h 2323145"/>
              <a:gd name="connsiteX156" fmla="*/ 4354009 w 11269336"/>
              <a:gd name="connsiteY156" fmla="*/ 2204984 h 2323145"/>
              <a:gd name="connsiteX157" fmla="*/ 4348284 w 11269336"/>
              <a:gd name="connsiteY157" fmla="*/ 2205270 h 2323145"/>
              <a:gd name="connsiteX158" fmla="*/ 4333906 w 11269336"/>
              <a:gd name="connsiteY158" fmla="*/ 2205251 h 2323145"/>
              <a:gd name="connsiteX159" fmla="*/ 4308819 w 11269336"/>
              <a:gd name="connsiteY159" fmla="*/ 2203822 h 2323145"/>
              <a:gd name="connsiteX160" fmla="*/ 4301210 w 11269336"/>
              <a:gd name="connsiteY160" fmla="*/ 2204456 h 2323145"/>
              <a:gd name="connsiteX161" fmla="*/ 4283095 w 11269336"/>
              <a:gd name="connsiteY161" fmla="*/ 2198177 h 2323145"/>
              <a:gd name="connsiteX162" fmla="*/ 4250119 w 11269336"/>
              <a:gd name="connsiteY162" fmla="*/ 2196342 h 2323145"/>
              <a:gd name="connsiteX163" fmla="*/ 4189203 w 11269336"/>
              <a:gd name="connsiteY163" fmla="*/ 2178994 h 2323145"/>
              <a:gd name="connsiteX164" fmla="*/ 4154035 w 11269336"/>
              <a:gd name="connsiteY164" fmla="*/ 2171950 h 2323145"/>
              <a:gd name="connsiteX165" fmla="*/ 4129569 w 11269336"/>
              <a:gd name="connsiteY165" fmla="*/ 2163850 h 2323145"/>
              <a:gd name="connsiteX166" fmla="*/ 4061250 w 11269336"/>
              <a:gd name="connsiteY166" fmla="*/ 2159236 h 2323145"/>
              <a:gd name="connsiteX167" fmla="*/ 3945480 w 11269336"/>
              <a:gd name="connsiteY167" fmla="*/ 2158279 h 2323145"/>
              <a:gd name="connsiteX168" fmla="*/ 3921468 w 11269336"/>
              <a:gd name="connsiteY168" fmla="*/ 2156588 h 2323145"/>
              <a:gd name="connsiteX169" fmla="*/ 3903348 w 11269336"/>
              <a:gd name="connsiteY169" fmla="*/ 2149220 h 2323145"/>
              <a:gd name="connsiteX170" fmla="*/ 3901342 w 11269336"/>
              <a:gd name="connsiteY170" fmla="*/ 2142355 h 2323145"/>
              <a:gd name="connsiteX171" fmla="*/ 3888539 w 11269336"/>
              <a:gd name="connsiteY171" fmla="*/ 2140476 h 2323145"/>
              <a:gd name="connsiteX172" fmla="*/ 3885662 w 11269336"/>
              <a:gd name="connsiteY172" fmla="*/ 2138740 h 2323145"/>
              <a:gd name="connsiteX173" fmla="*/ 3868627 w 11269336"/>
              <a:gd name="connsiteY173" fmla="*/ 2130023 h 2323145"/>
              <a:gd name="connsiteX174" fmla="*/ 3819177 w 11269336"/>
              <a:gd name="connsiteY174" fmla="*/ 2142111 h 2323145"/>
              <a:gd name="connsiteX175" fmla="*/ 3769100 w 11269336"/>
              <a:gd name="connsiteY175" fmla="*/ 2131731 h 2323145"/>
              <a:gd name="connsiteX176" fmla="*/ 3562752 w 11269336"/>
              <a:gd name="connsiteY176" fmla="*/ 2131785 h 2323145"/>
              <a:gd name="connsiteX177" fmla="*/ 3541402 w 11269336"/>
              <a:gd name="connsiteY177" fmla="*/ 2106821 h 2323145"/>
              <a:gd name="connsiteX178" fmla="*/ 3365341 w 11269336"/>
              <a:gd name="connsiteY178" fmla="*/ 2077638 h 2323145"/>
              <a:gd name="connsiteX179" fmla="*/ 3170922 w 11269336"/>
              <a:gd name="connsiteY179" fmla="*/ 2115957 h 2323145"/>
              <a:gd name="connsiteX180" fmla="*/ 3156256 w 11269336"/>
              <a:gd name="connsiteY180" fmla="*/ 2124773 h 2323145"/>
              <a:gd name="connsiteX181" fmla="*/ 3140298 w 11269336"/>
              <a:gd name="connsiteY181" fmla="*/ 2129182 h 2323145"/>
              <a:gd name="connsiteX182" fmla="*/ 3138514 w 11269336"/>
              <a:gd name="connsiteY182" fmla="*/ 2128069 h 2323145"/>
              <a:gd name="connsiteX183" fmla="*/ 3120467 w 11269336"/>
              <a:gd name="connsiteY183" fmla="*/ 2128281 h 2323145"/>
              <a:gd name="connsiteX184" fmla="*/ 3116175 w 11269336"/>
              <a:gd name="connsiteY184" fmla="*/ 2131633 h 2323145"/>
              <a:gd name="connsiteX185" fmla="*/ 3103685 w 11269336"/>
              <a:gd name="connsiteY185" fmla="*/ 2132814 h 2323145"/>
              <a:gd name="connsiteX186" fmla="*/ 3078794 w 11269336"/>
              <a:gd name="connsiteY186" fmla="*/ 2137935 h 2323145"/>
              <a:gd name="connsiteX187" fmla="*/ 3074407 w 11269336"/>
              <a:gd name="connsiteY187" fmla="*/ 2136274 h 2323145"/>
              <a:gd name="connsiteX188" fmla="*/ 3037285 w 11269336"/>
              <a:gd name="connsiteY188" fmla="*/ 2139919 h 2323145"/>
              <a:gd name="connsiteX189" fmla="*/ 3036901 w 11269336"/>
              <a:gd name="connsiteY189" fmla="*/ 2138726 h 2323145"/>
              <a:gd name="connsiteX190" fmla="*/ 3026996 w 11269336"/>
              <a:gd name="connsiteY190" fmla="*/ 2134322 h 2323145"/>
              <a:gd name="connsiteX191" fmla="*/ 3007772 w 11269336"/>
              <a:gd name="connsiteY191" fmla="*/ 2128742 h 2323145"/>
              <a:gd name="connsiteX192" fmla="*/ 2965030 w 11269336"/>
              <a:gd name="connsiteY192" fmla="*/ 2100494 h 2323145"/>
              <a:gd name="connsiteX193" fmla="*/ 2926342 w 11269336"/>
              <a:gd name="connsiteY193" fmla="*/ 2104155 h 2323145"/>
              <a:gd name="connsiteX194" fmla="*/ 2918608 w 11269336"/>
              <a:gd name="connsiteY194" fmla="*/ 2104215 h 2323145"/>
              <a:gd name="connsiteX195" fmla="*/ 2918475 w 11269336"/>
              <a:gd name="connsiteY195" fmla="*/ 2103937 h 2323145"/>
              <a:gd name="connsiteX196" fmla="*/ 2910360 w 11269336"/>
              <a:gd name="connsiteY196" fmla="*/ 2103444 h 2323145"/>
              <a:gd name="connsiteX197" fmla="*/ 2904507 w 11269336"/>
              <a:gd name="connsiteY197" fmla="*/ 2104326 h 2323145"/>
              <a:gd name="connsiteX198" fmla="*/ 2889503 w 11269336"/>
              <a:gd name="connsiteY198" fmla="*/ 2104443 h 2323145"/>
              <a:gd name="connsiteX199" fmla="*/ 2884480 w 11269336"/>
              <a:gd name="connsiteY199" fmla="*/ 2102626 h 2323145"/>
              <a:gd name="connsiteX200" fmla="*/ 2882689 w 11269336"/>
              <a:gd name="connsiteY200" fmla="*/ 2099228 h 2323145"/>
              <a:gd name="connsiteX201" fmla="*/ 2881291 w 11269336"/>
              <a:gd name="connsiteY201" fmla="*/ 2099618 h 2323145"/>
              <a:gd name="connsiteX202" fmla="*/ 2853979 w 11269336"/>
              <a:gd name="connsiteY202" fmla="*/ 2090388 h 2323145"/>
              <a:gd name="connsiteX203" fmla="*/ 2791790 w 11269336"/>
              <a:gd name="connsiteY203" fmla="*/ 2080332 h 2323145"/>
              <a:gd name="connsiteX204" fmla="*/ 2755844 w 11269336"/>
              <a:gd name="connsiteY204" fmla="*/ 2078874 h 2323145"/>
              <a:gd name="connsiteX205" fmla="*/ 2657742 w 11269336"/>
              <a:gd name="connsiteY205" fmla="*/ 2070179 h 2323145"/>
              <a:gd name="connsiteX206" fmla="*/ 2559549 w 11269336"/>
              <a:gd name="connsiteY206" fmla="*/ 2057873 h 2323145"/>
              <a:gd name="connsiteX207" fmla="*/ 2512054 w 11269336"/>
              <a:gd name="connsiteY207" fmla="*/ 2031671 h 2323145"/>
              <a:gd name="connsiteX208" fmla="*/ 2506437 w 11269336"/>
              <a:gd name="connsiteY208" fmla="*/ 2030918 h 2323145"/>
              <a:gd name="connsiteX209" fmla="*/ 2491752 w 11269336"/>
              <a:gd name="connsiteY209" fmla="*/ 2033906 h 2323145"/>
              <a:gd name="connsiteX210" fmla="*/ 2486338 w 11269336"/>
              <a:gd name="connsiteY210" fmla="*/ 2035862 h 2323145"/>
              <a:gd name="connsiteX211" fmla="*/ 2478186 w 11269336"/>
              <a:gd name="connsiteY211" fmla="*/ 2036953 h 2323145"/>
              <a:gd name="connsiteX212" fmla="*/ 2477950 w 11269336"/>
              <a:gd name="connsiteY212" fmla="*/ 2036715 h 2323145"/>
              <a:gd name="connsiteX213" fmla="*/ 2470381 w 11269336"/>
              <a:gd name="connsiteY213" fmla="*/ 2038256 h 2323145"/>
              <a:gd name="connsiteX214" fmla="*/ 2433781 w 11269336"/>
              <a:gd name="connsiteY214" fmla="*/ 2049140 h 2323145"/>
              <a:gd name="connsiteX215" fmla="*/ 2381172 w 11269336"/>
              <a:gd name="connsiteY215" fmla="*/ 2030645 h 2323145"/>
              <a:gd name="connsiteX216" fmla="*/ 2360198 w 11269336"/>
              <a:gd name="connsiteY216" fmla="*/ 2029059 h 2323145"/>
              <a:gd name="connsiteX217" fmla="*/ 2348815 w 11269336"/>
              <a:gd name="connsiteY217" fmla="*/ 2026798 h 2323145"/>
              <a:gd name="connsiteX218" fmla="*/ 2347988 w 11269336"/>
              <a:gd name="connsiteY218" fmla="*/ 2025745 h 2323145"/>
              <a:gd name="connsiteX219" fmla="*/ 2312920 w 11269336"/>
              <a:gd name="connsiteY219" fmla="*/ 2036311 h 2323145"/>
              <a:gd name="connsiteX220" fmla="*/ 2307986 w 11269336"/>
              <a:gd name="connsiteY220" fmla="*/ 2035583 h 2323145"/>
              <a:gd name="connsiteX221" fmla="*/ 2285481 w 11269336"/>
              <a:gd name="connsiteY221" fmla="*/ 2045197 h 2323145"/>
              <a:gd name="connsiteX222" fmla="*/ 2273666 w 11269336"/>
              <a:gd name="connsiteY222" fmla="*/ 2048710 h 2323145"/>
              <a:gd name="connsiteX223" fmla="*/ 2270719 w 11269336"/>
              <a:gd name="connsiteY223" fmla="*/ 2052702 h 2323145"/>
              <a:gd name="connsiteX224" fmla="*/ 2253080 w 11269336"/>
              <a:gd name="connsiteY224" fmla="*/ 2056363 h 2323145"/>
              <a:gd name="connsiteX225" fmla="*/ 2250906 w 11269336"/>
              <a:gd name="connsiteY225" fmla="*/ 2055654 h 2323145"/>
              <a:gd name="connsiteX226" fmla="*/ 2236905 w 11269336"/>
              <a:gd name="connsiteY226" fmla="*/ 2062882 h 2323145"/>
              <a:gd name="connsiteX227" fmla="*/ 2225830 w 11269336"/>
              <a:gd name="connsiteY227" fmla="*/ 2074027 h 2323145"/>
              <a:gd name="connsiteX228" fmla="*/ 2073776 w 11269336"/>
              <a:gd name="connsiteY228" fmla="*/ 2089244 h 2323145"/>
              <a:gd name="connsiteX229" fmla="*/ 1948256 w 11269336"/>
              <a:gd name="connsiteY229" fmla="*/ 2146616 h 2323145"/>
              <a:gd name="connsiteX230" fmla="*/ 1865582 w 11269336"/>
              <a:gd name="connsiteY230" fmla="*/ 2153738 h 2323145"/>
              <a:gd name="connsiteX231" fmla="*/ 1835210 w 11269336"/>
              <a:gd name="connsiteY231" fmla="*/ 2134244 h 2323145"/>
              <a:gd name="connsiteX232" fmla="*/ 1632661 w 11269336"/>
              <a:gd name="connsiteY232" fmla="*/ 2173882 h 2323145"/>
              <a:gd name="connsiteX233" fmla="*/ 1579590 w 11269336"/>
              <a:gd name="connsiteY233" fmla="*/ 2173680 h 2323145"/>
              <a:gd name="connsiteX234" fmla="*/ 1535601 w 11269336"/>
              <a:gd name="connsiteY234" fmla="*/ 2194590 h 2323145"/>
              <a:gd name="connsiteX235" fmla="*/ 1515594 w 11269336"/>
              <a:gd name="connsiteY235" fmla="*/ 2189622 h 2323145"/>
              <a:gd name="connsiteX236" fmla="*/ 1512113 w 11269336"/>
              <a:gd name="connsiteY236" fmla="*/ 2188534 h 2323145"/>
              <a:gd name="connsiteX237" fmla="*/ 1498838 w 11269336"/>
              <a:gd name="connsiteY237" fmla="*/ 2189213 h 2323145"/>
              <a:gd name="connsiteX238" fmla="*/ 1494279 w 11269336"/>
              <a:gd name="connsiteY238" fmla="*/ 2183112 h 2323145"/>
              <a:gd name="connsiteX239" fmla="*/ 1473714 w 11269336"/>
              <a:gd name="connsiteY239" fmla="*/ 2179625 h 2323145"/>
              <a:gd name="connsiteX240" fmla="*/ 1449503 w 11269336"/>
              <a:gd name="connsiteY240" fmla="*/ 2182633 h 2323145"/>
              <a:gd name="connsiteX241" fmla="*/ 1266687 w 11269336"/>
              <a:gd name="connsiteY241" fmla="*/ 2212688 h 2323145"/>
              <a:gd name="connsiteX242" fmla="*/ 1239614 w 11269336"/>
              <a:gd name="connsiteY242" fmla="*/ 2209727 h 2323145"/>
              <a:gd name="connsiteX243" fmla="*/ 1202436 w 11269336"/>
              <a:gd name="connsiteY243" fmla="*/ 2209817 h 2323145"/>
              <a:gd name="connsiteX244" fmla="*/ 1136097 w 11269336"/>
              <a:gd name="connsiteY244" fmla="*/ 2205112 h 2323145"/>
              <a:gd name="connsiteX245" fmla="*/ 988232 w 11269336"/>
              <a:gd name="connsiteY245" fmla="*/ 2235635 h 2323145"/>
              <a:gd name="connsiteX246" fmla="*/ 981959 w 11269336"/>
              <a:gd name="connsiteY246" fmla="*/ 2231607 h 2323145"/>
              <a:gd name="connsiteX247" fmla="*/ 938600 w 11269336"/>
              <a:gd name="connsiteY247" fmla="*/ 2238113 h 2323145"/>
              <a:gd name="connsiteX248" fmla="*/ 791788 w 11269336"/>
              <a:gd name="connsiteY248" fmla="*/ 2293224 h 2323145"/>
              <a:gd name="connsiteX249" fmla="*/ 706914 w 11269336"/>
              <a:gd name="connsiteY249" fmla="*/ 2305046 h 2323145"/>
              <a:gd name="connsiteX250" fmla="*/ 675971 w 11269336"/>
              <a:gd name="connsiteY250" fmla="*/ 2304030 h 2323145"/>
              <a:gd name="connsiteX251" fmla="*/ 624180 w 11269336"/>
              <a:gd name="connsiteY251" fmla="*/ 2302650 h 2323145"/>
              <a:gd name="connsiteX252" fmla="*/ 583453 w 11269336"/>
              <a:gd name="connsiteY252" fmla="*/ 2288788 h 2323145"/>
              <a:gd name="connsiteX253" fmla="*/ 540946 w 11269336"/>
              <a:gd name="connsiteY253" fmla="*/ 2292721 h 2323145"/>
              <a:gd name="connsiteX254" fmla="*/ 533680 w 11269336"/>
              <a:gd name="connsiteY254" fmla="*/ 2310233 h 2323145"/>
              <a:gd name="connsiteX255" fmla="*/ 487366 w 11269336"/>
              <a:gd name="connsiteY255" fmla="*/ 2309053 h 2323145"/>
              <a:gd name="connsiteX256" fmla="*/ 416820 w 11269336"/>
              <a:gd name="connsiteY256" fmla="*/ 2305443 h 2323145"/>
              <a:gd name="connsiteX257" fmla="*/ 376805 w 11269336"/>
              <a:gd name="connsiteY257" fmla="*/ 2307647 h 2323145"/>
              <a:gd name="connsiteX258" fmla="*/ 266777 w 11269336"/>
              <a:gd name="connsiteY258" fmla="*/ 2309012 h 2323145"/>
              <a:gd name="connsiteX259" fmla="*/ 156013 w 11269336"/>
              <a:gd name="connsiteY259" fmla="*/ 2306832 h 2323145"/>
              <a:gd name="connsiteX260" fmla="*/ 87258 w 11269336"/>
              <a:gd name="connsiteY260" fmla="*/ 2285511 h 2323145"/>
              <a:gd name="connsiteX261" fmla="*/ 23798 w 11269336"/>
              <a:gd name="connsiteY261" fmla="*/ 2281822 h 2323145"/>
              <a:gd name="connsiteX262" fmla="*/ 0 w 11269336"/>
              <a:gd name="connsiteY262" fmla="*/ 2285369 h 2323145"/>
              <a:gd name="connsiteX263" fmla="*/ 0 w 11269336"/>
              <a:gd name="connsiteY26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380600 w 11269336"/>
              <a:gd name="connsiteY19" fmla="*/ 549821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41688 w 11269336"/>
              <a:gd name="connsiteY133" fmla="*/ 2022334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41688 w 11269336"/>
              <a:gd name="connsiteY133" fmla="*/ 2022334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79902 w 11269336"/>
              <a:gd name="connsiteY144" fmla="*/ 2177927 h 2323145"/>
              <a:gd name="connsiteX145" fmla="*/ 4533444 w 11269336"/>
              <a:gd name="connsiteY145" fmla="*/ 2181200 h 2323145"/>
              <a:gd name="connsiteX146" fmla="*/ 4492832 w 11269336"/>
              <a:gd name="connsiteY146" fmla="*/ 2188033 h 2323145"/>
              <a:gd name="connsiteX147" fmla="*/ 4467257 w 11269336"/>
              <a:gd name="connsiteY147" fmla="*/ 2196121 h 2323145"/>
              <a:gd name="connsiteX148" fmla="*/ 4459937 w 11269336"/>
              <a:gd name="connsiteY148" fmla="*/ 2195182 h 2323145"/>
              <a:gd name="connsiteX149" fmla="*/ 4433312 w 11269336"/>
              <a:gd name="connsiteY149" fmla="*/ 2199004 h 2323145"/>
              <a:gd name="connsiteX150" fmla="*/ 4420601 w 11269336"/>
              <a:gd name="connsiteY150" fmla="*/ 2205158 h 2323145"/>
              <a:gd name="connsiteX151" fmla="*/ 4405765 w 11269336"/>
              <a:gd name="connsiteY151" fmla="*/ 2199902 h 2323145"/>
              <a:gd name="connsiteX152" fmla="*/ 4401354 w 11269336"/>
              <a:gd name="connsiteY152" fmla="*/ 2194745 h 2323145"/>
              <a:gd name="connsiteX153" fmla="*/ 4383151 w 11269336"/>
              <a:gd name="connsiteY153" fmla="*/ 2201140 h 2323145"/>
              <a:gd name="connsiteX154" fmla="*/ 4366646 w 11269336"/>
              <a:gd name="connsiteY154" fmla="*/ 2198564 h 2323145"/>
              <a:gd name="connsiteX155" fmla="*/ 4354009 w 11269336"/>
              <a:gd name="connsiteY155" fmla="*/ 2204984 h 2323145"/>
              <a:gd name="connsiteX156" fmla="*/ 4348284 w 11269336"/>
              <a:gd name="connsiteY156" fmla="*/ 2205270 h 2323145"/>
              <a:gd name="connsiteX157" fmla="*/ 4333906 w 11269336"/>
              <a:gd name="connsiteY157" fmla="*/ 2205251 h 2323145"/>
              <a:gd name="connsiteX158" fmla="*/ 4308819 w 11269336"/>
              <a:gd name="connsiteY158" fmla="*/ 2203822 h 2323145"/>
              <a:gd name="connsiteX159" fmla="*/ 4301210 w 11269336"/>
              <a:gd name="connsiteY159" fmla="*/ 2204456 h 2323145"/>
              <a:gd name="connsiteX160" fmla="*/ 4283095 w 11269336"/>
              <a:gd name="connsiteY160" fmla="*/ 2198177 h 2323145"/>
              <a:gd name="connsiteX161" fmla="*/ 4250119 w 11269336"/>
              <a:gd name="connsiteY161" fmla="*/ 2196342 h 2323145"/>
              <a:gd name="connsiteX162" fmla="*/ 4189203 w 11269336"/>
              <a:gd name="connsiteY162" fmla="*/ 2178994 h 2323145"/>
              <a:gd name="connsiteX163" fmla="*/ 4154035 w 11269336"/>
              <a:gd name="connsiteY163" fmla="*/ 2171950 h 2323145"/>
              <a:gd name="connsiteX164" fmla="*/ 4129569 w 11269336"/>
              <a:gd name="connsiteY164" fmla="*/ 2163850 h 2323145"/>
              <a:gd name="connsiteX165" fmla="*/ 4061250 w 11269336"/>
              <a:gd name="connsiteY165" fmla="*/ 2159236 h 2323145"/>
              <a:gd name="connsiteX166" fmla="*/ 3945480 w 11269336"/>
              <a:gd name="connsiteY166" fmla="*/ 2158279 h 2323145"/>
              <a:gd name="connsiteX167" fmla="*/ 3921468 w 11269336"/>
              <a:gd name="connsiteY167" fmla="*/ 2156588 h 2323145"/>
              <a:gd name="connsiteX168" fmla="*/ 3903348 w 11269336"/>
              <a:gd name="connsiteY168" fmla="*/ 2149220 h 2323145"/>
              <a:gd name="connsiteX169" fmla="*/ 3901342 w 11269336"/>
              <a:gd name="connsiteY169" fmla="*/ 2142355 h 2323145"/>
              <a:gd name="connsiteX170" fmla="*/ 3888539 w 11269336"/>
              <a:gd name="connsiteY170" fmla="*/ 2140476 h 2323145"/>
              <a:gd name="connsiteX171" fmla="*/ 3885662 w 11269336"/>
              <a:gd name="connsiteY171" fmla="*/ 2138740 h 2323145"/>
              <a:gd name="connsiteX172" fmla="*/ 3868627 w 11269336"/>
              <a:gd name="connsiteY172" fmla="*/ 2130023 h 2323145"/>
              <a:gd name="connsiteX173" fmla="*/ 3819177 w 11269336"/>
              <a:gd name="connsiteY173" fmla="*/ 2142111 h 2323145"/>
              <a:gd name="connsiteX174" fmla="*/ 3769100 w 11269336"/>
              <a:gd name="connsiteY174" fmla="*/ 2131731 h 2323145"/>
              <a:gd name="connsiteX175" fmla="*/ 3562752 w 11269336"/>
              <a:gd name="connsiteY175" fmla="*/ 2131785 h 2323145"/>
              <a:gd name="connsiteX176" fmla="*/ 3541402 w 11269336"/>
              <a:gd name="connsiteY176" fmla="*/ 2106821 h 2323145"/>
              <a:gd name="connsiteX177" fmla="*/ 3365341 w 11269336"/>
              <a:gd name="connsiteY177" fmla="*/ 2077638 h 2323145"/>
              <a:gd name="connsiteX178" fmla="*/ 3170922 w 11269336"/>
              <a:gd name="connsiteY178" fmla="*/ 2115957 h 2323145"/>
              <a:gd name="connsiteX179" fmla="*/ 3156256 w 11269336"/>
              <a:gd name="connsiteY179" fmla="*/ 2124773 h 2323145"/>
              <a:gd name="connsiteX180" fmla="*/ 3140298 w 11269336"/>
              <a:gd name="connsiteY180" fmla="*/ 2129182 h 2323145"/>
              <a:gd name="connsiteX181" fmla="*/ 3138514 w 11269336"/>
              <a:gd name="connsiteY181" fmla="*/ 2128069 h 2323145"/>
              <a:gd name="connsiteX182" fmla="*/ 3120467 w 11269336"/>
              <a:gd name="connsiteY182" fmla="*/ 2128281 h 2323145"/>
              <a:gd name="connsiteX183" fmla="*/ 3116175 w 11269336"/>
              <a:gd name="connsiteY183" fmla="*/ 2131633 h 2323145"/>
              <a:gd name="connsiteX184" fmla="*/ 3103685 w 11269336"/>
              <a:gd name="connsiteY184" fmla="*/ 2132814 h 2323145"/>
              <a:gd name="connsiteX185" fmla="*/ 3078794 w 11269336"/>
              <a:gd name="connsiteY185" fmla="*/ 2137935 h 2323145"/>
              <a:gd name="connsiteX186" fmla="*/ 3074407 w 11269336"/>
              <a:gd name="connsiteY186" fmla="*/ 2136274 h 2323145"/>
              <a:gd name="connsiteX187" fmla="*/ 3037285 w 11269336"/>
              <a:gd name="connsiteY187" fmla="*/ 2139919 h 2323145"/>
              <a:gd name="connsiteX188" fmla="*/ 3036901 w 11269336"/>
              <a:gd name="connsiteY188" fmla="*/ 2138726 h 2323145"/>
              <a:gd name="connsiteX189" fmla="*/ 3026996 w 11269336"/>
              <a:gd name="connsiteY189" fmla="*/ 2134322 h 2323145"/>
              <a:gd name="connsiteX190" fmla="*/ 3007772 w 11269336"/>
              <a:gd name="connsiteY190" fmla="*/ 2128742 h 2323145"/>
              <a:gd name="connsiteX191" fmla="*/ 2965030 w 11269336"/>
              <a:gd name="connsiteY191" fmla="*/ 2100494 h 2323145"/>
              <a:gd name="connsiteX192" fmla="*/ 2926342 w 11269336"/>
              <a:gd name="connsiteY192" fmla="*/ 2104155 h 2323145"/>
              <a:gd name="connsiteX193" fmla="*/ 2918608 w 11269336"/>
              <a:gd name="connsiteY193" fmla="*/ 2104215 h 2323145"/>
              <a:gd name="connsiteX194" fmla="*/ 2918475 w 11269336"/>
              <a:gd name="connsiteY194" fmla="*/ 2103937 h 2323145"/>
              <a:gd name="connsiteX195" fmla="*/ 2910360 w 11269336"/>
              <a:gd name="connsiteY195" fmla="*/ 2103444 h 2323145"/>
              <a:gd name="connsiteX196" fmla="*/ 2904507 w 11269336"/>
              <a:gd name="connsiteY196" fmla="*/ 2104326 h 2323145"/>
              <a:gd name="connsiteX197" fmla="*/ 2889503 w 11269336"/>
              <a:gd name="connsiteY197" fmla="*/ 2104443 h 2323145"/>
              <a:gd name="connsiteX198" fmla="*/ 2884480 w 11269336"/>
              <a:gd name="connsiteY198" fmla="*/ 2102626 h 2323145"/>
              <a:gd name="connsiteX199" fmla="*/ 2882689 w 11269336"/>
              <a:gd name="connsiteY199" fmla="*/ 2099228 h 2323145"/>
              <a:gd name="connsiteX200" fmla="*/ 2881291 w 11269336"/>
              <a:gd name="connsiteY200" fmla="*/ 2099618 h 2323145"/>
              <a:gd name="connsiteX201" fmla="*/ 2853979 w 11269336"/>
              <a:gd name="connsiteY201" fmla="*/ 2090388 h 2323145"/>
              <a:gd name="connsiteX202" fmla="*/ 2791790 w 11269336"/>
              <a:gd name="connsiteY202" fmla="*/ 2080332 h 2323145"/>
              <a:gd name="connsiteX203" fmla="*/ 2755844 w 11269336"/>
              <a:gd name="connsiteY203" fmla="*/ 2078874 h 2323145"/>
              <a:gd name="connsiteX204" fmla="*/ 2657742 w 11269336"/>
              <a:gd name="connsiteY204" fmla="*/ 2070179 h 2323145"/>
              <a:gd name="connsiteX205" fmla="*/ 2559549 w 11269336"/>
              <a:gd name="connsiteY205" fmla="*/ 2057873 h 2323145"/>
              <a:gd name="connsiteX206" fmla="*/ 2512054 w 11269336"/>
              <a:gd name="connsiteY206" fmla="*/ 2031671 h 2323145"/>
              <a:gd name="connsiteX207" fmla="*/ 2506437 w 11269336"/>
              <a:gd name="connsiteY207" fmla="*/ 2030918 h 2323145"/>
              <a:gd name="connsiteX208" fmla="*/ 2491752 w 11269336"/>
              <a:gd name="connsiteY208" fmla="*/ 2033906 h 2323145"/>
              <a:gd name="connsiteX209" fmla="*/ 2486338 w 11269336"/>
              <a:gd name="connsiteY209" fmla="*/ 2035862 h 2323145"/>
              <a:gd name="connsiteX210" fmla="*/ 2478186 w 11269336"/>
              <a:gd name="connsiteY210" fmla="*/ 2036953 h 2323145"/>
              <a:gd name="connsiteX211" fmla="*/ 2477950 w 11269336"/>
              <a:gd name="connsiteY211" fmla="*/ 2036715 h 2323145"/>
              <a:gd name="connsiteX212" fmla="*/ 2470381 w 11269336"/>
              <a:gd name="connsiteY212" fmla="*/ 2038256 h 2323145"/>
              <a:gd name="connsiteX213" fmla="*/ 2433781 w 11269336"/>
              <a:gd name="connsiteY213" fmla="*/ 2049140 h 2323145"/>
              <a:gd name="connsiteX214" fmla="*/ 2381172 w 11269336"/>
              <a:gd name="connsiteY214" fmla="*/ 2030645 h 2323145"/>
              <a:gd name="connsiteX215" fmla="*/ 2360198 w 11269336"/>
              <a:gd name="connsiteY215" fmla="*/ 2029059 h 2323145"/>
              <a:gd name="connsiteX216" fmla="*/ 2348815 w 11269336"/>
              <a:gd name="connsiteY216" fmla="*/ 2026798 h 2323145"/>
              <a:gd name="connsiteX217" fmla="*/ 2347988 w 11269336"/>
              <a:gd name="connsiteY217" fmla="*/ 2025745 h 2323145"/>
              <a:gd name="connsiteX218" fmla="*/ 2312920 w 11269336"/>
              <a:gd name="connsiteY218" fmla="*/ 2036311 h 2323145"/>
              <a:gd name="connsiteX219" fmla="*/ 2307986 w 11269336"/>
              <a:gd name="connsiteY219" fmla="*/ 2035583 h 2323145"/>
              <a:gd name="connsiteX220" fmla="*/ 2285481 w 11269336"/>
              <a:gd name="connsiteY220" fmla="*/ 2045197 h 2323145"/>
              <a:gd name="connsiteX221" fmla="*/ 2273666 w 11269336"/>
              <a:gd name="connsiteY221" fmla="*/ 2048710 h 2323145"/>
              <a:gd name="connsiteX222" fmla="*/ 2270719 w 11269336"/>
              <a:gd name="connsiteY222" fmla="*/ 2052702 h 2323145"/>
              <a:gd name="connsiteX223" fmla="*/ 2253080 w 11269336"/>
              <a:gd name="connsiteY223" fmla="*/ 2056363 h 2323145"/>
              <a:gd name="connsiteX224" fmla="*/ 2250906 w 11269336"/>
              <a:gd name="connsiteY224" fmla="*/ 2055654 h 2323145"/>
              <a:gd name="connsiteX225" fmla="*/ 2236905 w 11269336"/>
              <a:gd name="connsiteY225" fmla="*/ 2062882 h 2323145"/>
              <a:gd name="connsiteX226" fmla="*/ 2225830 w 11269336"/>
              <a:gd name="connsiteY226" fmla="*/ 2074027 h 2323145"/>
              <a:gd name="connsiteX227" fmla="*/ 2073776 w 11269336"/>
              <a:gd name="connsiteY227" fmla="*/ 2089244 h 2323145"/>
              <a:gd name="connsiteX228" fmla="*/ 1948256 w 11269336"/>
              <a:gd name="connsiteY228" fmla="*/ 2146616 h 2323145"/>
              <a:gd name="connsiteX229" fmla="*/ 1865582 w 11269336"/>
              <a:gd name="connsiteY229" fmla="*/ 2153738 h 2323145"/>
              <a:gd name="connsiteX230" fmla="*/ 1835210 w 11269336"/>
              <a:gd name="connsiteY230" fmla="*/ 2134244 h 2323145"/>
              <a:gd name="connsiteX231" fmla="*/ 1632661 w 11269336"/>
              <a:gd name="connsiteY231" fmla="*/ 2173882 h 2323145"/>
              <a:gd name="connsiteX232" fmla="*/ 1579590 w 11269336"/>
              <a:gd name="connsiteY232" fmla="*/ 2173680 h 2323145"/>
              <a:gd name="connsiteX233" fmla="*/ 1535601 w 11269336"/>
              <a:gd name="connsiteY233" fmla="*/ 2194590 h 2323145"/>
              <a:gd name="connsiteX234" fmla="*/ 1515594 w 11269336"/>
              <a:gd name="connsiteY234" fmla="*/ 2189622 h 2323145"/>
              <a:gd name="connsiteX235" fmla="*/ 1512113 w 11269336"/>
              <a:gd name="connsiteY235" fmla="*/ 2188534 h 2323145"/>
              <a:gd name="connsiteX236" fmla="*/ 1498838 w 11269336"/>
              <a:gd name="connsiteY236" fmla="*/ 2189213 h 2323145"/>
              <a:gd name="connsiteX237" fmla="*/ 1494279 w 11269336"/>
              <a:gd name="connsiteY237" fmla="*/ 2183112 h 2323145"/>
              <a:gd name="connsiteX238" fmla="*/ 1473714 w 11269336"/>
              <a:gd name="connsiteY238" fmla="*/ 2179625 h 2323145"/>
              <a:gd name="connsiteX239" fmla="*/ 1449503 w 11269336"/>
              <a:gd name="connsiteY239" fmla="*/ 2182633 h 2323145"/>
              <a:gd name="connsiteX240" fmla="*/ 1266687 w 11269336"/>
              <a:gd name="connsiteY240" fmla="*/ 2212688 h 2323145"/>
              <a:gd name="connsiteX241" fmla="*/ 1239614 w 11269336"/>
              <a:gd name="connsiteY241" fmla="*/ 2209727 h 2323145"/>
              <a:gd name="connsiteX242" fmla="*/ 1202436 w 11269336"/>
              <a:gd name="connsiteY242" fmla="*/ 2209817 h 2323145"/>
              <a:gd name="connsiteX243" fmla="*/ 1136097 w 11269336"/>
              <a:gd name="connsiteY243" fmla="*/ 2205112 h 2323145"/>
              <a:gd name="connsiteX244" fmla="*/ 988232 w 11269336"/>
              <a:gd name="connsiteY244" fmla="*/ 2235635 h 2323145"/>
              <a:gd name="connsiteX245" fmla="*/ 981959 w 11269336"/>
              <a:gd name="connsiteY245" fmla="*/ 2231607 h 2323145"/>
              <a:gd name="connsiteX246" fmla="*/ 938600 w 11269336"/>
              <a:gd name="connsiteY246" fmla="*/ 2238113 h 2323145"/>
              <a:gd name="connsiteX247" fmla="*/ 791788 w 11269336"/>
              <a:gd name="connsiteY247" fmla="*/ 2293224 h 2323145"/>
              <a:gd name="connsiteX248" fmla="*/ 706914 w 11269336"/>
              <a:gd name="connsiteY248" fmla="*/ 2305046 h 2323145"/>
              <a:gd name="connsiteX249" fmla="*/ 675971 w 11269336"/>
              <a:gd name="connsiteY249" fmla="*/ 2304030 h 2323145"/>
              <a:gd name="connsiteX250" fmla="*/ 624180 w 11269336"/>
              <a:gd name="connsiteY250" fmla="*/ 2302650 h 2323145"/>
              <a:gd name="connsiteX251" fmla="*/ 583453 w 11269336"/>
              <a:gd name="connsiteY251" fmla="*/ 2288788 h 2323145"/>
              <a:gd name="connsiteX252" fmla="*/ 540946 w 11269336"/>
              <a:gd name="connsiteY252" fmla="*/ 2292721 h 2323145"/>
              <a:gd name="connsiteX253" fmla="*/ 533680 w 11269336"/>
              <a:gd name="connsiteY253" fmla="*/ 2310233 h 2323145"/>
              <a:gd name="connsiteX254" fmla="*/ 487366 w 11269336"/>
              <a:gd name="connsiteY254" fmla="*/ 2309053 h 2323145"/>
              <a:gd name="connsiteX255" fmla="*/ 416820 w 11269336"/>
              <a:gd name="connsiteY255" fmla="*/ 2305443 h 2323145"/>
              <a:gd name="connsiteX256" fmla="*/ 376805 w 11269336"/>
              <a:gd name="connsiteY256" fmla="*/ 2307647 h 2323145"/>
              <a:gd name="connsiteX257" fmla="*/ 266777 w 11269336"/>
              <a:gd name="connsiteY257" fmla="*/ 2309012 h 2323145"/>
              <a:gd name="connsiteX258" fmla="*/ 156013 w 11269336"/>
              <a:gd name="connsiteY258" fmla="*/ 2306832 h 2323145"/>
              <a:gd name="connsiteX259" fmla="*/ 87258 w 11269336"/>
              <a:gd name="connsiteY259" fmla="*/ 2285511 h 2323145"/>
              <a:gd name="connsiteX260" fmla="*/ 23798 w 11269336"/>
              <a:gd name="connsiteY260" fmla="*/ 2281822 h 2323145"/>
              <a:gd name="connsiteX261" fmla="*/ 0 w 11269336"/>
              <a:gd name="connsiteY261" fmla="*/ 2285369 h 2323145"/>
              <a:gd name="connsiteX262" fmla="*/ 0 w 11269336"/>
              <a:gd name="connsiteY26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678455 w 11269336"/>
              <a:gd name="connsiteY142" fmla="*/ 2156131 h 2323145"/>
              <a:gd name="connsiteX143" fmla="*/ 4593061 w 11269336"/>
              <a:gd name="connsiteY143" fmla="*/ 2171597 h 2323145"/>
              <a:gd name="connsiteX144" fmla="*/ 4533444 w 11269336"/>
              <a:gd name="connsiteY144" fmla="*/ 2181200 h 2323145"/>
              <a:gd name="connsiteX145" fmla="*/ 4492832 w 11269336"/>
              <a:gd name="connsiteY145" fmla="*/ 2188033 h 2323145"/>
              <a:gd name="connsiteX146" fmla="*/ 4467257 w 11269336"/>
              <a:gd name="connsiteY146" fmla="*/ 2196121 h 2323145"/>
              <a:gd name="connsiteX147" fmla="*/ 4459937 w 11269336"/>
              <a:gd name="connsiteY147" fmla="*/ 2195182 h 2323145"/>
              <a:gd name="connsiteX148" fmla="*/ 4433312 w 11269336"/>
              <a:gd name="connsiteY148" fmla="*/ 2199004 h 2323145"/>
              <a:gd name="connsiteX149" fmla="*/ 4420601 w 11269336"/>
              <a:gd name="connsiteY149" fmla="*/ 2205158 h 2323145"/>
              <a:gd name="connsiteX150" fmla="*/ 4405765 w 11269336"/>
              <a:gd name="connsiteY150" fmla="*/ 2199902 h 2323145"/>
              <a:gd name="connsiteX151" fmla="*/ 4401354 w 11269336"/>
              <a:gd name="connsiteY151" fmla="*/ 2194745 h 2323145"/>
              <a:gd name="connsiteX152" fmla="*/ 4383151 w 11269336"/>
              <a:gd name="connsiteY152" fmla="*/ 2201140 h 2323145"/>
              <a:gd name="connsiteX153" fmla="*/ 4366646 w 11269336"/>
              <a:gd name="connsiteY153" fmla="*/ 2198564 h 2323145"/>
              <a:gd name="connsiteX154" fmla="*/ 4354009 w 11269336"/>
              <a:gd name="connsiteY154" fmla="*/ 2204984 h 2323145"/>
              <a:gd name="connsiteX155" fmla="*/ 4348284 w 11269336"/>
              <a:gd name="connsiteY155" fmla="*/ 2205270 h 2323145"/>
              <a:gd name="connsiteX156" fmla="*/ 4333906 w 11269336"/>
              <a:gd name="connsiteY156" fmla="*/ 2205251 h 2323145"/>
              <a:gd name="connsiteX157" fmla="*/ 4308819 w 11269336"/>
              <a:gd name="connsiteY157" fmla="*/ 2203822 h 2323145"/>
              <a:gd name="connsiteX158" fmla="*/ 4301210 w 11269336"/>
              <a:gd name="connsiteY158" fmla="*/ 2204456 h 2323145"/>
              <a:gd name="connsiteX159" fmla="*/ 4283095 w 11269336"/>
              <a:gd name="connsiteY159" fmla="*/ 2198177 h 2323145"/>
              <a:gd name="connsiteX160" fmla="*/ 4250119 w 11269336"/>
              <a:gd name="connsiteY160" fmla="*/ 2196342 h 2323145"/>
              <a:gd name="connsiteX161" fmla="*/ 4189203 w 11269336"/>
              <a:gd name="connsiteY161" fmla="*/ 2178994 h 2323145"/>
              <a:gd name="connsiteX162" fmla="*/ 4154035 w 11269336"/>
              <a:gd name="connsiteY162" fmla="*/ 2171950 h 2323145"/>
              <a:gd name="connsiteX163" fmla="*/ 4129569 w 11269336"/>
              <a:gd name="connsiteY163" fmla="*/ 2163850 h 2323145"/>
              <a:gd name="connsiteX164" fmla="*/ 4061250 w 11269336"/>
              <a:gd name="connsiteY164" fmla="*/ 2159236 h 2323145"/>
              <a:gd name="connsiteX165" fmla="*/ 3945480 w 11269336"/>
              <a:gd name="connsiteY165" fmla="*/ 2158279 h 2323145"/>
              <a:gd name="connsiteX166" fmla="*/ 3921468 w 11269336"/>
              <a:gd name="connsiteY166" fmla="*/ 2156588 h 2323145"/>
              <a:gd name="connsiteX167" fmla="*/ 3903348 w 11269336"/>
              <a:gd name="connsiteY167" fmla="*/ 2149220 h 2323145"/>
              <a:gd name="connsiteX168" fmla="*/ 3901342 w 11269336"/>
              <a:gd name="connsiteY168" fmla="*/ 2142355 h 2323145"/>
              <a:gd name="connsiteX169" fmla="*/ 3888539 w 11269336"/>
              <a:gd name="connsiteY169" fmla="*/ 2140476 h 2323145"/>
              <a:gd name="connsiteX170" fmla="*/ 3885662 w 11269336"/>
              <a:gd name="connsiteY170" fmla="*/ 2138740 h 2323145"/>
              <a:gd name="connsiteX171" fmla="*/ 3868627 w 11269336"/>
              <a:gd name="connsiteY171" fmla="*/ 2130023 h 2323145"/>
              <a:gd name="connsiteX172" fmla="*/ 3819177 w 11269336"/>
              <a:gd name="connsiteY172" fmla="*/ 2142111 h 2323145"/>
              <a:gd name="connsiteX173" fmla="*/ 3769100 w 11269336"/>
              <a:gd name="connsiteY173" fmla="*/ 2131731 h 2323145"/>
              <a:gd name="connsiteX174" fmla="*/ 3562752 w 11269336"/>
              <a:gd name="connsiteY174" fmla="*/ 2131785 h 2323145"/>
              <a:gd name="connsiteX175" fmla="*/ 3541402 w 11269336"/>
              <a:gd name="connsiteY175" fmla="*/ 2106821 h 2323145"/>
              <a:gd name="connsiteX176" fmla="*/ 3365341 w 11269336"/>
              <a:gd name="connsiteY176" fmla="*/ 2077638 h 2323145"/>
              <a:gd name="connsiteX177" fmla="*/ 3170922 w 11269336"/>
              <a:gd name="connsiteY177" fmla="*/ 2115957 h 2323145"/>
              <a:gd name="connsiteX178" fmla="*/ 3156256 w 11269336"/>
              <a:gd name="connsiteY178" fmla="*/ 2124773 h 2323145"/>
              <a:gd name="connsiteX179" fmla="*/ 3140298 w 11269336"/>
              <a:gd name="connsiteY179" fmla="*/ 2129182 h 2323145"/>
              <a:gd name="connsiteX180" fmla="*/ 3138514 w 11269336"/>
              <a:gd name="connsiteY180" fmla="*/ 2128069 h 2323145"/>
              <a:gd name="connsiteX181" fmla="*/ 3120467 w 11269336"/>
              <a:gd name="connsiteY181" fmla="*/ 2128281 h 2323145"/>
              <a:gd name="connsiteX182" fmla="*/ 3116175 w 11269336"/>
              <a:gd name="connsiteY182" fmla="*/ 2131633 h 2323145"/>
              <a:gd name="connsiteX183" fmla="*/ 3103685 w 11269336"/>
              <a:gd name="connsiteY183" fmla="*/ 2132814 h 2323145"/>
              <a:gd name="connsiteX184" fmla="*/ 3078794 w 11269336"/>
              <a:gd name="connsiteY184" fmla="*/ 2137935 h 2323145"/>
              <a:gd name="connsiteX185" fmla="*/ 3074407 w 11269336"/>
              <a:gd name="connsiteY185" fmla="*/ 2136274 h 2323145"/>
              <a:gd name="connsiteX186" fmla="*/ 3037285 w 11269336"/>
              <a:gd name="connsiteY186" fmla="*/ 2139919 h 2323145"/>
              <a:gd name="connsiteX187" fmla="*/ 3036901 w 11269336"/>
              <a:gd name="connsiteY187" fmla="*/ 2138726 h 2323145"/>
              <a:gd name="connsiteX188" fmla="*/ 3026996 w 11269336"/>
              <a:gd name="connsiteY188" fmla="*/ 2134322 h 2323145"/>
              <a:gd name="connsiteX189" fmla="*/ 3007772 w 11269336"/>
              <a:gd name="connsiteY189" fmla="*/ 2128742 h 2323145"/>
              <a:gd name="connsiteX190" fmla="*/ 2965030 w 11269336"/>
              <a:gd name="connsiteY190" fmla="*/ 2100494 h 2323145"/>
              <a:gd name="connsiteX191" fmla="*/ 2926342 w 11269336"/>
              <a:gd name="connsiteY191" fmla="*/ 2104155 h 2323145"/>
              <a:gd name="connsiteX192" fmla="*/ 2918608 w 11269336"/>
              <a:gd name="connsiteY192" fmla="*/ 2104215 h 2323145"/>
              <a:gd name="connsiteX193" fmla="*/ 2918475 w 11269336"/>
              <a:gd name="connsiteY193" fmla="*/ 2103937 h 2323145"/>
              <a:gd name="connsiteX194" fmla="*/ 2910360 w 11269336"/>
              <a:gd name="connsiteY194" fmla="*/ 2103444 h 2323145"/>
              <a:gd name="connsiteX195" fmla="*/ 2904507 w 11269336"/>
              <a:gd name="connsiteY195" fmla="*/ 2104326 h 2323145"/>
              <a:gd name="connsiteX196" fmla="*/ 2889503 w 11269336"/>
              <a:gd name="connsiteY196" fmla="*/ 2104443 h 2323145"/>
              <a:gd name="connsiteX197" fmla="*/ 2884480 w 11269336"/>
              <a:gd name="connsiteY197" fmla="*/ 2102626 h 2323145"/>
              <a:gd name="connsiteX198" fmla="*/ 2882689 w 11269336"/>
              <a:gd name="connsiteY198" fmla="*/ 2099228 h 2323145"/>
              <a:gd name="connsiteX199" fmla="*/ 2881291 w 11269336"/>
              <a:gd name="connsiteY199" fmla="*/ 2099618 h 2323145"/>
              <a:gd name="connsiteX200" fmla="*/ 2853979 w 11269336"/>
              <a:gd name="connsiteY200" fmla="*/ 2090388 h 2323145"/>
              <a:gd name="connsiteX201" fmla="*/ 2791790 w 11269336"/>
              <a:gd name="connsiteY201" fmla="*/ 2080332 h 2323145"/>
              <a:gd name="connsiteX202" fmla="*/ 2755844 w 11269336"/>
              <a:gd name="connsiteY202" fmla="*/ 2078874 h 2323145"/>
              <a:gd name="connsiteX203" fmla="*/ 2657742 w 11269336"/>
              <a:gd name="connsiteY203" fmla="*/ 2070179 h 2323145"/>
              <a:gd name="connsiteX204" fmla="*/ 2559549 w 11269336"/>
              <a:gd name="connsiteY204" fmla="*/ 2057873 h 2323145"/>
              <a:gd name="connsiteX205" fmla="*/ 2512054 w 11269336"/>
              <a:gd name="connsiteY205" fmla="*/ 2031671 h 2323145"/>
              <a:gd name="connsiteX206" fmla="*/ 2506437 w 11269336"/>
              <a:gd name="connsiteY206" fmla="*/ 2030918 h 2323145"/>
              <a:gd name="connsiteX207" fmla="*/ 2491752 w 11269336"/>
              <a:gd name="connsiteY207" fmla="*/ 2033906 h 2323145"/>
              <a:gd name="connsiteX208" fmla="*/ 2486338 w 11269336"/>
              <a:gd name="connsiteY208" fmla="*/ 2035862 h 2323145"/>
              <a:gd name="connsiteX209" fmla="*/ 2478186 w 11269336"/>
              <a:gd name="connsiteY209" fmla="*/ 2036953 h 2323145"/>
              <a:gd name="connsiteX210" fmla="*/ 2477950 w 11269336"/>
              <a:gd name="connsiteY210" fmla="*/ 2036715 h 2323145"/>
              <a:gd name="connsiteX211" fmla="*/ 2470381 w 11269336"/>
              <a:gd name="connsiteY211" fmla="*/ 2038256 h 2323145"/>
              <a:gd name="connsiteX212" fmla="*/ 2433781 w 11269336"/>
              <a:gd name="connsiteY212" fmla="*/ 2049140 h 2323145"/>
              <a:gd name="connsiteX213" fmla="*/ 2381172 w 11269336"/>
              <a:gd name="connsiteY213" fmla="*/ 2030645 h 2323145"/>
              <a:gd name="connsiteX214" fmla="*/ 2360198 w 11269336"/>
              <a:gd name="connsiteY214" fmla="*/ 2029059 h 2323145"/>
              <a:gd name="connsiteX215" fmla="*/ 2348815 w 11269336"/>
              <a:gd name="connsiteY215" fmla="*/ 2026798 h 2323145"/>
              <a:gd name="connsiteX216" fmla="*/ 2347988 w 11269336"/>
              <a:gd name="connsiteY216" fmla="*/ 2025745 h 2323145"/>
              <a:gd name="connsiteX217" fmla="*/ 2312920 w 11269336"/>
              <a:gd name="connsiteY217" fmla="*/ 2036311 h 2323145"/>
              <a:gd name="connsiteX218" fmla="*/ 2307986 w 11269336"/>
              <a:gd name="connsiteY218" fmla="*/ 2035583 h 2323145"/>
              <a:gd name="connsiteX219" fmla="*/ 2285481 w 11269336"/>
              <a:gd name="connsiteY219" fmla="*/ 2045197 h 2323145"/>
              <a:gd name="connsiteX220" fmla="*/ 2273666 w 11269336"/>
              <a:gd name="connsiteY220" fmla="*/ 2048710 h 2323145"/>
              <a:gd name="connsiteX221" fmla="*/ 2270719 w 11269336"/>
              <a:gd name="connsiteY221" fmla="*/ 2052702 h 2323145"/>
              <a:gd name="connsiteX222" fmla="*/ 2253080 w 11269336"/>
              <a:gd name="connsiteY222" fmla="*/ 2056363 h 2323145"/>
              <a:gd name="connsiteX223" fmla="*/ 2250906 w 11269336"/>
              <a:gd name="connsiteY223" fmla="*/ 2055654 h 2323145"/>
              <a:gd name="connsiteX224" fmla="*/ 2236905 w 11269336"/>
              <a:gd name="connsiteY224" fmla="*/ 2062882 h 2323145"/>
              <a:gd name="connsiteX225" fmla="*/ 2225830 w 11269336"/>
              <a:gd name="connsiteY225" fmla="*/ 2074027 h 2323145"/>
              <a:gd name="connsiteX226" fmla="*/ 2073776 w 11269336"/>
              <a:gd name="connsiteY226" fmla="*/ 2089244 h 2323145"/>
              <a:gd name="connsiteX227" fmla="*/ 1948256 w 11269336"/>
              <a:gd name="connsiteY227" fmla="*/ 2146616 h 2323145"/>
              <a:gd name="connsiteX228" fmla="*/ 1865582 w 11269336"/>
              <a:gd name="connsiteY228" fmla="*/ 2153738 h 2323145"/>
              <a:gd name="connsiteX229" fmla="*/ 1835210 w 11269336"/>
              <a:gd name="connsiteY229" fmla="*/ 2134244 h 2323145"/>
              <a:gd name="connsiteX230" fmla="*/ 1632661 w 11269336"/>
              <a:gd name="connsiteY230" fmla="*/ 2173882 h 2323145"/>
              <a:gd name="connsiteX231" fmla="*/ 1579590 w 11269336"/>
              <a:gd name="connsiteY231" fmla="*/ 2173680 h 2323145"/>
              <a:gd name="connsiteX232" fmla="*/ 1535601 w 11269336"/>
              <a:gd name="connsiteY232" fmla="*/ 2194590 h 2323145"/>
              <a:gd name="connsiteX233" fmla="*/ 1515594 w 11269336"/>
              <a:gd name="connsiteY233" fmla="*/ 2189622 h 2323145"/>
              <a:gd name="connsiteX234" fmla="*/ 1512113 w 11269336"/>
              <a:gd name="connsiteY234" fmla="*/ 2188534 h 2323145"/>
              <a:gd name="connsiteX235" fmla="*/ 1498838 w 11269336"/>
              <a:gd name="connsiteY235" fmla="*/ 2189213 h 2323145"/>
              <a:gd name="connsiteX236" fmla="*/ 1494279 w 11269336"/>
              <a:gd name="connsiteY236" fmla="*/ 2183112 h 2323145"/>
              <a:gd name="connsiteX237" fmla="*/ 1473714 w 11269336"/>
              <a:gd name="connsiteY237" fmla="*/ 2179625 h 2323145"/>
              <a:gd name="connsiteX238" fmla="*/ 1449503 w 11269336"/>
              <a:gd name="connsiteY238" fmla="*/ 2182633 h 2323145"/>
              <a:gd name="connsiteX239" fmla="*/ 1266687 w 11269336"/>
              <a:gd name="connsiteY239" fmla="*/ 2212688 h 2323145"/>
              <a:gd name="connsiteX240" fmla="*/ 1239614 w 11269336"/>
              <a:gd name="connsiteY240" fmla="*/ 2209727 h 2323145"/>
              <a:gd name="connsiteX241" fmla="*/ 1202436 w 11269336"/>
              <a:gd name="connsiteY241" fmla="*/ 2209817 h 2323145"/>
              <a:gd name="connsiteX242" fmla="*/ 1136097 w 11269336"/>
              <a:gd name="connsiteY242" fmla="*/ 2205112 h 2323145"/>
              <a:gd name="connsiteX243" fmla="*/ 988232 w 11269336"/>
              <a:gd name="connsiteY243" fmla="*/ 2235635 h 2323145"/>
              <a:gd name="connsiteX244" fmla="*/ 981959 w 11269336"/>
              <a:gd name="connsiteY244" fmla="*/ 2231607 h 2323145"/>
              <a:gd name="connsiteX245" fmla="*/ 938600 w 11269336"/>
              <a:gd name="connsiteY245" fmla="*/ 2238113 h 2323145"/>
              <a:gd name="connsiteX246" fmla="*/ 791788 w 11269336"/>
              <a:gd name="connsiteY246" fmla="*/ 2293224 h 2323145"/>
              <a:gd name="connsiteX247" fmla="*/ 706914 w 11269336"/>
              <a:gd name="connsiteY247" fmla="*/ 2305046 h 2323145"/>
              <a:gd name="connsiteX248" fmla="*/ 675971 w 11269336"/>
              <a:gd name="connsiteY248" fmla="*/ 2304030 h 2323145"/>
              <a:gd name="connsiteX249" fmla="*/ 624180 w 11269336"/>
              <a:gd name="connsiteY249" fmla="*/ 2302650 h 2323145"/>
              <a:gd name="connsiteX250" fmla="*/ 583453 w 11269336"/>
              <a:gd name="connsiteY250" fmla="*/ 2288788 h 2323145"/>
              <a:gd name="connsiteX251" fmla="*/ 540946 w 11269336"/>
              <a:gd name="connsiteY251" fmla="*/ 2292721 h 2323145"/>
              <a:gd name="connsiteX252" fmla="*/ 533680 w 11269336"/>
              <a:gd name="connsiteY252" fmla="*/ 2310233 h 2323145"/>
              <a:gd name="connsiteX253" fmla="*/ 487366 w 11269336"/>
              <a:gd name="connsiteY253" fmla="*/ 2309053 h 2323145"/>
              <a:gd name="connsiteX254" fmla="*/ 416820 w 11269336"/>
              <a:gd name="connsiteY254" fmla="*/ 2305443 h 2323145"/>
              <a:gd name="connsiteX255" fmla="*/ 376805 w 11269336"/>
              <a:gd name="connsiteY255" fmla="*/ 2307647 h 2323145"/>
              <a:gd name="connsiteX256" fmla="*/ 266777 w 11269336"/>
              <a:gd name="connsiteY256" fmla="*/ 2309012 h 2323145"/>
              <a:gd name="connsiteX257" fmla="*/ 156013 w 11269336"/>
              <a:gd name="connsiteY257" fmla="*/ 2306832 h 2323145"/>
              <a:gd name="connsiteX258" fmla="*/ 87258 w 11269336"/>
              <a:gd name="connsiteY258" fmla="*/ 2285511 h 2323145"/>
              <a:gd name="connsiteX259" fmla="*/ 23798 w 11269336"/>
              <a:gd name="connsiteY259" fmla="*/ 2281822 h 2323145"/>
              <a:gd name="connsiteX260" fmla="*/ 0 w 11269336"/>
              <a:gd name="connsiteY260" fmla="*/ 2285369 h 2323145"/>
              <a:gd name="connsiteX261" fmla="*/ 0 w 11269336"/>
              <a:gd name="connsiteY261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702453 w 11269336"/>
              <a:gd name="connsiteY141" fmla="*/ 2151586 h 2323145"/>
              <a:gd name="connsiteX142" fmla="*/ 4593061 w 11269336"/>
              <a:gd name="connsiteY142" fmla="*/ 2171597 h 2323145"/>
              <a:gd name="connsiteX143" fmla="*/ 4533444 w 11269336"/>
              <a:gd name="connsiteY143" fmla="*/ 2181200 h 2323145"/>
              <a:gd name="connsiteX144" fmla="*/ 4492832 w 11269336"/>
              <a:gd name="connsiteY144" fmla="*/ 2188033 h 2323145"/>
              <a:gd name="connsiteX145" fmla="*/ 4467257 w 11269336"/>
              <a:gd name="connsiteY145" fmla="*/ 2196121 h 2323145"/>
              <a:gd name="connsiteX146" fmla="*/ 4459937 w 11269336"/>
              <a:gd name="connsiteY146" fmla="*/ 2195182 h 2323145"/>
              <a:gd name="connsiteX147" fmla="*/ 4433312 w 11269336"/>
              <a:gd name="connsiteY147" fmla="*/ 2199004 h 2323145"/>
              <a:gd name="connsiteX148" fmla="*/ 4420601 w 11269336"/>
              <a:gd name="connsiteY148" fmla="*/ 2205158 h 2323145"/>
              <a:gd name="connsiteX149" fmla="*/ 4405765 w 11269336"/>
              <a:gd name="connsiteY149" fmla="*/ 2199902 h 2323145"/>
              <a:gd name="connsiteX150" fmla="*/ 4401354 w 11269336"/>
              <a:gd name="connsiteY150" fmla="*/ 2194745 h 2323145"/>
              <a:gd name="connsiteX151" fmla="*/ 4383151 w 11269336"/>
              <a:gd name="connsiteY151" fmla="*/ 2201140 h 2323145"/>
              <a:gd name="connsiteX152" fmla="*/ 4366646 w 11269336"/>
              <a:gd name="connsiteY152" fmla="*/ 2198564 h 2323145"/>
              <a:gd name="connsiteX153" fmla="*/ 4354009 w 11269336"/>
              <a:gd name="connsiteY153" fmla="*/ 2204984 h 2323145"/>
              <a:gd name="connsiteX154" fmla="*/ 4348284 w 11269336"/>
              <a:gd name="connsiteY154" fmla="*/ 2205270 h 2323145"/>
              <a:gd name="connsiteX155" fmla="*/ 4333906 w 11269336"/>
              <a:gd name="connsiteY155" fmla="*/ 2205251 h 2323145"/>
              <a:gd name="connsiteX156" fmla="*/ 4308819 w 11269336"/>
              <a:gd name="connsiteY156" fmla="*/ 2203822 h 2323145"/>
              <a:gd name="connsiteX157" fmla="*/ 4301210 w 11269336"/>
              <a:gd name="connsiteY157" fmla="*/ 2204456 h 2323145"/>
              <a:gd name="connsiteX158" fmla="*/ 4283095 w 11269336"/>
              <a:gd name="connsiteY158" fmla="*/ 2198177 h 2323145"/>
              <a:gd name="connsiteX159" fmla="*/ 4250119 w 11269336"/>
              <a:gd name="connsiteY159" fmla="*/ 2196342 h 2323145"/>
              <a:gd name="connsiteX160" fmla="*/ 4189203 w 11269336"/>
              <a:gd name="connsiteY160" fmla="*/ 2178994 h 2323145"/>
              <a:gd name="connsiteX161" fmla="*/ 4154035 w 11269336"/>
              <a:gd name="connsiteY161" fmla="*/ 2171950 h 2323145"/>
              <a:gd name="connsiteX162" fmla="*/ 4129569 w 11269336"/>
              <a:gd name="connsiteY162" fmla="*/ 2163850 h 2323145"/>
              <a:gd name="connsiteX163" fmla="*/ 4061250 w 11269336"/>
              <a:gd name="connsiteY163" fmla="*/ 2159236 h 2323145"/>
              <a:gd name="connsiteX164" fmla="*/ 3945480 w 11269336"/>
              <a:gd name="connsiteY164" fmla="*/ 2158279 h 2323145"/>
              <a:gd name="connsiteX165" fmla="*/ 3921468 w 11269336"/>
              <a:gd name="connsiteY165" fmla="*/ 2156588 h 2323145"/>
              <a:gd name="connsiteX166" fmla="*/ 3903348 w 11269336"/>
              <a:gd name="connsiteY166" fmla="*/ 2149220 h 2323145"/>
              <a:gd name="connsiteX167" fmla="*/ 3901342 w 11269336"/>
              <a:gd name="connsiteY167" fmla="*/ 2142355 h 2323145"/>
              <a:gd name="connsiteX168" fmla="*/ 3888539 w 11269336"/>
              <a:gd name="connsiteY168" fmla="*/ 2140476 h 2323145"/>
              <a:gd name="connsiteX169" fmla="*/ 3885662 w 11269336"/>
              <a:gd name="connsiteY169" fmla="*/ 2138740 h 2323145"/>
              <a:gd name="connsiteX170" fmla="*/ 3868627 w 11269336"/>
              <a:gd name="connsiteY170" fmla="*/ 2130023 h 2323145"/>
              <a:gd name="connsiteX171" fmla="*/ 3819177 w 11269336"/>
              <a:gd name="connsiteY171" fmla="*/ 2142111 h 2323145"/>
              <a:gd name="connsiteX172" fmla="*/ 3769100 w 11269336"/>
              <a:gd name="connsiteY172" fmla="*/ 2131731 h 2323145"/>
              <a:gd name="connsiteX173" fmla="*/ 3562752 w 11269336"/>
              <a:gd name="connsiteY173" fmla="*/ 2131785 h 2323145"/>
              <a:gd name="connsiteX174" fmla="*/ 3541402 w 11269336"/>
              <a:gd name="connsiteY174" fmla="*/ 2106821 h 2323145"/>
              <a:gd name="connsiteX175" fmla="*/ 3365341 w 11269336"/>
              <a:gd name="connsiteY175" fmla="*/ 2077638 h 2323145"/>
              <a:gd name="connsiteX176" fmla="*/ 3170922 w 11269336"/>
              <a:gd name="connsiteY176" fmla="*/ 2115957 h 2323145"/>
              <a:gd name="connsiteX177" fmla="*/ 3156256 w 11269336"/>
              <a:gd name="connsiteY177" fmla="*/ 2124773 h 2323145"/>
              <a:gd name="connsiteX178" fmla="*/ 3140298 w 11269336"/>
              <a:gd name="connsiteY178" fmla="*/ 2129182 h 2323145"/>
              <a:gd name="connsiteX179" fmla="*/ 3138514 w 11269336"/>
              <a:gd name="connsiteY179" fmla="*/ 2128069 h 2323145"/>
              <a:gd name="connsiteX180" fmla="*/ 3120467 w 11269336"/>
              <a:gd name="connsiteY180" fmla="*/ 2128281 h 2323145"/>
              <a:gd name="connsiteX181" fmla="*/ 3116175 w 11269336"/>
              <a:gd name="connsiteY181" fmla="*/ 2131633 h 2323145"/>
              <a:gd name="connsiteX182" fmla="*/ 3103685 w 11269336"/>
              <a:gd name="connsiteY182" fmla="*/ 2132814 h 2323145"/>
              <a:gd name="connsiteX183" fmla="*/ 3078794 w 11269336"/>
              <a:gd name="connsiteY183" fmla="*/ 2137935 h 2323145"/>
              <a:gd name="connsiteX184" fmla="*/ 3074407 w 11269336"/>
              <a:gd name="connsiteY184" fmla="*/ 2136274 h 2323145"/>
              <a:gd name="connsiteX185" fmla="*/ 3037285 w 11269336"/>
              <a:gd name="connsiteY185" fmla="*/ 2139919 h 2323145"/>
              <a:gd name="connsiteX186" fmla="*/ 3036901 w 11269336"/>
              <a:gd name="connsiteY186" fmla="*/ 2138726 h 2323145"/>
              <a:gd name="connsiteX187" fmla="*/ 3026996 w 11269336"/>
              <a:gd name="connsiteY187" fmla="*/ 2134322 h 2323145"/>
              <a:gd name="connsiteX188" fmla="*/ 3007772 w 11269336"/>
              <a:gd name="connsiteY188" fmla="*/ 2128742 h 2323145"/>
              <a:gd name="connsiteX189" fmla="*/ 2965030 w 11269336"/>
              <a:gd name="connsiteY189" fmla="*/ 2100494 h 2323145"/>
              <a:gd name="connsiteX190" fmla="*/ 2926342 w 11269336"/>
              <a:gd name="connsiteY190" fmla="*/ 2104155 h 2323145"/>
              <a:gd name="connsiteX191" fmla="*/ 2918608 w 11269336"/>
              <a:gd name="connsiteY191" fmla="*/ 2104215 h 2323145"/>
              <a:gd name="connsiteX192" fmla="*/ 2918475 w 11269336"/>
              <a:gd name="connsiteY192" fmla="*/ 2103937 h 2323145"/>
              <a:gd name="connsiteX193" fmla="*/ 2910360 w 11269336"/>
              <a:gd name="connsiteY193" fmla="*/ 2103444 h 2323145"/>
              <a:gd name="connsiteX194" fmla="*/ 2904507 w 11269336"/>
              <a:gd name="connsiteY194" fmla="*/ 2104326 h 2323145"/>
              <a:gd name="connsiteX195" fmla="*/ 2889503 w 11269336"/>
              <a:gd name="connsiteY195" fmla="*/ 2104443 h 2323145"/>
              <a:gd name="connsiteX196" fmla="*/ 2884480 w 11269336"/>
              <a:gd name="connsiteY196" fmla="*/ 2102626 h 2323145"/>
              <a:gd name="connsiteX197" fmla="*/ 2882689 w 11269336"/>
              <a:gd name="connsiteY197" fmla="*/ 2099228 h 2323145"/>
              <a:gd name="connsiteX198" fmla="*/ 2881291 w 11269336"/>
              <a:gd name="connsiteY198" fmla="*/ 2099618 h 2323145"/>
              <a:gd name="connsiteX199" fmla="*/ 2853979 w 11269336"/>
              <a:gd name="connsiteY199" fmla="*/ 2090388 h 2323145"/>
              <a:gd name="connsiteX200" fmla="*/ 2791790 w 11269336"/>
              <a:gd name="connsiteY200" fmla="*/ 2080332 h 2323145"/>
              <a:gd name="connsiteX201" fmla="*/ 2755844 w 11269336"/>
              <a:gd name="connsiteY201" fmla="*/ 2078874 h 2323145"/>
              <a:gd name="connsiteX202" fmla="*/ 2657742 w 11269336"/>
              <a:gd name="connsiteY202" fmla="*/ 2070179 h 2323145"/>
              <a:gd name="connsiteX203" fmla="*/ 2559549 w 11269336"/>
              <a:gd name="connsiteY203" fmla="*/ 2057873 h 2323145"/>
              <a:gd name="connsiteX204" fmla="*/ 2512054 w 11269336"/>
              <a:gd name="connsiteY204" fmla="*/ 2031671 h 2323145"/>
              <a:gd name="connsiteX205" fmla="*/ 2506437 w 11269336"/>
              <a:gd name="connsiteY205" fmla="*/ 2030918 h 2323145"/>
              <a:gd name="connsiteX206" fmla="*/ 2491752 w 11269336"/>
              <a:gd name="connsiteY206" fmla="*/ 2033906 h 2323145"/>
              <a:gd name="connsiteX207" fmla="*/ 2486338 w 11269336"/>
              <a:gd name="connsiteY207" fmla="*/ 2035862 h 2323145"/>
              <a:gd name="connsiteX208" fmla="*/ 2478186 w 11269336"/>
              <a:gd name="connsiteY208" fmla="*/ 2036953 h 2323145"/>
              <a:gd name="connsiteX209" fmla="*/ 2477950 w 11269336"/>
              <a:gd name="connsiteY209" fmla="*/ 2036715 h 2323145"/>
              <a:gd name="connsiteX210" fmla="*/ 2470381 w 11269336"/>
              <a:gd name="connsiteY210" fmla="*/ 2038256 h 2323145"/>
              <a:gd name="connsiteX211" fmla="*/ 2433781 w 11269336"/>
              <a:gd name="connsiteY211" fmla="*/ 2049140 h 2323145"/>
              <a:gd name="connsiteX212" fmla="*/ 2381172 w 11269336"/>
              <a:gd name="connsiteY212" fmla="*/ 2030645 h 2323145"/>
              <a:gd name="connsiteX213" fmla="*/ 2360198 w 11269336"/>
              <a:gd name="connsiteY213" fmla="*/ 2029059 h 2323145"/>
              <a:gd name="connsiteX214" fmla="*/ 2348815 w 11269336"/>
              <a:gd name="connsiteY214" fmla="*/ 2026798 h 2323145"/>
              <a:gd name="connsiteX215" fmla="*/ 2347988 w 11269336"/>
              <a:gd name="connsiteY215" fmla="*/ 2025745 h 2323145"/>
              <a:gd name="connsiteX216" fmla="*/ 2312920 w 11269336"/>
              <a:gd name="connsiteY216" fmla="*/ 2036311 h 2323145"/>
              <a:gd name="connsiteX217" fmla="*/ 2307986 w 11269336"/>
              <a:gd name="connsiteY217" fmla="*/ 2035583 h 2323145"/>
              <a:gd name="connsiteX218" fmla="*/ 2285481 w 11269336"/>
              <a:gd name="connsiteY218" fmla="*/ 2045197 h 2323145"/>
              <a:gd name="connsiteX219" fmla="*/ 2273666 w 11269336"/>
              <a:gd name="connsiteY219" fmla="*/ 2048710 h 2323145"/>
              <a:gd name="connsiteX220" fmla="*/ 2270719 w 11269336"/>
              <a:gd name="connsiteY220" fmla="*/ 2052702 h 2323145"/>
              <a:gd name="connsiteX221" fmla="*/ 2253080 w 11269336"/>
              <a:gd name="connsiteY221" fmla="*/ 2056363 h 2323145"/>
              <a:gd name="connsiteX222" fmla="*/ 2250906 w 11269336"/>
              <a:gd name="connsiteY222" fmla="*/ 2055654 h 2323145"/>
              <a:gd name="connsiteX223" fmla="*/ 2236905 w 11269336"/>
              <a:gd name="connsiteY223" fmla="*/ 2062882 h 2323145"/>
              <a:gd name="connsiteX224" fmla="*/ 2225830 w 11269336"/>
              <a:gd name="connsiteY224" fmla="*/ 2074027 h 2323145"/>
              <a:gd name="connsiteX225" fmla="*/ 2073776 w 11269336"/>
              <a:gd name="connsiteY225" fmla="*/ 2089244 h 2323145"/>
              <a:gd name="connsiteX226" fmla="*/ 1948256 w 11269336"/>
              <a:gd name="connsiteY226" fmla="*/ 2146616 h 2323145"/>
              <a:gd name="connsiteX227" fmla="*/ 1865582 w 11269336"/>
              <a:gd name="connsiteY227" fmla="*/ 2153738 h 2323145"/>
              <a:gd name="connsiteX228" fmla="*/ 1835210 w 11269336"/>
              <a:gd name="connsiteY228" fmla="*/ 2134244 h 2323145"/>
              <a:gd name="connsiteX229" fmla="*/ 1632661 w 11269336"/>
              <a:gd name="connsiteY229" fmla="*/ 2173882 h 2323145"/>
              <a:gd name="connsiteX230" fmla="*/ 1579590 w 11269336"/>
              <a:gd name="connsiteY230" fmla="*/ 2173680 h 2323145"/>
              <a:gd name="connsiteX231" fmla="*/ 1535601 w 11269336"/>
              <a:gd name="connsiteY231" fmla="*/ 2194590 h 2323145"/>
              <a:gd name="connsiteX232" fmla="*/ 1515594 w 11269336"/>
              <a:gd name="connsiteY232" fmla="*/ 2189622 h 2323145"/>
              <a:gd name="connsiteX233" fmla="*/ 1512113 w 11269336"/>
              <a:gd name="connsiteY233" fmla="*/ 2188534 h 2323145"/>
              <a:gd name="connsiteX234" fmla="*/ 1498838 w 11269336"/>
              <a:gd name="connsiteY234" fmla="*/ 2189213 h 2323145"/>
              <a:gd name="connsiteX235" fmla="*/ 1494279 w 11269336"/>
              <a:gd name="connsiteY235" fmla="*/ 2183112 h 2323145"/>
              <a:gd name="connsiteX236" fmla="*/ 1473714 w 11269336"/>
              <a:gd name="connsiteY236" fmla="*/ 2179625 h 2323145"/>
              <a:gd name="connsiteX237" fmla="*/ 1449503 w 11269336"/>
              <a:gd name="connsiteY237" fmla="*/ 2182633 h 2323145"/>
              <a:gd name="connsiteX238" fmla="*/ 1266687 w 11269336"/>
              <a:gd name="connsiteY238" fmla="*/ 2212688 h 2323145"/>
              <a:gd name="connsiteX239" fmla="*/ 1239614 w 11269336"/>
              <a:gd name="connsiteY239" fmla="*/ 2209727 h 2323145"/>
              <a:gd name="connsiteX240" fmla="*/ 1202436 w 11269336"/>
              <a:gd name="connsiteY240" fmla="*/ 2209817 h 2323145"/>
              <a:gd name="connsiteX241" fmla="*/ 1136097 w 11269336"/>
              <a:gd name="connsiteY241" fmla="*/ 2205112 h 2323145"/>
              <a:gd name="connsiteX242" fmla="*/ 988232 w 11269336"/>
              <a:gd name="connsiteY242" fmla="*/ 2235635 h 2323145"/>
              <a:gd name="connsiteX243" fmla="*/ 981959 w 11269336"/>
              <a:gd name="connsiteY243" fmla="*/ 2231607 h 2323145"/>
              <a:gd name="connsiteX244" fmla="*/ 938600 w 11269336"/>
              <a:gd name="connsiteY244" fmla="*/ 2238113 h 2323145"/>
              <a:gd name="connsiteX245" fmla="*/ 791788 w 11269336"/>
              <a:gd name="connsiteY245" fmla="*/ 2293224 h 2323145"/>
              <a:gd name="connsiteX246" fmla="*/ 706914 w 11269336"/>
              <a:gd name="connsiteY246" fmla="*/ 2305046 h 2323145"/>
              <a:gd name="connsiteX247" fmla="*/ 675971 w 11269336"/>
              <a:gd name="connsiteY247" fmla="*/ 2304030 h 2323145"/>
              <a:gd name="connsiteX248" fmla="*/ 624180 w 11269336"/>
              <a:gd name="connsiteY248" fmla="*/ 2302650 h 2323145"/>
              <a:gd name="connsiteX249" fmla="*/ 583453 w 11269336"/>
              <a:gd name="connsiteY249" fmla="*/ 2288788 h 2323145"/>
              <a:gd name="connsiteX250" fmla="*/ 540946 w 11269336"/>
              <a:gd name="connsiteY250" fmla="*/ 2292721 h 2323145"/>
              <a:gd name="connsiteX251" fmla="*/ 533680 w 11269336"/>
              <a:gd name="connsiteY251" fmla="*/ 2310233 h 2323145"/>
              <a:gd name="connsiteX252" fmla="*/ 487366 w 11269336"/>
              <a:gd name="connsiteY252" fmla="*/ 2309053 h 2323145"/>
              <a:gd name="connsiteX253" fmla="*/ 416820 w 11269336"/>
              <a:gd name="connsiteY253" fmla="*/ 2305443 h 2323145"/>
              <a:gd name="connsiteX254" fmla="*/ 376805 w 11269336"/>
              <a:gd name="connsiteY254" fmla="*/ 2307647 h 2323145"/>
              <a:gd name="connsiteX255" fmla="*/ 266777 w 11269336"/>
              <a:gd name="connsiteY255" fmla="*/ 2309012 h 2323145"/>
              <a:gd name="connsiteX256" fmla="*/ 156013 w 11269336"/>
              <a:gd name="connsiteY256" fmla="*/ 2306832 h 2323145"/>
              <a:gd name="connsiteX257" fmla="*/ 87258 w 11269336"/>
              <a:gd name="connsiteY257" fmla="*/ 2285511 h 2323145"/>
              <a:gd name="connsiteX258" fmla="*/ 23798 w 11269336"/>
              <a:gd name="connsiteY258" fmla="*/ 2281822 h 2323145"/>
              <a:gd name="connsiteX259" fmla="*/ 0 w 11269336"/>
              <a:gd name="connsiteY259" fmla="*/ 2285369 h 2323145"/>
              <a:gd name="connsiteX260" fmla="*/ 0 w 11269336"/>
              <a:gd name="connsiteY260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807902 w 11269336"/>
              <a:gd name="connsiteY135" fmla="*/ 2138894 h 2323145"/>
              <a:gd name="connsiteX136" fmla="*/ 4765388 w 11269336"/>
              <a:gd name="connsiteY136" fmla="*/ 2162525 h 2323145"/>
              <a:gd name="connsiteX137" fmla="*/ 4745033 w 11269336"/>
              <a:gd name="connsiteY137" fmla="*/ 2158859 h 2323145"/>
              <a:gd name="connsiteX138" fmla="*/ 4741475 w 11269336"/>
              <a:gd name="connsiteY138" fmla="*/ 2157998 h 2323145"/>
              <a:gd name="connsiteX139" fmla="*/ 4728247 w 11269336"/>
              <a:gd name="connsiteY139" fmla="*/ 2159526 h 2323145"/>
              <a:gd name="connsiteX140" fmla="*/ 4723263 w 11269336"/>
              <a:gd name="connsiteY140" fmla="*/ 2153742 h 2323145"/>
              <a:gd name="connsiteX141" fmla="*/ 4593061 w 11269336"/>
              <a:gd name="connsiteY141" fmla="*/ 2171597 h 2323145"/>
              <a:gd name="connsiteX142" fmla="*/ 4533444 w 11269336"/>
              <a:gd name="connsiteY142" fmla="*/ 2181200 h 2323145"/>
              <a:gd name="connsiteX143" fmla="*/ 4492832 w 11269336"/>
              <a:gd name="connsiteY143" fmla="*/ 2188033 h 2323145"/>
              <a:gd name="connsiteX144" fmla="*/ 4467257 w 11269336"/>
              <a:gd name="connsiteY144" fmla="*/ 2196121 h 2323145"/>
              <a:gd name="connsiteX145" fmla="*/ 4459937 w 11269336"/>
              <a:gd name="connsiteY145" fmla="*/ 2195182 h 2323145"/>
              <a:gd name="connsiteX146" fmla="*/ 4433312 w 11269336"/>
              <a:gd name="connsiteY146" fmla="*/ 2199004 h 2323145"/>
              <a:gd name="connsiteX147" fmla="*/ 4420601 w 11269336"/>
              <a:gd name="connsiteY147" fmla="*/ 2205158 h 2323145"/>
              <a:gd name="connsiteX148" fmla="*/ 4405765 w 11269336"/>
              <a:gd name="connsiteY148" fmla="*/ 2199902 h 2323145"/>
              <a:gd name="connsiteX149" fmla="*/ 4401354 w 11269336"/>
              <a:gd name="connsiteY149" fmla="*/ 2194745 h 2323145"/>
              <a:gd name="connsiteX150" fmla="*/ 4383151 w 11269336"/>
              <a:gd name="connsiteY150" fmla="*/ 2201140 h 2323145"/>
              <a:gd name="connsiteX151" fmla="*/ 4366646 w 11269336"/>
              <a:gd name="connsiteY151" fmla="*/ 2198564 h 2323145"/>
              <a:gd name="connsiteX152" fmla="*/ 4354009 w 11269336"/>
              <a:gd name="connsiteY152" fmla="*/ 2204984 h 2323145"/>
              <a:gd name="connsiteX153" fmla="*/ 4348284 w 11269336"/>
              <a:gd name="connsiteY153" fmla="*/ 2205270 h 2323145"/>
              <a:gd name="connsiteX154" fmla="*/ 4333906 w 11269336"/>
              <a:gd name="connsiteY154" fmla="*/ 2205251 h 2323145"/>
              <a:gd name="connsiteX155" fmla="*/ 4308819 w 11269336"/>
              <a:gd name="connsiteY155" fmla="*/ 2203822 h 2323145"/>
              <a:gd name="connsiteX156" fmla="*/ 4301210 w 11269336"/>
              <a:gd name="connsiteY156" fmla="*/ 2204456 h 2323145"/>
              <a:gd name="connsiteX157" fmla="*/ 4283095 w 11269336"/>
              <a:gd name="connsiteY157" fmla="*/ 2198177 h 2323145"/>
              <a:gd name="connsiteX158" fmla="*/ 4250119 w 11269336"/>
              <a:gd name="connsiteY158" fmla="*/ 2196342 h 2323145"/>
              <a:gd name="connsiteX159" fmla="*/ 4189203 w 11269336"/>
              <a:gd name="connsiteY159" fmla="*/ 2178994 h 2323145"/>
              <a:gd name="connsiteX160" fmla="*/ 4154035 w 11269336"/>
              <a:gd name="connsiteY160" fmla="*/ 2171950 h 2323145"/>
              <a:gd name="connsiteX161" fmla="*/ 4129569 w 11269336"/>
              <a:gd name="connsiteY161" fmla="*/ 2163850 h 2323145"/>
              <a:gd name="connsiteX162" fmla="*/ 4061250 w 11269336"/>
              <a:gd name="connsiteY162" fmla="*/ 2159236 h 2323145"/>
              <a:gd name="connsiteX163" fmla="*/ 3945480 w 11269336"/>
              <a:gd name="connsiteY163" fmla="*/ 2158279 h 2323145"/>
              <a:gd name="connsiteX164" fmla="*/ 3921468 w 11269336"/>
              <a:gd name="connsiteY164" fmla="*/ 2156588 h 2323145"/>
              <a:gd name="connsiteX165" fmla="*/ 3903348 w 11269336"/>
              <a:gd name="connsiteY165" fmla="*/ 2149220 h 2323145"/>
              <a:gd name="connsiteX166" fmla="*/ 3901342 w 11269336"/>
              <a:gd name="connsiteY166" fmla="*/ 2142355 h 2323145"/>
              <a:gd name="connsiteX167" fmla="*/ 3888539 w 11269336"/>
              <a:gd name="connsiteY167" fmla="*/ 2140476 h 2323145"/>
              <a:gd name="connsiteX168" fmla="*/ 3885662 w 11269336"/>
              <a:gd name="connsiteY168" fmla="*/ 2138740 h 2323145"/>
              <a:gd name="connsiteX169" fmla="*/ 3868627 w 11269336"/>
              <a:gd name="connsiteY169" fmla="*/ 2130023 h 2323145"/>
              <a:gd name="connsiteX170" fmla="*/ 3819177 w 11269336"/>
              <a:gd name="connsiteY170" fmla="*/ 2142111 h 2323145"/>
              <a:gd name="connsiteX171" fmla="*/ 3769100 w 11269336"/>
              <a:gd name="connsiteY171" fmla="*/ 2131731 h 2323145"/>
              <a:gd name="connsiteX172" fmla="*/ 3562752 w 11269336"/>
              <a:gd name="connsiteY172" fmla="*/ 2131785 h 2323145"/>
              <a:gd name="connsiteX173" fmla="*/ 3541402 w 11269336"/>
              <a:gd name="connsiteY173" fmla="*/ 2106821 h 2323145"/>
              <a:gd name="connsiteX174" fmla="*/ 3365341 w 11269336"/>
              <a:gd name="connsiteY174" fmla="*/ 2077638 h 2323145"/>
              <a:gd name="connsiteX175" fmla="*/ 3170922 w 11269336"/>
              <a:gd name="connsiteY175" fmla="*/ 2115957 h 2323145"/>
              <a:gd name="connsiteX176" fmla="*/ 3156256 w 11269336"/>
              <a:gd name="connsiteY176" fmla="*/ 2124773 h 2323145"/>
              <a:gd name="connsiteX177" fmla="*/ 3140298 w 11269336"/>
              <a:gd name="connsiteY177" fmla="*/ 2129182 h 2323145"/>
              <a:gd name="connsiteX178" fmla="*/ 3138514 w 11269336"/>
              <a:gd name="connsiteY178" fmla="*/ 2128069 h 2323145"/>
              <a:gd name="connsiteX179" fmla="*/ 3120467 w 11269336"/>
              <a:gd name="connsiteY179" fmla="*/ 2128281 h 2323145"/>
              <a:gd name="connsiteX180" fmla="*/ 3116175 w 11269336"/>
              <a:gd name="connsiteY180" fmla="*/ 2131633 h 2323145"/>
              <a:gd name="connsiteX181" fmla="*/ 3103685 w 11269336"/>
              <a:gd name="connsiteY181" fmla="*/ 2132814 h 2323145"/>
              <a:gd name="connsiteX182" fmla="*/ 3078794 w 11269336"/>
              <a:gd name="connsiteY182" fmla="*/ 2137935 h 2323145"/>
              <a:gd name="connsiteX183" fmla="*/ 3074407 w 11269336"/>
              <a:gd name="connsiteY183" fmla="*/ 2136274 h 2323145"/>
              <a:gd name="connsiteX184" fmla="*/ 3037285 w 11269336"/>
              <a:gd name="connsiteY184" fmla="*/ 2139919 h 2323145"/>
              <a:gd name="connsiteX185" fmla="*/ 3036901 w 11269336"/>
              <a:gd name="connsiteY185" fmla="*/ 2138726 h 2323145"/>
              <a:gd name="connsiteX186" fmla="*/ 3026996 w 11269336"/>
              <a:gd name="connsiteY186" fmla="*/ 2134322 h 2323145"/>
              <a:gd name="connsiteX187" fmla="*/ 3007772 w 11269336"/>
              <a:gd name="connsiteY187" fmla="*/ 2128742 h 2323145"/>
              <a:gd name="connsiteX188" fmla="*/ 2965030 w 11269336"/>
              <a:gd name="connsiteY188" fmla="*/ 2100494 h 2323145"/>
              <a:gd name="connsiteX189" fmla="*/ 2926342 w 11269336"/>
              <a:gd name="connsiteY189" fmla="*/ 2104155 h 2323145"/>
              <a:gd name="connsiteX190" fmla="*/ 2918608 w 11269336"/>
              <a:gd name="connsiteY190" fmla="*/ 2104215 h 2323145"/>
              <a:gd name="connsiteX191" fmla="*/ 2918475 w 11269336"/>
              <a:gd name="connsiteY191" fmla="*/ 2103937 h 2323145"/>
              <a:gd name="connsiteX192" fmla="*/ 2910360 w 11269336"/>
              <a:gd name="connsiteY192" fmla="*/ 2103444 h 2323145"/>
              <a:gd name="connsiteX193" fmla="*/ 2904507 w 11269336"/>
              <a:gd name="connsiteY193" fmla="*/ 2104326 h 2323145"/>
              <a:gd name="connsiteX194" fmla="*/ 2889503 w 11269336"/>
              <a:gd name="connsiteY194" fmla="*/ 2104443 h 2323145"/>
              <a:gd name="connsiteX195" fmla="*/ 2884480 w 11269336"/>
              <a:gd name="connsiteY195" fmla="*/ 2102626 h 2323145"/>
              <a:gd name="connsiteX196" fmla="*/ 2882689 w 11269336"/>
              <a:gd name="connsiteY196" fmla="*/ 2099228 h 2323145"/>
              <a:gd name="connsiteX197" fmla="*/ 2881291 w 11269336"/>
              <a:gd name="connsiteY197" fmla="*/ 2099618 h 2323145"/>
              <a:gd name="connsiteX198" fmla="*/ 2853979 w 11269336"/>
              <a:gd name="connsiteY198" fmla="*/ 2090388 h 2323145"/>
              <a:gd name="connsiteX199" fmla="*/ 2791790 w 11269336"/>
              <a:gd name="connsiteY199" fmla="*/ 2080332 h 2323145"/>
              <a:gd name="connsiteX200" fmla="*/ 2755844 w 11269336"/>
              <a:gd name="connsiteY200" fmla="*/ 2078874 h 2323145"/>
              <a:gd name="connsiteX201" fmla="*/ 2657742 w 11269336"/>
              <a:gd name="connsiteY201" fmla="*/ 2070179 h 2323145"/>
              <a:gd name="connsiteX202" fmla="*/ 2559549 w 11269336"/>
              <a:gd name="connsiteY202" fmla="*/ 2057873 h 2323145"/>
              <a:gd name="connsiteX203" fmla="*/ 2512054 w 11269336"/>
              <a:gd name="connsiteY203" fmla="*/ 2031671 h 2323145"/>
              <a:gd name="connsiteX204" fmla="*/ 2506437 w 11269336"/>
              <a:gd name="connsiteY204" fmla="*/ 2030918 h 2323145"/>
              <a:gd name="connsiteX205" fmla="*/ 2491752 w 11269336"/>
              <a:gd name="connsiteY205" fmla="*/ 2033906 h 2323145"/>
              <a:gd name="connsiteX206" fmla="*/ 2486338 w 11269336"/>
              <a:gd name="connsiteY206" fmla="*/ 2035862 h 2323145"/>
              <a:gd name="connsiteX207" fmla="*/ 2478186 w 11269336"/>
              <a:gd name="connsiteY207" fmla="*/ 2036953 h 2323145"/>
              <a:gd name="connsiteX208" fmla="*/ 2477950 w 11269336"/>
              <a:gd name="connsiteY208" fmla="*/ 2036715 h 2323145"/>
              <a:gd name="connsiteX209" fmla="*/ 2470381 w 11269336"/>
              <a:gd name="connsiteY209" fmla="*/ 2038256 h 2323145"/>
              <a:gd name="connsiteX210" fmla="*/ 2433781 w 11269336"/>
              <a:gd name="connsiteY210" fmla="*/ 2049140 h 2323145"/>
              <a:gd name="connsiteX211" fmla="*/ 2381172 w 11269336"/>
              <a:gd name="connsiteY211" fmla="*/ 2030645 h 2323145"/>
              <a:gd name="connsiteX212" fmla="*/ 2360198 w 11269336"/>
              <a:gd name="connsiteY212" fmla="*/ 2029059 h 2323145"/>
              <a:gd name="connsiteX213" fmla="*/ 2348815 w 11269336"/>
              <a:gd name="connsiteY213" fmla="*/ 2026798 h 2323145"/>
              <a:gd name="connsiteX214" fmla="*/ 2347988 w 11269336"/>
              <a:gd name="connsiteY214" fmla="*/ 2025745 h 2323145"/>
              <a:gd name="connsiteX215" fmla="*/ 2312920 w 11269336"/>
              <a:gd name="connsiteY215" fmla="*/ 2036311 h 2323145"/>
              <a:gd name="connsiteX216" fmla="*/ 2307986 w 11269336"/>
              <a:gd name="connsiteY216" fmla="*/ 2035583 h 2323145"/>
              <a:gd name="connsiteX217" fmla="*/ 2285481 w 11269336"/>
              <a:gd name="connsiteY217" fmla="*/ 2045197 h 2323145"/>
              <a:gd name="connsiteX218" fmla="*/ 2273666 w 11269336"/>
              <a:gd name="connsiteY218" fmla="*/ 2048710 h 2323145"/>
              <a:gd name="connsiteX219" fmla="*/ 2270719 w 11269336"/>
              <a:gd name="connsiteY219" fmla="*/ 2052702 h 2323145"/>
              <a:gd name="connsiteX220" fmla="*/ 2253080 w 11269336"/>
              <a:gd name="connsiteY220" fmla="*/ 2056363 h 2323145"/>
              <a:gd name="connsiteX221" fmla="*/ 2250906 w 11269336"/>
              <a:gd name="connsiteY221" fmla="*/ 2055654 h 2323145"/>
              <a:gd name="connsiteX222" fmla="*/ 2236905 w 11269336"/>
              <a:gd name="connsiteY222" fmla="*/ 2062882 h 2323145"/>
              <a:gd name="connsiteX223" fmla="*/ 2225830 w 11269336"/>
              <a:gd name="connsiteY223" fmla="*/ 2074027 h 2323145"/>
              <a:gd name="connsiteX224" fmla="*/ 2073776 w 11269336"/>
              <a:gd name="connsiteY224" fmla="*/ 2089244 h 2323145"/>
              <a:gd name="connsiteX225" fmla="*/ 1948256 w 11269336"/>
              <a:gd name="connsiteY225" fmla="*/ 2146616 h 2323145"/>
              <a:gd name="connsiteX226" fmla="*/ 1865582 w 11269336"/>
              <a:gd name="connsiteY226" fmla="*/ 2153738 h 2323145"/>
              <a:gd name="connsiteX227" fmla="*/ 1835210 w 11269336"/>
              <a:gd name="connsiteY227" fmla="*/ 2134244 h 2323145"/>
              <a:gd name="connsiteX228" fmla="*/ 1632661 w 11269336"/>
              <a:gd name="connsiteY228" fmla="*/ 2173882 h 2323145"/>
              <a:gd name="connsiteX229" fmla="*/ 1579590 w 11269336"/>
              <a:gd name="connsiteY229" fmla="*/ 2173680 h 2323145"/>
              <a:gd name="connsiteX230" fmla="*/ 1535601 w 11269336"/>
              <a:gd name="connsiteY230" fmla="*/ 2194590 h 2323145"/>
              <a:gd name="connsiteX231" fmla="*/ 1515594 w 11269336"/>
              <a:gd name="connsiteY231" fmla="*/ 2189622 h 2323145"/>
              <a:gd name="connsiteX232" fmla="*/ 1512113 w 11269336"/>
              <a:gd name="connsiteY232" fmla="*/ 2188534 h 2323145"/>
              <a:gd name="connsiteX233" fmla="*/ 1498838 w 11269336"/>
              <a:gd name="connsiteY233" fmla="*/ 2189213 h 2323145"/>
              <a:gd name="connsiteX234" fmla="*/ 1494279 w 11269336"/>
              <a:gd name="connsiteY234" fmla="*/ 2183112 h 2323145"/>
              <a:gd name="connsiteX235" fmla="*/ 1473714 w 11269336"/>
              <a:gd name="connsiteY235" fmla="*/ 2179625 h 2323145"/>
              <a:gd name="connsiteX236" fmla="*/ 1449503 w 11269336"/>
              <a:gd name="connsiteY236" fmla="*/ 2182633 h 2323145"/>
              <a:gd name="connsiteX237" fmla="*/ 1266687 w 11269336"/>
              <a:gd name="connsiteY237" fmla="*/ 2212688 h 2323145"/>
              <a:gd name="connsiteX238" fmla="*/ 1239614 w 11269336"/>
              <a:gd name="connsiteY238" fmla="*/ 2209727 h 2323145"/>
              <a:gd name="connsiteX239" fmla="*/ 1202436 w 11269336"/>
              <a:gd name="connsiteY239" fmla="*/ 2209817 h 2323145"/>
              <a:gd name="connsiteX240" fmla="*/ 1136097 w 11269336"/>
              <a:gd name="connsiteY240" fmla="*/ 2205112 h 2323145"/>
              <a:gd name="connsiteX241" fmla="*/ 988232 w 11269336"/>
              <a:gd name="connsiteY241" fmla="*/ 2235635 h 2323145"/>
              <a:gd name="connsiteX242" fmla="*/ 981959 w 11269336"/>
              <a:gd name="connsiteY242" fmla="*/ 2231607 h 2323145"/>
              <a:gd name="connsiteX243" fmla="*/ 938600 w 11269336"/>
              <a:gd name="connsiteY243" fmla="*/ 2238113 h 2323145"/>
              <a:gd name="connsiteX244" fmla="*/ 791788 w 11269336"/>
              <a:gd name="connsiteY244" fmla="*/ 2293224 h 2323145"/>
              <a:gd name="connsiteX245" fmla="*/ 706914 w 11269336"/>
              <a:gd name="connsiteY245" fmla="*/ 2305046 h 2323145"/>
              <a:gd name="connsiteX246" fmla="*/ 675971 w 11269336"/>
              <a:gd name="connsiteY246" fmla="*/ 2304030 h 2323145"/>
              <a:gd name="connsiteX247" fmla="*/ 624180 w 11269336"/>
              <a:gd name="connsiteY247" fmla="*/ 2302650 h 2323145"/>
              <a:gd name="connsiteX248" fmla="*/ 583453 w 11269336"/>
              <a:gd name="connsiteY248" fmla="*/ 2288788 h 2323145"/>
              <a:gd name="connsiteX249" fmla="*/ 540946 w 11269336"/>
              <a:gd name="connsiteY249" fmla="*/ 2292721 h 2323145"/>
              <a:gd name="connsiteX250" fmla="*/ 533680 w 11269336"/>
              <a:gd name="connsiteY250" fmla="*/ 2310233 h 2323145"/>
              <a:gd name="connsiteX251" fmla="*/ 487366 w 11269336"/>
              <a:gd name="connsiteY251" fmla="*/ 2309053 h 2323145"/>
              <a:gd name="connsiteX252" fmla="*/ 416820 w 11269336"/>
              <a:gd name="connsiteY252" fmla="*/ 2305443 h 2323145"/>
              <a:gd name="connsiteX253" fmla="*/ 376805 w 11269336"/>
              <a:gd name="connsiteY253" fmla="*/ 2307647 h 2323145"/>
              <a:gd name="connsiteX254" fmla="*/ 266777 w 11269336"/>
              <a:gd name="connsiteY254" fmla="*/ 2309012 h 2323145"/>
              <a:gd name="connsiteX255" fmla="*/ 156013 w 11269336"/>
              <a:gd name="connsiteY255" fmla="*/ 2306832 h 2323145"/>
              <a:gd name="connsiteX256" fmla="*/ 87258 w 11269336"/>
              <a:gd name="connsiteY256" fmla="*/ 2285511 h 2323145"/>
              <a:gd name="connsiteX257" fmla="*/ 23798 w 11269336"/>
              <a:gd name="connsiteY257" fmla="*/ 2281822 h 2323145"/>
              <a:gd name="connsiteX258" fmla="*/ 0 w 11269336"/>
              <a:gd name="connsiteY258" fmla="*/ 2285369 h 2323145"/>
              <a:gd name="connsiteX259" fmla="*/ 0 w 11269336"/>
              <a:gd name="connsiteY259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20601 w 11269336"/>
              <a:gd name="connsiteY146" fmla="*/ 2205158 h 2323145"/>
              <a:gd name="connsiteX147" fmla="*/ 4405765 w 11269336"/>
              <a:gd name="connsiteY147" fmla="*/ 2199902 h 2323145"/>
              <a:gd name="connsiteX148" fmla="*/ 4401354 w 11269336"/>
              <a:gd name="connsiteY148" fmla="*/ 2194745 h 2323145"/>
              <a:gd name="connsiteX149" fmla="*/ 4383151 w 11269336"/>
              <a:gd name="connsiteY149" fmla="*/ 2201140 h 2323145"/>
              <a:gd name="connsiteX150" fmla="*/ 4366646 w 11269336"/>
              <a:gd name="connsiteY150" fmla="*/ 2198564 h 2323145"/>
              <a:gd name="connsiteX151" fmla="*/ 4354009 w 11269336"/>
              <a:gd name="connsiteY151" fmla="*/ 2204984 h 2323145"/>
              <a:gd name="connsiteX152" fmla="*/ 4348284 w 11269336"/>
              <a:gd name="connsiteY152" fmla="*/ 2205270 h 2323145"/>
              <a:gd name="connsiteX153" fmla="*/ 4333906 w 11269336"/>
              <a:gd name="connsiteY153" fmla="*/ 2205251 h 2323145"/>
              <a:gd name="connsiteX154" fmla="*/ 4308819 w 11269336"/>
              <a:gd name="connsiteY154" fmla="*/ 2203822 h 2323145"/>
              <a:gd name="connsiteX155" fmla="*/ 4301210 w 11269336"/>
              <a:gd name="connsiteY155" fmla="*/ 2204456 h 2323145"/>
              <a:gd name="connsiteX156" fmla="*/ 4283095 w 11269336"/>
              <a:gd name="connsiteY156" fmla="*/ 2198177 h 2323145"/>
              <a:gd name="connsiteX157" fmla="*/ 4250119 w 11269336"/>
              <a:gd name="connsiteY157" fmla="*/ 2196342 h 2323145"/>
              <a:gd name="connsiteX158" fmla="*/ 4189203 w 11269336"/>
              <a:gd name="connsiteY158" fmla="*/ 2178994 h 2323145"/>
              <a:gd name="connsiteX159" fmla="*/ 4154035 w 11269336"/>
              <a:gd name="connsiteY159" fmla="*/ 2171950 h 2323145"/>
              <a:gd name="connsiteX160" fmla="*/ 4129569 w 11269336"/>
              <a:gd name="connsiteY160" fmla="*/ 2163850 h 2323145"/>
              <a:gd name="connsiteX161" fmla="*/ 4061250 w 11269336"/>
              <a:gd name="connsiteY161" fmla="*/ 2159236 h 2323145"/>
              <a:gd name="connsiteX162" fmla="*/ 3945480 w 11269336"/>
              <a:gd name="connsiteY162" fmla="*/ 2158279 h 2323145"/>
              <a:gd name="connsiteX163" fmla="*/ 3921468 w 11269336"/>
              <a:gd name="connsiteY163" fmla="*/ 2156588 h 2323145"/>
              <a:gd name="connsiteX164" fmla="*/ 3903348 w 11269336"/>
              <a:gd name="connsiteY164" fmla="*/ 2149220 h 2323145"/>
              <a:gd name="connsiteX165" fmla="*/ 3901342 w 11269336"/>
              <a:gd name="connsiteY165" fmla="*/ 2142355 h 2323145"/>
              <a:gd name="connsiteX166" fmla="*/ 3888539 w 11269336"/>
              <a:gd name="connsiteY166" fmla="*/ 2140476 h 2323145"/>
              <a:gd name="connsiteX167" fmla="*/ 3885662 w 11269336"/>
              <a:gd name="connsiteY167" fmla="*/ 2138740 h 2323145"/>
              <a:gd name="connsiteX168" fmla="*/ 3868627 w 11269336"/>
              <a:gd name="connsiteY168" fmla="*/ 2130023 h 2323145"/>
              <a:gd name="connsiteX169" fmla="*/ 3819177 w 11269336"/>
              <a:gd name="connsiteY169" fmla="*/ 2142111 h 2323145"/>
              <a:gd name="connsiteX170" fmla="*/ 3769100 w 11269336"/>
              <a:gd name="connsiteY170" fmla="*/ 2131731 h 2323145"/>
              <a:gd name="connsiteX171" fmla="*/ 3562752 w 11269336"/>
              <a:gd name="connsiteY171" fmla="*/ 2131785 h 2323145"/>
              <a:gd name="connsiteX172" fmla="*/ 3541402 w 11269336"/>
              <a:gd name="connsiteY172" fmla="*/ 2106821 h 2323145"/>
              <a:gd name="connsiteX173" fmla="*/ 3365341 w 11269336"/>
              <a:gd name="connsiteY173" fmla="*/ 2077638 h 2323145"/>
              <a:gd name="connsiteX174" fmla="*/ 3170922 w 11269336"/>
              <a:gd name="connsiteY174" fmla="*/ 2115957 h 2323145"/>
              <a:gd name="connsiteX175" fmla="*/ 3156256 w 11269336"/>
              <a:gd name="connsiteY175" fmla="*/ 2124773 h 2323145"/>
              <a:gd name="connsiteX176" fmla="*/ 3140298 w 11269336"/>
              <a:gd name="connsiteY176" fmla="*/ 2129182 h 2323145"/>
              <a:gd name="connsiteX177" fmla="*/ 3138514 w 11269336"/>
              <a:gd name="connsiteY177" fmla="*/ 2128069 h 2323145"/>
              <a:gd name="connsiteX178" fmla="*/ 3120467 w 11269336"/>
              <a:gd name="connsiteY178" fmla="*/ 2128281 h 2323145"/>
              <a:gd name="connsiteX179" fmla="*/ 3116175 w 11269336"/>
              <a:gd name="connsiteY179" fmla="*/ 2131633 h 2323145"/>
              <a:gd name="connsiteX180" fmla="*/ 3103685 w 11269336"/>
              <a:gd name="connsiteY180" fmla="*/ 2132814 h 2323145"/>
              <a:gd name="connsiteX181" fmla="*/ 3078794 w 11269336"/>
              <a:gd name="connsiteY181" fmla="*/ 2137935 h 2323145"/>
              <a:gd name="connsiteX182" fmla="*/ 3074407 w 11269336"/>
              <a:gd name="connsiteY182" fmla="*/ 2136274 h 2323145"/>
              <a:gd name="connsiteX183" fmla="*/ 3037285 w 11269336"/>
              <a:gd name="connsiteY183" fmla="*/ 2139919 h 2323145"/>
              <a:gd name="connsiteX184" fmla="*/ 3036901 w 11269336"/>
              <a:gd name="connsiteY184" fmla="*/ 2138726 h 2323145"/>
              <a:gd name="connsiteX185" fmla="*/ 3026996 w 11269336"/>
              <a:gd name="connsiteY185" fmla="*/ 2134322 h 2323145"/>
              <a:gd name="connsiteX186" fmla="*/ 3007772 w 11269336"/>
              <a:gd name="connsiteY186" fmla="*/ 2128742 h 2323145"/>
              <a:gd name="connsiteX187" fmla="*/ 2965030 w 11269336"/>
              <a:gd name="connsiteY187" fmla="*/ 2100494 h 2323145"/>
              <a:gd name="connsiteX188" fmla="*/ 2926342 w 11269336"/>
              <a:gd name="connsiteY188" fmla="*/ 2104155 h 2323145"/>
              <a:gd name="connsiteX189" fmla="*/ 2918608 w 11269336"/>
              <a:gd name="connsiteY189" fmla="*/ 2104215 h 2323145"/>
              <a:gd name="connsiteX190" fmla="*/ 2918475 w 11269336"/>
              <a:gd name="connsiteY190" fmla="*/ 2103937 h 2323145"/>
              <a:gd name="connsiteX191" fmla="*/ 2910360 w 11269336"/>
              <a:gd name="connsiteY191" fmla="*/ 2103444 h 2323145"/>
              <a:gd name="connsiteX192" fmla="*/ 2904507 w 11269336"/>
              <a:gd name="connsiteY192" fmla="*/ 2104326 h 2323145"/>
              <a:gd name="connsiteX193" fmla="*/ 2889503 w 11269336"/>
              <a:gd name="connsiteY193" fmla="*/ 2104443 h 2323145"/>
              <a:gd name="connsiteX194" fmla="*/ 2884480 w 11269336"/>
              <a:gd name="connsiteY194" fmla="*/ 2102626 h 2323145"/>
              <a:gd name="connsiteX195" fmla="*/ 2882689 w 11269336"/>
              <a:gd name="connsiteY195" fmla="*/ 2099228 h 2323145"/>
              <a:gd name="connsiteX196" fmla="*/ 2881291 w 11269336"/>
              <a:gd name="connsiteY196" fmla="*/ 2099618 h 2323145"/>
              <a:gd name="connsiteX197" fmla="*/ 2853979 w 11269336"/>
              <a:gd name="connsiteY197" fmla="*/ 2090388 h 2323145"/>
              <a:gd name="connsiteX198" fmla="*/ 2791790 w 11269336"/>
              <a:gd name="connsiteY198" fmla="*/ 2080332 h 2323145"/>
              <a:gd name="connsiteX199" fmla="*/ 2755844 w 11269336"/>
              <a:gd name="connsiteY199" fmla="*/ 2078874 h 2323145"/>
              <a:gd name="connsiteX200" fmla="*/ 2657742 w 11269336"/>
              <a:gd name="connsiteY200" fmla="*/ 2070179 h 2323145"/>
              <a:gd name="connsiteX201" fmla="*/ 2559549 w 11269336"/>
              <a:gd name="connsiteY201" fmla="*/ 2057873 h 2323145"/>
              <a:gd name="connsiteX202" fmla="*/ 2512054 w 11269336"/>
              <a:gd name="connsiteY202" fmla="*/ 2031671 h 2323145"/>
              <a:gd name="connsiteX203" fmla="*/ 2506437 w 11269336"/>
              <a:gd name="connsiteY203" fmla="*/ 2030918 h 2323145"/>
              <a:gd name="connsiteX204" fmla="*/ 2491752 w 11269336"/>
              <a:gd name="connsiteY204" fmla="*/ 2033906 h 2323145"/>
              <a:gd name="connsiteX205" fmla="*/ 2486338 w 11269336"/>
              <a:gd name="connsiteY205" fmla="*/ 2035862 h 2323145"/>
              <a:gd name="connsiteX206" fmla="*/ 2478186 w 11269336"/>
              <a:gd name="connsiteY206" fmla="*/ 2036953 h 2323145"/>
              <a:gd name="connsiteX207" fmla="*/ 2477950 w 11269336"/>
              <a:gd name="connsiteY207" fmla="*/ 2036715 h 2323145"/>
              <a:gd name="connsiteX208" fmla="*/ 2470381 w 11269336"/>
              <a:gd name="connsiteY208" fmla="*/ 2038256 h 2323145"/>
              <a:gd name="connsiteX209" fmla="*/ 2433781 w 11269336"/>
              <a:gd name="connsiteY209" fmla="*/ 2049140 h 2323145"/>
              <a:gd name="connsiteX210" fmla="*/ 2381172 w 11269336"/>
              <a:gd name="connsiteY210" fmla="*/ 2030645 h 2323145"/>
              <a:gd name="connsiteX211" fmla="*/ 2360198 w 11269336"/>
              <a:gd name="connsiteY211" fmla="*/ 2029059 h 2323145"/>
              <a:gd name="connsiteX212" fmla="*/ 2348815 w 11269336"/>
              <a:gd name="connsiteY212" fmla="*/ 2026798 h 2323145"/>
              <a:gd name="connsiteX213" fmla="*/ 2347988 w 11269336"/>
              <a:gd name="connsiteY213" fmla="*/ 2025745 h 2323145"/>
              <a:gd name="connsiteX214" fmla="*/ 2312920 w 11269336"/>
              <a:gd name="connsiteY214" fmla="*/ 2036311 h 2323145"/>
              <a:gd name="connsiteX215" fmla="*/ 2307986 w 11269336"/>
              <a:gd name="connsiteY215" fmla="*/ 2035583 h 2323145"/>
              <a:gd name="connsiteX216" fmla="*/ 2285481 w 11269336"/>
              <a:gd name="connsiteY216" fmla="*/ 2045197 h 2323145"/>
              <a:gd name="connsiteX217" fmla="*/ 2273666 w 11269336"/>
              <a:gd name="connsiteY217" fmla="*/ 2048710 h 2323145"/>
              <a:gd name="connsiteX218" fmla="*/ 2270719 w 11269336"/>
              <a:gd name="connsiteY218" fmla="*/ 2052702 h 2323145"/>
              <a:gd name="connsiteX219" fmla="*/ 2253080 w 11269336"/>
              <a:gd name="connsiteY219" fmla="*/ 2056363 h 2323145"/>
              <a:gd name="connsiteX220" fmla="*/ 2250906 w 11269336"/>
              <a:gd name="connsiteY220" fmla="*/ 2055654 h 2323145"/>
              <a:gd name="connsiteX221" fmla="*/ 2236905 w 11269336"/>
              <a:gd name="connsiteY221" fmla="*/ 2062882 h 2323145"/>
              <a:gd name="connsiteX222" fmla="*/ 2225830 w 11269336"/>
              <a:gd name="connsiteY222" fmla="*/ 2074027 h 2323145"/>
              <a:gd name="connsiteX223" fmla="*/ 2073776 w 11269336"/>
              <a:gd name="connsiteY223" fmla="*/ 2089244 h 2323145"/>
              <a:gd name="connsiteX224" fmla="*/ 1948256 w 11269336"/>
              <a:gd name="connsiteY224" fmla="*/ 2146616 h 2323145"/>
              <a:gd name="connsiteX225" fmla="*/ 1865582 w 11269336"/>
              <a:gd name="connsiteY225" fmla="*/ 2153738 h 2323145"/>
              <a:gd name="connsiteX226" fmla="*/ 1835210 w 11269336"/>
              <a:gd name="connsiteY226" fmla="*/ 2134244 h 2323145"/>
              <a:gd name="connsiteX227" fmla="*/ 1632661 w 11269336"/>
              <a:gd name="connsiteY227" fmla="*/ 2173882 h 2323145"/>
              <a:gd name="connsiteX228" fmla="*/ 1579590 w 11269336"/>
              <a:gd name="connsiteY228" fmla="*/ 2173680 h 2323145"/>
              <a:gd name="connsiteX229" fmla="*/ 1535601 w 11269336"/>
              <a:gd name="connsiteY229" fmla="*/ 2194590 h 2323145"/>
              <a:gd name="connsiteX230" fmla="*/ 1515594 w 11269336"/>
              <a:gd name="connsiteY230" fmla="*/ 2189622 h 2323145"/>
              <a:gd name="connsiteX231" fmla="*/ 1512113 w 11269336"/>
              <a:gd name="connsiteY231" fmla="*/ 2188534 h 2323145"/>
              <a:gd name="connsiteX232" fmla="*/ 1498838 w 11269336"/>
              <a:gd name="connsiteY232" fmla="*/ 2189213 h 2323145"/>
              <a:gd name="connsiteX233" fmla="*/ 1494279 w 11269336"/>
              <a:gd name="connsiteY233" fmla="*/ 2183112 h 2323145"/>
              <a:gd name="connsiteX234" fmla="*/ 1473714 w 11269336"/>
              <a:gd name="connsiteY234" fmla="*/ 2179625 h 2323145"/>
              <a:gd name="connsiteX235" fmla="*/ 1449503 w 11269336"/>
              <a:gd name="connsiteY235" fmla="*/ 2182633 h 2323145"/>
              <a:gd name="connsiteX236" fmla="*/ 1266687 w 11269336"/>
              <a:gd name="connsiteY236" fmla="*/ 2212688 h 2323145"/>
              <a:gd name="connsiteX237" fmla="*/ 1239614 w 11269336"/>
              <a:gd name="connsiteY237" fmla="*/ 2209727 h 2323145"/>
              <a:gd name="connsiteX238" fmla="*/ 1202436 w 11269336"/>
              <a:gd name="connsiteY238" fmla="*/ 2209817 h 2323145"/>
              <a:gd name="connsiteX239" fmla="*/ 1136097 w 11269336"/>
              <a:gd name="connsiteY239" fmla="*/ 2205112 h 2323145"/>
              <a:gd name="connsiteX240" fmla="*/ 988232 w 11269336"/>
              <a:gd name="connsiteY240" fmla="*/ 2235635 h 2323145"/>
              <a:gd name="connsiteX241" fmla="*/ 981959 w 11269336"/>
              <a:gd name="connsiteY241" fmla="*/ 2231607 h 2323145"/>
              <a:gd name="connsiteX242" fmla="*/ 938600 w 11269336"/>
              <a:gd name="connsiteY242" fmla="*/ 2238113 h 2323145"/>
              <a:gd name="connsiteX243" fmla="*/ 791788 w 11269336"/>
              <a:gd name="connsiteY243" fmla="*/ 2293224 h 2323145"/>
              <a:gd name="connsiteX244" fmla="*/ 706914 w 11269336"/>
              <a:gd name="connsiteY244" fmla="*/ 2305046 h 2323145"/>
              <a:gd name="connsiteX245" fmla="*/ 675971 w 11269336"/>
              <a:gd name="connsiteY245" fmla="*/ 2304030 h 2323145"/>
              <a:gd name="connsiteX246" fmla="*/ 624180 w 11269336"/>
              <a:gd name="connsiteY246" fmla="*/ 2302650 h 2323145"/>
              <a:gd name="connsiteX247" fmla="*/ 583453 w 11269336"/>
              <a:gd name="connsiteY247" fmla="*/ 2288788 h 2323145"/>
              <a:gd name="connsiteX248" fmla="*/ 540946 w 11269336"/>
              <a:gd name="connsiteY248" fmla="*/ 2292721 h 2323145"/>
              <a:gd name="connsiteX249" fmla="*/ 533680 w 11269336"/>
              <a:gd name="connsiteY249" fmla="*/ 2310233 h 2323145"/>
              <a:gd name="connsiteX250" fmla="*/ 487366 w 11269336"/>
              <a:gd name="connsiteY250" fmla="*/ 2309053 h 2323145"/>
              <a:gd name="connsiteX251" fmla="*/ 416820 w 11269336"/>
              <a:gd name="connsiteY251" fmla="*/ 2305443 h 2323145"/>
              <a:gd name="connsiteX252" fmla="*/ 376805 w 11269336"/>
              <a:gd name="connsiteY252" fmla="*/ 2307647 h 2323145"/>
              <a:gd name="connsiteX253" fmla="*/ 266777 w 11269336"/>
              <a:gd name="connsiteY253" fmla="*/ 2309012 h 2323145"/>
              <a:gd name="connsiteX254" fmla="*/ 156013 w 11269336"/>
              <a:gd name="connsiteY254" fmla="*/ 2306832 h 2323145"/>
              <a:gd name="connsiteX255" fmla="*/ 87258 w 11269336"/>
              <a:gd name="connsiteY255" fmla="*/ 2285511 h 2323145"/>
              <a:gd name="connsiteX256" fmla="*/ 23798 w 11269336"/>
              <a:gd name="connsiteY256" fmla="*/ 2281822 h 2323145"/>
              <a:gd name="connsiteX257" fmla="*/ 0 w 11269336"/>
              <a:gd name="connsiteY257" fmla="*/ 2285369 h 2323145"/>
              <a:gd name="connsiteX258" fmla="*/ 0 w 11269336"/>
              <a:gd name="connsiteY258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20601 w 11269336"/>
              <a:gd name="connsiteY146" fmla="*/ 2205158 h 2323145"/>
              <a:gd name="connsiteX147" fmla="*/ 4405765 w 11269336"/>
              <a:gd name="connsiteY147" fmla="*/ 2199902 h 2323145"/>
              <a:gd name="connsiteX148" fmla="*/ 4401354 w 11269336"/>
              <a:gd name="connsiteY148" fmla="*/ 2194745 h 2323145"/>
              <a:gd name="connsiteX149" fmla="*/ 4366646 w 11269336"/>
              <a:gd name="connsiteY149" fmla="*/ 2198564 h 2323145"/>
              <a:gd name="connsiteX150" fmla="*/ 4354009 w 11269336"/>
              <a:gd name="connsiteY150" fmla="*/ 2204984 h 2323145"/>
              <a:gd name="connsiteX151" fmla="*/ 4348284 w 11269336"/>
              <a:gd name="connsiteY151" fmla="*/ 2205270 h 2323145"/>
              <a:gd name="connsiteX152" fmla="*/ 4333906 w 11269336"/>
              <a:gd name="connsiteY152" fmla="*/ 2205251 h 2323145"/>
              <a:gd name="connsiteX153" fmla="*/ 4308819 w 11269336"/>
              <a:gd name="connsiteY153" fmla="*/ 2203822 h 2323145"/>
              <a:gd name="connsiteX154" fmla="*/ 4301210 w 11269336"/>
              <a:gd name="connsiteY154" fmla="*/ 2204456 h 2323145"/>
              <a:gd name="connsiteX155" fmla="*/ 4283095 w 11269336"/>
              <a:gd name="connsiteY155" fmla="*/ 2198177 h 2323145"/>
              <a:gd name="connsiteX156" fmla="*/ 4250119 w 11269336"/>
              <a:gd name="connsiteY156" fmla="*/ 2196342 h 2323145"/>
              <a:gd name="connsiteX157" fmla="*/ 4189203 w 11269336"/>
              <a:gd name="connsiteY157" fmla="*/ 2178994 h 2323145"/>
              <a:gd name="connsiteX158" fmla="*/ 4154035 w 11269336"/>
              <a:gd name="connsiteY158" fmla="*/ 2171950 h 2323145"/>
              <a:gd name="connsiteX159" fmla="*/ 4129569 w 11269336"/>
              <a:gd name="connsiteY159" fmla="*/ 2163850 h 2323145"/>
              <a:gd name="connsiteX160" fmla="*/ 4061250 w 11269336"/>
              <a:gd name="connsiteY160" fmla="*/ 2159236 h 2323145"/>
              <a:gd name="connsiteX161" fmla="*/ 3945480 w 11269336"/>
              <a:gd name="connsiteY161" fmla="*/ 2158279 h 2323145"/>
              <a:gd name="connsiteX162" fmla="*/ 3921468 w 11269336"/>
              <a:gd name="connsiteY162" fmla="*/ 2156588 h 2323145"/>
              <a:gd name="connsiteX163" fmla="*/ 3903348 w 11269336"/>
              <a:gd name="connsiteY163" fmla="*/ 2149220 h 2323145"/>
              <a:gd name="connsiteX164" fmla="*/ 3901342 w 11269336"/>
              <a:gd name="connsiteY164" fmla="*/ 2142355 h 2323145"/>
              <a:gd name="connsiteX165" fmla="*/ 3888539 w 11269336"/>
              <a:gd name="connsiteY165" fmla="*/ 2140476 h 2323145"/>
              <a:gd name="connsiteX166" fmla="*/ 3885662 w 11269336"/>
              <a:gd name="connsiteY166" fmla="*/ 2138740 h 2323145"/>
              <a:gd name="connsiteX167" fmla="*/ 3868627 w 11269336"/>
              <a:gd name="connsiteY167" fmla="*/ 2130023 h 2323145"/>
              <a:gd name="connsiteX168" fmla="*/ 3819177 w 11269336"/>
              <a:gd name="connsiteY168" fmla="*/ 2142111 h 2323145"/>
              <a:gd name="connsiteX169" fmla="*/ 3769100 w 11269336"/>
              <a:gd name="connsiteY169" fmla="*/ 2131731 h 2323145"/>
              <a:gd name="connsiteX170" fmla="*/ 3562752 w 11269336"/>
              <a:gd name="connsiteY170" fmla="*/ 2131785 h 2323145"/>
              <a:gd name="connsiteX171" fmla="*/ 3541402 w 11269336"/>
              <a:gd name="connsiteY171" fmla="*/ 2106821 h 2323145"/>
              <a:gd name="connsiteX172" fmla="*/ 3365341 w 11269336"/>
              <a:gd name="connsiteY172" fmla="*/ 2077638 h 2323145"/>
              <a:gd name="connsiteX173" fmla="*/ 3170922 w 11269336"/>
              <a:gd name="connsiteY173" fmla="*/ 2115957 h 2323145"/>
              <a:gd name="connsiteX174" fmla="*/ 3156256 w 11269336"/>
              <a:gd name="connsiteY174" fmla="*/ 2124773 h 2323145"/>
              <a:gd name="connsiteX175" fmla="*/ 3140298 w 11269336"/>
              <a:gd name="connsiteY175" fmla="*/ 2129182 h 2323145"/>
              <a:gd name="connsiteX176" fmla="*/ 3138514 w 11269336"/>
              <a:gd name="connsiteY176" fmla="*/ 2128069 h 2323145"/>
              <a:gd name="connsiteX177" fmla="*/ 3120467 w 11269336"/>
              <a:gd name="connsiteY177" fmla="*/ 2128281 h 2323145"/>
              <a:gd name="connsiteX178" fmla="*/ 3116175 w 11269336"/>
              <a:gd name="connsiteY178" fmla="*/ 2131633 h 2323145"/>
              <a:gd name="connsiteX179" fmla="*/ 3103685 w 11269336"/>
              <a:gd name="connsiteY179" fmla="*/ 2132814 h 2323145"/>
              <a:gd name="connsiteX180" fmla="*/ 3078794 w 11269336"/>
              <a:gd name="connsiteY180" fmla="*/ 2137935 h 2323145"/>
              <a:gd name="connsiteX181" fmla="*/ 3074407 w 11269336"/>
              <a:gd name="connsiteY181" fmla="*/ 2136274 h 2323145"/>
              <a:gd name="connsiteX182" fmla="*/ 3037285 w 11269336"/>
              <a:gd name="connsiteY182" fmla="*/ 2139919 h 2323145"/>
              <a:gd name="connsiteX183" fmla="*/ 3036901 w 11269336"/>
              <a:gd name="connsiteY183" fmla="*/ 2138726 h 2323145"/>
              <a:gd name="connsiteX184" fmla="*/ 3026996 w 11269336"/>
              <a:gd name="connsiteY184" fmla="*/ 2134322 h 2323145"/>
              <a:gd name="connsiteX185" fmla="*/ 3007772 w 11269336"/>
              <a:gd name="connsiteY185" fmla="*/ 2128742 h 2323145"/>
              <a:gd name="connsiteX186" fmla="*/ 2965030 w 11269336"/>
              <a:gd name="connsiteY186" fmla="*/ 2100494 h 2323145"/>
              <a:gd name="connsiteX187" fmla="*/ 2926342 w 11269336"/>
              <a:gd name="connsiteY187" fmla="*/ 2104155 h 2323145"/>
              <a:gd name="connsiteX188" fmla="*/ 2918608 w 11269336"/>
              <a:gd name="connsiteY188" fmla="*/ 2104215 h 2323145"/>
              <a:gd name="connsiteX189" fmla="*/ 2918475 w 11269336"/>
              <a:gd name="connsiteY189" fmla="*/ 2103937 h 2323145"/>
              <a:gd name="connsiteX190" fmla="*/ 2910360 w 11269336"/>
              <a:gd name="connsiteY190" fmla="*/ 2103444 h 2323145"/>
              <a:gd name="connsiteX191" fmla="*/ 2904507 w 11269336"/>
              <a:gd name="connsiteY191" fmla="*/ 2104326 h 2323145"/>
              <a:gd name="connsiteX192" fmla="*/ 2889503 w 11269336"/>
              <a:gd name="connsiteY192" fmla="*/ 2104443 h 2323145"/>
              <a:gd name="connsiteX193" fmla="*/ 2884480 w 11269336"/>
              <a:gd name="connsiteY193" fmla="*/ 2102626 h 2323145"/>
              <a:gd name="connsiteX194" fmla="*/ 2882689 w 11269336"/>
              <a:gd name="connsiteY194" fmla="*/ 2099228 h 2323145"/>
              <a:gd name="connsiteX195" fmla="*/ 2881291 w 11269336"/>
              <a:gd name="connsiteY195" fmla="*/ 2099618 h 2323145"/>
              <a:gd name="connsiteX196" fmla="*/ 2853979 w 11269336"/>
              <a:gd name="connsiteY196" fmla="*/ 2090388 h 2323145"/>
              <a:gd name="connsiteX197" fmla="*/ 2791790 w 11269336"/>
              <a:gd name="connsiteY197" fmla="*/ 2080332 h 2323145"/>
              <a:gd name="connsiteX198" fmla="*/ 2755844 w 11269336"/>
              <a:gd name="connsiteY198" fmla="*/ 2078874 h 2323145"/>
              <a:gd name="connsiteX199" fmla="*/ 2657742 w 11269336"/>
              <a:gd name="connsiteY199" fmla="*/ 2070179 h 2323145"/>
              <a:gd name="connsiteX200" fmla="*/ 2559549 w 11269336"/>
              <a:gd name="connsiteY200" fmla="*/ 2057873 h 2323145"/>
              <a:gd name="connsiteX201" fmla="*/ 2512054 w 11269336"/>
              <a:gd name="connsiteY201" fmla="*/ 2031671 h 2323145"/>
              <a:gd name="connsiteX202" fmla="*/ 2506437 w 11269336"/>
              <a:gd name="connsiteY202" fmla="*/ 2030918 h 2323145"/>
              <a:gd name="connsiteX203" fmla="*/ 2491752 w 11269336"/>
              <a:gd name="connsiteY203" fmla="*/ 2033906 h 2323145"/>
              <a:gd name="connsiteX204" fmla="*/ 2486338 w 11269336"/>
              <a:gd name="connsiteY204" fmla="*/ 2035862 h 2323145"/>
              <a:gd name="connsiteX205" fmla="*/ 2478186 w 11269336"/>
              <a:gd name="connsiteY205" fmla="*/ 2036953 h 2323145"/>
              <a:gd name="connsiteX206" fmla="*/ 2477950 w 11269336"/>
              <a:gd name="connsiteY206" fmla="*/ 2036715 h 2323145"/>
              <a:gd name="connsiteX207" fmla="*/ 2470381 w 11269336"/>
              <a:gd name="connsiteY207" fmla="*/ 2038256 h 2323145"/>
              <a:gd name="connsiteX208" fmla="*/ 2433781 w 11269336"/>
              <a:gd name="connsiteY208" fmla="*/ 2049140 h 2323145"/>
              <a:gd name="connsiteX209" fmla="*/ 2381172 w 11269336"/>
              <a:gd name="connsiteY209" fmla="*/ 2030645 h 2323145"/>
              <a:gd name="connsiteX210" fmla="*/ 2360198 w 11269336"/>
              <a:gd name="connsiteY210" fmla="*/ 2029059 h 2323145"/>
              <a:gd name="connsiteX211" fmla="*/ 2348815 w 11269336"/>
              <a:gd name="connsiteY211" fmla="*/ 2026798 h 2323145"/>
              <a:gd name="connsiteX212" fmla="*/ 2347988 w 11269336"/>
              <a:gd name="connsiteY212" fmla="*/ 2025745 h 2323145"/>
              <a:gd name="connsiteX213" fmla="*/ 2312920 w 11269336"/>
              <a:gd name="connsiteY213" fmla="*/ 2036311 h 2323145"/>
              <a:gd name="connsiteX214" fmla="*/ 2307986 w 11269336"/>
              <a:gd name="connsiteY214" fmla="*/ 2035583 h 2323145"/>
              <a:gd name="connsiteX215" fmla="*/ 2285481 w 11269336"/>
              <a:gd name="connsiteY215" fmla="*/ 2045197 h 2323145"/>
              <a:gd name="connsiteX216" fmla="*/ 2273666 w 11269336"/>
              <a:gd name="connsiteY216" fmla="*/ 2048710 h 2323145"/>
              <a:gd name="connsiteX217" fmla="*/ 2270719 w 11269336"/>
              <a:gd name="connsiteY217" fmla="*/ 2052702 h 2323145"/>
              <a:gd name="connsiteX218" fmla="*/ 2253080 w 11269336"/>
              <a:gd name="connsiteY218" fmla="*/ 2056363 h 2323145"/>
              <a:gd name="connsiteX219" fmla="*/ 2250906 w 11269336"/>
              <a:gd name="connsiteY219" fmla="*/ 2055654 h 2323145"/>
              <a:gd name="connsiteX220" fmla="*/ 2236905 w 11269336"/>
              <a:gd name="connsiteY220" fmla="*/ 2062882 h 2323145"/>
              <a:gd name="connsiteX221" fmla="*/ 2225830 w 11269336"/>
              <a:gd name="connsiteY221" fmla="*/ 2074027 h 2323145"/>
              <a:gd name="connsiteX222" fmla="*/ 2073776 w 11269336"/>
              <a:gd name="connsiteY222" fmla="*/ 2089244 h 2323145"/>
              <a:gd name="connsiteX223" fmla="*/ 1948256 w 11269336"/>
              <a:gd name="connsiteY223" fmla="*/ 2146616 h 2323145"/>
              <a:gd name="connsiteX224" fmla="*/ 1865582 w 11269336"/>
              <a:gd name="connsiteY224" fmla="*/ 2153738 h 2323145"/>
              <a:gd name="connsiteX225" fmla="*/ 1835210 w 11269336"/>
              <a:gd name="connsiteY225" fmla="*/ 2134244 h 2323145"/>
              <a:gd name="connsiteX226" fmla="*/ 1632661 w 11269336"/>
              <a:gd name="connsiteY226" fmla="*/ 2173882 h 2323145"/>
              <a:gd name="connsiteX227" fmla="*/ 1579590 w 11269336"/>
              <a:gd name="connsiteY227" fmla="*/ 2173680 h 2323145"/>
              <a:gd name="connsiteX228" fmla="*/ 1535601 w 11269336"/>
              <a:gd name="connsiteY228" fmla="*/ 2194590 h 2323145"/>
              <a:gd name="connsiteX229" fmla="*/ 1515594 w 11269336"/>
              <a:gd name="connsiteY229" fmla="*/ 2189622 h 2323145"/>
              <a:gd name="connsiteX230" fmla="*/ 1512113 w 11269336"/>
              <a:gd name="connsiteY230" fmla="*/ 2188534 h 2323145"/>
              <a:gd name="connsiteX231" fmla="*/ 1498838 w 11269336"/>
              <a:gd name="connsiteY231" fmla="*/ 2189213 h 2323145"/>
              <a:gd name="connsiteX232" fmla="*/ 1494279 w 11269336"/>
              <a:gd name="connsiteY232" fmla="*/ 2183112 h 2323145"/>
              <a:gd name="connsiteX233" fmla="*/ 1473714 w 11269336"/>
              <a:gd name="connsiteY233" fmla="*/ 2179625 h 2323145"/>
              <a:gd name="connsiteX234" fmla="*/ 1449503 w 11269336"/>
              <a:gd name="connsiteY234" fmla="*/ 2182633 h 2323145"/>
              <a:gd name="connsiteX235" fmla="*/ 1266687 w 11269336"/>
              <a:gd name="connsiteY235" fmla="*/ 2212688 h 2323145"/>
              <a:gd name="connsiteX236" fmla="*/ 1239614 w 11269336"/>
              <a:gd name="connsiteY236" fmla="*/ 2209727 h 2323145"/>
              <a:gd name="connsiteX237" fmla="*/ 1202436 w 11269336"/>
              <a:gd name="connsiteY237" fmla="*/ 2209817 h 2323145"/>
              <a:gd name="connsiteX238" fmla="*/ 1136097 w 11269336"/>
              <a:gd name="connsiteY238" fmla="*/ 2205112 h 2323145"/>
              <a:gd name="connsiteX239" fmla="*/ 988232 w 11269336"/>
              <a:gd name="connsiteY239" fmla="*/ 2235635 h 2323145"/>
              <a:gd name="connsiteX240" fmla="*/ 981959 w 11269336"/>
              <a:gd name="connsiteY240" fmla="*/ 2231607 h 2323145"/>
              <a:gd name="connsiteX241" fmla="*/ 938600 w 11269336"/>
              <a:gd name="connsiteY241" fmla="*/ 2238113 h 2323145"/>
              <a:gd name="connsiteX242" fmla="*/ 791788 w 11269336"/>
              <a:gd name="connsiteY242" fmla="*/ 2293224 h 2323145"/>
              <a:gd name="connsiteX243" fmla="*/ 706914 w 11269336"/>
              <a:gd name="connsiteY243" fmla="*/ 2305046 h 2323145"/>
              <a:gd name="connsiteX244" fmla="*/ 675971 w 11269336"/>
              <a:gd name="connsiteY244" fmla="*/ 2304030 h 2323145"/>
              <a:gd name="connsiteX245" fmla="*/ 624180 w 11269336"/>
              <a:gd name="connsiteY245" fmla="*/ 2302650 h 2323145"/>
              <a:gd name="connsiteX246" fmla="*/ 583453 w 11269336"/>
              <a:gd name="connsiteY246" fmla="*/ 2288788 h 2323145"/>
              <a:gd name="connsiteX247" fmla="*/ 540946 w 11269336"/>
              <a:gd name="connsiteY247" fmla="*/ 2292721 h 2323145"/>
              <a:gd name="connsiteX248" fmla="*/ 533680 w 11269336"/>
              <a:gd name="connsiteY248" fmla="*/ 2310233 h 2323145"/>
              <a:gd name="connsiteX249" fmla="*/ 487366 w 11269336"/>
              <a:gd name="connsiteY249" fmla="*/ 2309053 h 2323145"/>
              <a:gd name="connsiteX250" fmla="*/ 416820 w 11269336"/>
              <a:gd name="connsiteY250" fmla="*/ 2305443 h 2323145"/>
              <a:gd name="connsiteX251" fmla="*/ 376805 w 11269336"/>
              <a:gd name="connsiteY251" fmla="*/ 2307647 h 2323145"/>
              <a:gd name="connsiteX252" fmla="*/ 266777 w 11269336"/>
              <a:gd name="connsiteY252" fmla="*/ 2309012 h 2323145"/>
              <a:gd name="connsiteX253" fmla="*/ 156013 w 11269336"/>
              <a:gd name="connsiteY253" fmla="*/ 2306832 h 2323145"/>
              <a:gd name="connsiteX254" fmla="*/ 87258 w 11269336"/>
              <a:gd name="connsiteY254" fmla="*/ 2285511 h 2323145"/>
              <a:gd name="connsiteX255" fmla="*/ 23798 w 11269336"/>
              <a:gd name="connsiteY255" fmla="*/ 2281822 h 2323145"/>
              <a:gd name="connsiteX256" fmla="*/ 0 w 11269336"/>
              <a:gd name="connsiteY256" fmla="*/ 2285369 h 2323145"/>
              <a:gd name="connsiteX257" fmla="*/ 0 w 11269336"/>
              <a:gd name="connsiteY257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33312 w 11269336"/>
              <a:gd name="connsiteY145" fmla="*/ 2199004 h 2323145"/>
              <a:gd name="connsiteX146" fmla="*/ 4405765 w 11269336"/>
              <a:gd name="connsiteY146" fmla="*/ 2199902 h 2323145"/>
              <a:gd name="connsiteX147" fmla="*/ 4401354 w 11269336"/>
              <a:gd name="connsiteY147" fmla="*/ 2194745 h 2323145"/>
              <a:gd name="connsiteX148" fmla="*/ 4366646 w 11269336"/>
              <a:gd name="connsiteY148" fmla="*/ 2198564 h 2323145"/>
              <a:gd name="connsiteX149" fmla="*/ 4354009 w 11269336"/>
              <a:gd name="connsiteY149" fmla="*/ 2204984 h 2323145"/>
              <a:gd name="connsiteX150" fmla="*/ 4348284 w 11269336"/>
              <a:gd name="connsiteY150" fmla="*/ 2205270 h 2323145"/>
              <a:gd name="connsiteX151" fmla="*/ 4333906 w 11269336"/>
              <a:gd name="connsiteY151" fmla="*/ 2205251 h 2323145"/>
              <a:gd name="connsiteX152" fmla="*/ 4308819 w 11269336"/>
              <a:gd name="connsiteY152" fmla="*/ 2203822 h 2323145"/>
              <a:gd name="connsiteX153" fmla="*/ 4301210 w 11269336"/>
              <a:gd name="connsiteY153" fmla="*/ 2204456 h 2323145"/>
              <a:gd name="connsiteX154" fmla="*/ 4283095 w 11269336"/>
              <a:gd name="connsiteY154" fmla="*/ 2198177 h 2323145"/>
              <a:gd name="connsiteX155" fmla="*/ 4250119 w 11269336"/>
              <a:gd name="connsiteY155" fmla="*/ 2196342 h 2323145"/>
              <a:gd name="connsiteX156" fmla="*/ 4189203 w 11269336"/>
              <a:gd name="connsiteY156" fmla="*/ 2178994 h 2323145"/>
              <a:gd name="connsiteX157" fmla="*/ 4154035 w 11269336"/>
              <a:gd name="connsiteY157" fmla="*/ 2171950 h 2323145"/>
              <a:gd name="connsiteX158" fmla="*/ 4129569 w 11269336"/>
              <a:gd name="connsiteY158" fmla="*/ 2163850 h 2323145"/>
              <a:gd name="connsiteX159" fmla="*/ 4061250 w 11269336"/>
              <a:gd name="connsiteY159" fmla="*/ 2159236 h 2323145"/>
              <a:gd name="connsiteX160" fmla="*/ 3945480 w 11269336"/>
              <a:gd name="connsiteY160" fmla="*/ 2158279 h 2323145"/>
              <a:gd name="connsiteX161" fmla="*/ 3921468 w 11269336"/>
              <a:gd name="connsiteY161" fmla="*/ 2156588 h 2323145"/>
              <a:gd name="connsiteX162" fmla="*/ 3903348 w 11269336"/>
              <a:gd name="connsiteY162" fmla="*/ 2149220 h 2323145"/>
              <a:gd name="connsiteX163" fmla="*/ 3901342 w 11269336"/>
              <a:gd name="connsiteY163" fmla="*/ 2142355 h 2323145"/>
              <a:gd name="connsiteX164" fmla="*/ 3888539 w 11269336"/>
              <a:gd name="connsiteY164" fmla="*/ 2140476 h 2323145"/>
              <a:gd name="connsiteX165" fmla="*/ 3885662 w 11269336"/>
              <a:gd name="connsiteY165" fmla="*/ 2138740 h 2323145"/>
              <a:gd name="connsiteX166" fmla="*/ 3868627 w 11269336"/>
              <a:gd name="connsiteY166" fmla="*/ 2130023 h 2323145"/>
              <a:gd name="connsiteX167" fmla="*/ 3819177 w 11269336"/>
              <a:gd name="connsiteY167" fmla="*/ 2142111 h 2323145"/>
              <a:gd name="connsiteX168" fmla="*/ 3769100 w 11269336"/>
              <a:gd name="connsiteY168" fmla="*/ 2131731 h 2323145"/>
              <a:gd name="connsiteX169" fmla="*/ 3562752 w 11269336"/>
              <a:gd name="connsiteY169" fmla="*/ 2131785 h 2323145"/>
              <a:gd name="connsiteX170" fmla="*/ 3541402 w 11269336"/>
              <a:gd name="connsiteY170" fmla="*/ 2106821 h 2323145"/>
              <a:gd name="connsiteX171" fmla="*/ 3365341 w 11269336"/>
              <a:gd name="connsiteY171" fmla="*/ 2077638 h 2323145"/>
              <a:gd name="connsiteX172" fmla="*/ 3170922 w 11269336"/>
              <a:gd name="connsiteY172" fmla="*/ 2115957 h 2323145"/>
              <a:gd name="connsiteX173" fmla="*/ 3156256 w 11269336"/>
              <a:gd name="connsiteY173" fmla="*/ 2124773 h 2323145"/>
              <a:gd name="connsiteX174" fmla="*/ 3140298 w 11269336"/>
              <a:gd name="connsiteY174" fmla="*/ 2129182 h 2323145"/>
              <a:gd name="connsiteX175" fmla="*/ 3138514 w 11269336"/>
              <a:gd name="connsiteY175" fmla="*/ 2128069 h 2323145"/>
              <a:gd name="connsiteX176" fmla="*/ 3120467 w 11269336"/>
              <a:gd name="connsiteY176" fmla="*/ 2128281 h 2323145"/>
              <a:gd name="connsiteX177" fmla="*/ 3116175 w 11269336"/>
              <a:gd name="connsiteY177" fmla="*/ 2131633 h 2323145"/>
              <a:gd name="connsiteX178" fmla="*/ 3103685 w 11269336"/>
              <a:gd name="connsiteY178" fmla="*/ 2132814 h 2323145"/>
              <a:gd name="connsiteX179" fmla="*/ 3078794 w 11269336"/>
              <a:gd name="connsiteY179" fmla="*/ 2137935 h 2323145"/>
              <a:gd name="connsiteX180" fmla="*/ 3074407 w 11269336"/>
              <a:gd name="connsiteY180" fmla="*/ 2136274 h 2323145"/>
              <a:gd name="connsiteX181" fmla="*/ 3037285 w 11269336"/>
              <a:gd name="connsiteY181" fmla="*/ 2139919 h 2323145"/>
              <a:gd name="connsiteX182" fmla="*/ 3036901 w 11269336"/>
              <a:gd name="connsiteY182" fmla="*/ 2138726 h 2323145"/>
              <a:gd name="connsiteX183" fmla="*/ 3026996 w 11269336"/>
              <a:gd name="connsiteY183" fmla="*/ 2134322 h 2323145"/>
              <a:gd name="connsiteX184" fmla="*/ 3007772 w 11269336"/>
              <a:gd name="connsiteY184" fmla="*/ 2128742 h 2323145"/>
              <a:gd name="connsiteX185" fmla="*/ 2965030 w 11269336"/>
              <a:gd name="connsiteY185" fmla="*/ 2100494 h 2323145"/>
              <a:gd name="connsiteX186" fmla="*/ 2926342 w 11269336"/>
              <a:gd name="connsiteY186" fmla="*/ 2104155 h 2323145"/>
              <a:gd name="connsiteX187" fmla="*/ 2918608 w 11269336"/>
              <a:gd name="connsiteY187" fmla="*/ 2104215 h 2323145"/>
              <a:gd name="connsiteX188" fmla="*/ 2918475 w 11269336"/>
              <a:gd name="connsiteY188" fmla="*/ 2103937 h 2323145"/>
              <a:gd name="connsiteX189" fmla="*/ 2910360 w 11269336"/>
              <a:gd name="connsiteY189" fmla="*/ 2103444 h 2323145"/>
              <a:gd name="connsiteX190" fmla="*/ 2904507 w 11269336"/>
              <a:gd name="connsiteY190" fmla="*/ 2104326 h 2323145"/>
              <a:gd name="connsiteX191" fmla="*/ 2889503 w 11269336"/>
              <a:gd name="connsiteY191" fmla="*/ 2104443 h 2323145"/>
              <a:gd name="connsiteX192" fmla="*/ 2884480 w 11269336"/>
              <a:gd name="connsiteY192" fmla="*/ 2102626 h 2323145"/>
              <a:gd name="connsiteX193" fmla="*/ 2882689 w 11269336"/>
              <a:gd name="connsiteY193" fmla="*/ 2099228 h 2323145"/>
              <a:gd name="connsiteX194" fmla="*/ 2881291 w 11269336"/>
              <a:gd name="connsiteY194" fmla="*/ 2099618 h 2323145"/>
              <a:gd name="connsiteX195" fmla="*/ 2853979 w 11269336"/>
              <a:gd name="connsiteY195" fmla="*/ 2090388 h 2323145"/>
              <a:gd name="connsiteX196" fmla="*/ 2791790 w 11269336"/>
              <a:gd name="connsiteY196" fmla="*/ 2080332 h 2323145"/>
              <a:gd name="connsiteX197" fmla="*/ 2755844 w 11269336"/>
              <a:gd name="connsiteY197" fmla="*/ 2078874 h 2323145"/>
              <a:gd name="connsiteX198" fmla="*/ 2657742 w 11269336"/>
              <a:gd name="connsiteY198" fmla="*/ 2070179 h 2323145"/>
              <a:gd name="connsiteX199" fmla="*/ 2559549 w 11269336"/>
              <a:gd name="connsiteY199" fmla="*/ 2057873 h 2323145"/>
              <a:gd name="connsiteX200" fmla="*/ 2512054 w 11269336"/>
              <a:gd name="connsiteY200" fmla="*/ 2031671 h 2323145"/>
              <a:gd name="connsiteX201" fmla="*/ 2506437 w 11269336"/>
              <a:gd name="connsiteY201" fmla="*/ 2030918 h 2323145"/>
              <a:gd name="connsiteX202" fmla="*/ 2491752 w 11269336"/>
              <a:gd name="connsiteY202" fmla="*/ 2033906 h 2323145"/>
              <a:gd name="connsiteX203" fmla="*/ 2486338 w 11269336"/>
              <a:gd name="connsiteY203" fmla="*/ 2035862 h 2323145"/>
              <a:gd name="connsiteX204" fmla="*/ 2478186 w 11269336"/>
              <a:gd name="connsiteY204" fmla="*/ 2036953 h 2323145"/>
              <a:gd name="connsiteX205" fmla="*/ 2477950 w 11269336"/>
              <a:gd name="connsiteY205" fmla="*/ 2036715 h 2323145"/>
              <a:gd name="connsiteX206" fmla="*/ 2470381 w 11269336"/>
              <a:gd name="connsiteY206" fmla="*/ 2038256 h 2323145"/>
              <a:gd name="connsiteX207" fmla="*/ 2433781 w 11269336"/>
              <a:gd name="connsiteY207" fmla="*/ 2049140 h 2323145"/>
              <a:gd name="connsiteX208" fmla="*/ 2381172 w 11269336"/>
              <a:gd name="connsiteY208" fmla="*/ 2030645 h 2323145"/>
              <a:gd name="connsiteX209" fmla="*/ 2360198 w 11269336"/>
              <a:gd name="connsiteY209" fmla="*/ 2029059 h 2323145"/>
              <a:gd name="connsiteX210" fmla="*/ 2348815 w 11269336"/>
              <a:gd name="connsiteY210" fmla="*/ 2026798 h 2323145"/>
              <a:gd name="connsiteX211" fmla="*/ 2347988 w 11269336"/>
              <a:gd name="connsiteY211" fmla="*/ 2025745 h 2323145"/>
              <a:gd name="connsiteX212" fmla="*/ 2312920 w 11269336"/>
              <a:gd name="connsiteY212" fmla="*/ 2036311 h 2323145"/>
              <a:gd name="connsiteX213" fmla="*/ 2307986 w 11269336"/>
              <a:gd name="connsiteY213" fmla="*/ 2035583 h 2323145"/>
              <a:gd name="connsiteX214" fmla="*/ 2285481 w 11269336"/>
              <a:gd name="connsiteY214" fmla="*/ 2045197 h 2323145"/>
              <a:gd name="connsiteX215" fmla="*/ 2273666 w 11269336"/>
              <a:gd name="connsiteY215" fmla="*/ 2048710 h 2323145"/>
              <a:gd name="connsiteX216" fmla="*/ 2270719 w 11269336"/>
              <a:gd name="connsiteY216" fmla="*/ 2052702 h 2323145"/>
              <a:gd name="connsiteX217" fmla="*/ 2253080 w 11269336"/>
              <a:gd name="connsiteY217" fmla="*/ 2056363 h 2323145"/>
              <a:gd name="connsiteX218" fmla="*/ 2250906 w 11269336"/>
              <a:gd name="connsiteY218" fmla="*/ 2055654 h 2323145"/>
              <a:gd name="connsiteX219" fmla="*/ 2236905 w 11269336"/>
              <a:gd name="connsiteY219" fmla="*/ 2062882 h 2323145"/>
              <a:gd name="connsiteX220" fmla="*/ 2225830 w 11269336"/>
              <a:gd name="connsiteY220" fmla="*/ 2074027 h 2323145"/>
              <a:gd name="connsiteX221" fmla="*/ 2073776 w 11269336"/>
              <a:gd name="connsiteY221" fmla="*/ 2089244 h 2323145"/>
              <a:gd name="connsiteX222" fmla="*/ 1948256 w 11269336"/>
              <a:gd name="connsiteY222" fmla="*/ 2146616 h 2323145"/>
              <a:gd name="connsiteX223" fmla="*/ 1865582 w 11269336"/>
              <a:gd name="connsiteY223" fmla="*/ 2153738 h 2323145"/>
              <a:gd name="connsiteX224" fmla="*/ 1835210 w 11269336"/>
              <a:gd name="connsiteY224" fmla="*/ 2134244 h 2323145"/>
              <a:gd name="connsiteX225" fmla="*/ 1632661 w 11269336"/>
              <a:gd name="connsiteY225" fmla="*/ 2173882 h 2323145"/>
              <a:gd name="connsiteX226" fmla="*/ 1579590 w 11269336"/>
              <a:gd name="connsiteY226" fmla="*/ 2173680 h 2323145"/>
              <a:gd name="connsiteX227" fmla="*/ 1535601 w 11269336"/>
              <a:gd name="connsiteY227" fmla="*/ 2194590 h 2323145"/>
              <a:gd name="connsiteX228" fmla="*/ 1515594 w 11269336"/>
              <a:gd name="connsiteY228" fmla="*/ 2189622 h 2323145"/>
              <a:gd name="connsiteX229" fmla="*/ 1512113 w 11269336"/>
              <a:gd name="connsiteY229" fmla="*/ 2188534 h 2323145"/>
              <a:gd name="connsiteX230" fmla="*/ 1498838 w 11269336"/>
              <a:gd name="connsiteY230" fmla="*/ 2189213 h 2323145"/>
              <a:gd name="connsiteX231" fmla="*/ 1494279 w 11269336"/>
              <a:gd name="connsiteY231" fmla="*/ 2183112 h 2323145"/>
              <a:gd name="connsiteX232" fmla="*/ 1473714 w 11269336"/>
              <a:gd name="connsiteY232" fmla="*/ 2179625 h 2323145"/>
              <a:gd name="connsiteX233" fmla="*/ 1449503 w 11269336"/>
              <a:gd name="connsiteY233" fmla="*/ 2182633 h 2323145"/>
              <a:gd name="connsiteX234" fmla="*/ 1266687 w 11269336"/>
              <a:gd name="connsiteY234" fmla="*/ 2212688 h 2323145"/>
              <a:gd name="connsiteX235" fmla="*/ 1239614 w 11269336"/>
              <a:gd name="connsiteY235" fmla="*/ 2209727 h 2323145"/>
              <a:gd name="connsiteX236" fmla="*/ 1202436 w 11269336"/>
              <a:gd name="connsiteY236" fmla="*/ 2209817 h 2323145"/>
              <a:gd name="connsiteX237" fmla="*/ 1136097 w 11269336"/>
              <a:gd name="connsiteY237" fmla="*/ 2205112 h 2323145"/>
              <a:gd name="connsiteX238" fmla="*/ 988232 w 11269336"/>
              <a:gd name="connsiteY238" fmla="*/ 2235635 h 2323145"/>
              <a:gd name="connsiteX239" fmla="*/ 981959 w 11269336"/>
              <a:gd name="connsiteY239" fmla="*/ 2231607 h 2323145"/>
              <a:gd name="connsiteX240" fmla="*/ 938600 w 11269336"/>
              <a:gd name="connsiteY240" fmla="*/ 2238113 h 2323145"/>
              <a:gd name="connsiteX241" fmla="*/ 791788 w 11269336"/>
              <a:gd name="connsiteY241" fmla="*/ 2293224 h 2323145"/>
              <a:gd name="connsiteX242" fmla="*/ 706914 w 11269336"/>
              <a:gd name="connsiteY242" fmla="*/ 2305046 h 2323145"/>
              <a:gd name="connsiteX243" fmla="*/ 675971 w 11269336"/>
              <a:gd name="connsiteY243" fmla="*/ 2304030 h 2323145"/>
              <a:gd name="connsiteX244" fmla="*/ 624180 w 11269336"/>
              <a:gd name="connsiteY244" fmla="*/ 2302650 h 2323145"/>
              <a:gd name="connsiteX245" fmla="*/ 583453 w 11269336"/>
              <a:gd name="connsiteY245" fmla="*/ 2288788 h 2323145"/>
              <a:gd name="connsiteX246" fmla="*/ 540946 w 11269336"/>
              <a:gd name="connsiteY246" fmla="*/ 2292721 h 2323145"/>
              <a:gd name="connsiteX247" fmla="*/ 533680 w 11269336"/>
              <a:gd name="connsiteY247" fmla="*/ 2310233 h 2323145"/>
              <a:gd name="connsiteX248" fmla="*/ 487366 w 11269336"/>
              <a:gd name="connsiteY248" fmla="*/ 2309053 h 2323145"/>
              <a:gd name="connsiteX249" fmla="*/ 416820 w 11269336"/>
              <a:gd name="connsiteY249" fmla="*/ 2305443 h 2323145"/>
              <a:gd name="connsiteX250" fmla="*/ 376805 w 11269336"/>
              <a:gd name="connsiteY250" fmla="*/ 2307647 h 2323145"/>
              <a:gd name="connsiteX251" fmla="*/ 266777 w 11269336"/>
              <a:gd name="connsiteY251" fmla="*/ 2309012 h 2323145"/>
              <a:gd name="connsiteX252" fmla="*/ 156013 w 11269336"/>
              <a:gd name="connsiteY252" fmla="*/ 2306832 h 2323145"/>
              <a:gd name="connsiteX253" fmla="*/ 87258 w 11269336"/>
              <a:gd name="connsiteY253" fmla="*/ 2285511 h 2323145"/>
              <a:gd name="connsiteX254" fmla="*/ 23798 w 11269336"/>
              <a:gd name="connsiteY254" fmla="*/ 2281822 h 2323145"/>
              <a:gd name="connsiteX255" fmla="*/ 0 w 11269336"/>
              <a:gd name="connsiteY255" fmla="*/ 2285369 h 2323145"/>
              <a:gd name="connsiteX256" fmla="*/ 0 w 11269336"/>
              <a:gd name="connsiteY256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59937 w 11269336"/>
              <a:gd name="connsiteY144" fmla="*/ 2195182 h 2323145"/>
              <a:gd name="connsiteX145" fmla="*/ 4405765 w 11269336"/>
              <a:gd name="connsiteY145" fmla="*/ 2199902 h 2323145"/>
              <a:gd name="connsiteX146" fmla="*/ 4401354 w 11269336"/>
              <a:gd name="connsiteY146" fmla="*/ 2194745 h 2323145"/>
              <a:gd name="connsiteX147" fmla="*/ 4366646 w 11269336"/>
              <a:gd name="connsiteY147" fmla="*/ 2198564 h 2323145"/>
              <a:gd name="connsiteX148" fmla="*/ 4354009 w 11269336"/>
              <a:gd name="connsiteY148" fmla="*/ 2204984 h 2323145"/>
              <a:gd name="connsiteX149" fmla="*/ 4348284 w 11269336"/>
              <a:gd name="connsiteY149" fmla="*/ 2205270 h 2323145"/>
              <a:gd name="connsiteX150" fmla="*/ 4333906 w 11269336"/>
              <a:gd name="connsiteY150" fmla="*/ 2205251 h 2323145"/>
              <a:gd name="connsiteX151" fmla="*/ 4308819 w 11269336"/>
              <a:gd name="connsiteY151" fmla="*/ 2203822 h 2323145"/>
              <a:gd name="connsiteX152" fmla="*/ 4301210 w 11269336"/>
              <a:gd name="connsiteY152" fmla="*/ 2204456 h 2323145"/>
              <a:gd name="connsiteX153" fmla="*/ 4283095 w 11269336"/>
              <a:gd name="connsiteY153" fmla="*/ 2198177 h 2323145"/>
              <a:gd name="connsiteX154" fmla="*/ 4250119 w 11269336"/>
              <a:gd name="connsiteY154" fmla="*/ 2196342 h 2323145"/>
              <a:gd name="connsiteX155" fmla="*/ 4189203 w 11269336"/>
              <a:gd name="connsiteY155" fmla="*/ 2178994 h 2323145"/>
              <a:gd name="connsiteX156" fmla="*/ 4154035 w 11269336"/>
              <a:gd name="connsiteY156" fmla="*/ 2171950 h 2323145"/>
              <a:gd name="connsiteX157" fmla="*/ 4129569 w 11269336"/>
              <a:gd name="connsiteY157" fmla="*/ 2163850 h 2323145"/>
              <a:gd name="connsiteX158" fmla="*/ 4061250 w 11269336"/>
              <a:gd name="connsiteY158" fmla="*/ 2159236 h 2323145"/>
              <a:gd name="connsiteX159" fmla="*/ 3945480 w 11269336"/>
              <a:gd name="connsiteY159" fmla="*/ 2158279 h 2323145"/>
              <a:gd name="connsiteX160" fmla="*/ 3921468 w 11269336"/>
              <a:gd name="connsiteY160" fmla="*/ 2156588 h 2323145"/>
              <a:gd name="connsiteX161" fmla="*/ 3903348 w 11269336"/>
              <a:gd name="connsiteY161" fmla="*/ 2149220 h 2323145"/>
              <a:gd name="connsiteX162" fmla="*/ 3901342 w 11269336"/>
              <a:gd name="connsiteY162" fmla="*/ 2142355 h 2323145"/>
              <a:gd name="connsiteX163" fmla="*/ 3888539 w 11269336"/>
              <a:gd name="connsiteY163" fmla="*/ 2140476 h 2323145"/>
              <a:gd name="connsiteX164" fmla="*/ 3885662 w 11269336"/>
              <a:gd name="connsiteY164" fmla="*/ 2138740 h 2323145"/>
              <a:gd name="connsiteX165" fmla="*/ 3868627 w 11269336"/>
              <a:gd name="connsiteY165" fmla="*/ 2130023 h 2323145"/>
              <a:gd name="connsiteX166" fmla="*/ 3819177 w 11269336"/>
              <a:gd name="connsiteY166" fmla="*/ 2142111 h 2323145"/>
              <a:gd name="connsiteX167" fmla="*/ 3769100 w 11269336"/>
              <a:gd name="connsiteY167" fmla="*/ 2131731 h 2323145"/>
              <a:gd name="connsiteX168" fmla="*/ 3562752 w 11269336"/>
              <a:gd name="connsiteY168" fmla="*/ 2131785 h 2323145"/>
              <a:gd name="connsiteX169" fmla="*/ 3541402 w 11269336"/>
              <a:gd name="connsiteY169" fmla="*/ 2106821 h 2323145"/>
              <a:gd name="connsiteX170" fmla="*/ 3365341 w 11269336"/>
              <a:gd name="connsiteY170" fmla="*/ 2077638 h 2323145"/>
              <a:gd name="connsiteX171" fmla="*/ 3170922 w 11269336"/>
              <a:gd name="connsiteY171" fmla="*/ 2115957 h 2323145"/>
              <a:gd name="connsiteX172" fmla="*/ 3156256 w 11269336"/>
              <a:gd name="connsiteY172" fmla="*/ 2124773 h 2323145"/>
              <a:gd name="connsiteX173" fmla="*/ 3140298 w 11269336"/>
              <a:gd name="connsiteY173" fmla="*/ 2129182 h 2323145"/>
              <a:gd name="connsiteX174" fmla="*/ 3138514 w 11269336"/>
              <a:gd name="connsiteY174" fmla="*/ 2128069 h 2323145"/>
              <a:gd name="connsiteX175" fmla="*/ 3120467 w 11269336"/>
              <a:gd name="connsiteY175" fmla="*/ 2128281 h 2323145"/>
              <a:gd name="connsiteX176" fmla="*/ 3116175 w 11269336"/>
              <a:gd name="connsiteY176" fmla="*/ 2131633 h 2323145"/>
              <a:gd name="connsiteX177" fmla="*/ 3103685 w 11269336"/>
              <a:gd name="connsiteY177" fmla="*/ 2132814 h 2323145"/>
              <a:gd name="connsiteX178" fmla="*/ 3078794 w 11269336"/>
              <a:gd name="connsiteY178" fmla="*/ 2137935 h 2323145"/>
              <a:gd name="connsiteX179" fmla="*/ 3074407 w 11269336"/>
              <a:gd name="connsiteY179" fmla="*/ 2136274 h 2323145"/>
              <a:gd name="connsiteX180" fmla="*/ 3037285 w 11269336"/>
              <a:gd name="connsiteY180" fmla="*/ 2139919 h 2323145"/>
              <a:gd name="connsiteX181" fmla="*/ 3036901 w 11269336"/>
              <a:gd name="connsiteY181" fmla="*/ 2138726 h 2323145"/>
              <a:gd name="connsiteX182" fmla="*/ 3026996 w 11269336"/>
              <a:gd name="connsiteY182" fmla="*/ 2134322 h 2323145"/>
              <a:gd name="connsiteX183" fmla="*/ 3007772 w 11269336"/>
              <a:gd name="connsiteY183" fmla="*/ 2128742 h 2323145"/>
              <a:gd name="connsiteX184" fmla="*/ 2965030 w 11269336"/>
              <a:gd name="connsiteY184" fmla="*/ 2100494 h 2323145"/>
              <a:gd name="connsiteX185" fmla="*/ 2926342 w 11269336"/>
              <a:gd name="connsiteY185" fmla="*/ 2104155 h 2323145"/>
              <a:gd name="connsiteX186" fmla="*/ 2918608 w 11269336"/>
              <a:gd name="connsiteY186" fmla="*/ 2104215 h 2323145"/>
              <a:gd name="connsiteX187" fmla="*/ 2918475 w 11269336"/>
              <a:gd name="connsiteY187" fmla="*/ 2103937 h 2323145"/>
              <a:gd name="connsiteX188" fmla="*/ 2910360 w 11269336"/>
              <a:gd name="connsiteY188" fmla="*/ 2103444 h 2323145"/>
              <a:gd name="connsiteX189" fmla="*/ 2904507 w 11269336"/>
              <a:gd name="connsiteY189" fmla="*/ 2104326 h 2323145"/>
              <a:gd name="connsiteX190" fmla="*/ 2889503 w 11269336"/>
              <a:gd name="connsiteY190" fmla="*/ 2104443 h 2323145"/>
              <a:gd name="connsiteX191" fmla="*/ 2884480 w 11269336"/>
              <a:gd name="connsiteY191" fmla="*/ 2102626 h 2323145"/>
              <a:gd name="connsiteX192" fmla="*/ 2882689 w 11269336"/>
              <a:gd name="connsiteY192" fmla="*/ 2099228 h 2323145"/>
              <a:gd name="connsiteX193" fmla="*/ 2881291 w 11269336"/>
              <a:gd name="connsiteY193" fmla="*/ 2099618 h 2323145"/>
              <a:gd name="connsiteX194" fmla="*/ 2853979 w 11269336"/>
              <a:gd name="connsiteY194" fmla="*/ 2090388 h 2323145"/>
              <a:gd name="connsiteX195" fmla="*/ 2791790 w 11269336"/>
              <a:gd name="connsiteY195" fmla="*/ 2080332 h 2323145"/>
              <a:gd name="connsiteX196" fmla="*/ 2755844 w 11269336"/>
              <a:gd name="connsiteY196" fmla="*/ 2078874 h 2323145"/>
              <a:gd name="connsiteX197" fmla="*/ 2657742 w 11269336"/>
              <a:gd name="connsiteY197" fmla="*/ 2070179 h 2323145"/>
              <a:gd name="connsiteX198" fmla="*/ 2559549 w 11269336"/>
              <a:gd name="connsiteY198" fmla="*/ 2057873 h 2323145"/>
              <a:gd name="connsiteX199" fmla="*/ 2512054 w 11269336"/>
              <a:gd name="connsiteY199" fmla="*/ 2031671 h 2323145"/>
              <a:gd name="connsiteX200" fmla="*/ 2506437 w 11269336"/>
              <a:gd name="connsiteY200" fmla="*/ 2030918 h 2323145"/>
              <a:gd name="connsiteX201" fmla="*/ 2491752 w 11269336"/>
              <a:gd name="connsiteY201" fmla="*/ 2033906 h 2323145"/>
              <a:gd name="connsiteX202" fmla="*/ 2486338 w 11269336"/>
              <a:gd name="connsiteY202" fmla="*/ 2035862 h 2323145"/>
              <a:gd name="connsiteX203" fmla="*/ 2478186 w 11269336"/>
              <a:gd name="connsiteY203" fmla="*/ 2036953 h 2323145"/>
              <a:gd name="connsiteX204" fmla="*/ 2477950 w 11269336"/>
              <a:gd name="connsiteY204" fmla="*/ 2036715 h 2323145"/>
              <a:gd name="connsiteX205" fmla="*/ 2470381 w 11269336"/>
              <a:gd name="connsiteY205" fmla="*/ 2038256 h 2323145"/>
              <a:gd name="connsiteX206" fmla="*/ 2433781 w 11269336"/>
              <a:gd name="connsiteY206" fmla="*/ 2049140 h 2323145"/>
              <a:gd name="connsiteX207" fmla="*/ 2381172 w 11269336"/>
              <a:gd name="connsiteY207" fmla="*/ 2030645 h 2323145"/>
              <a:gd name="connsiteX208" fmla="*/ 2360198 w 11269336"/>
              <a:gd name="connsiteY208" fmla="*/ 2029059 h 2323145"/>
              <a:gd name="connsiteX209" fmla="*/ 2348815 w 11269336"/>
              <a:gd name="connsiteY209" fmla="*/ 2026798 h 2323145"/>
              <a:gd name="connsiteX210" fmla="*/ 2347988 w 11269336"/>
              <a:gd name="connsiteY210" fmla="*/ 2025745 h 2323145"/>
              <a:gd name="connsiteX211" fmla="*/ 2312920 w 11269336"/>
              <a:gd name="connsiteY211" fmla="*/ 2036311 h 2323145"/>
              <a:gd name="connsiteX212" fmla="*/ 2307986 w 11269336"/>
              <a:gd name="connsiteY212" fmla="*/ 2035583 h 2323145"/>
              <a:gd name="connsiteX213" fmla="*/ 2285481 w 11269336"/>
              <a:gd name="connsiteY213" fmla="*/ 2045197 h 2323145"/>
              <a:gd name="connsiteX214" fmla="*/ 2273666 w 11269336"/>
              <a:gd name="connsiteY214" fmla="*/ 2048710 h 2323145"/>
              <a:gd name="connsiteX215" fmla="*/ 2270719 w 11269336"/>
              <a:gd name="connsiteY215" fmla="*/ 2052702 h 2323145"/>
              <a:gd name="connsiteX216" fmla="*/ 2253080 w 11269336"/>
              <a:gd name="connsiteY216" fmla="*/ 2056363 h 2323145"/>
              <a:gd name="connsiteX217" fmla="*/ 2250906 w 11269336"/>
              <a:gd name="connsiteY217" fmla="*/ 2055654 h 2323145"/>
              <a:gd name="connsiteX218" fmla="*/ 2236905 w 11269336"/>
              <a:gd name="connsiteY218" fmla="*/ 2062882 h 2323145"/>
              <a:gd name="connsiteX219" fmla="*/ 2225830 w 11269336"/>
              <a:gd name="connsiteY219" fmla="*/ 2074027 h 2323145"/>
              <a:gd name="connsiteX220" fmla="*/ 2073776 w 11269336"/>
              <a:gd name="connsiteY220" fmla="*/ 2089244 h 2323145"/>
              <a:gd name="connsiteX221" fmla="*/ 1948256 w 11269336"/>
              <a:gd name="connsiteY221" fmla="*/ 2146616 h 2323145"/>
              <a:gd name="connsiteX222" fmla="*/ 1865582 w 11269336"/>
              <a:gd name="connsiteY222" fmla="*/ 2153738 h 2323145"/>
              <a:gd name="connsiteX223" fmla="*/ 1835210 w 11269336"/>
              <a:gd name="connsiteY223" fmla="*/ 2134244 h 2323145"/>
              <a:gd name="connsiteX224" fmla="*/ 1632661 w 11269336"/>
              <a:gd name="connsiteY224" fmla="*/ 2173882 h 2323145"/>
              <a:gd name="connsiteX225" fmla="*/ 1579590 w 11269336"/>
              <a:gd name="connsiteY225" fmla="*/ 2173680 h 2323145"/>
              <a:gd name="connsiteX226" fmla="*/ 1535601 w 11269336"/>
              <a:gd name="connsiteY226" fmla="*/ 2194590 h 2323145"/>
              <a:gd name="connsiteX227" fmla="*/ 1515594 w 11269336"/>
              <a:gd name="connsiteY227" fmla="*/ 2189622 h 2323145"/>
              <a:gd name="connsiteX228" fmla="*/ 1512113 w 11269336"/>
              <a:gd name="connsiteY228" fmla="*/ 2188534 h 2323145"/>
              <a:gd name="connsiteX229" fmla="*/ 1498838 w 11269336"/>
              <a:gd name="connsiteY229" fmla="*/ 2189213 h 2323145"/>
              <a:gd name="connsiteX230" fmla="*/ 1494279 w 11269336"/>
              <a:gd name="connsiteY230" fmla="*/ 2183112 h 2323145"/>
              <a:gd name="connsiteX231" fmla="*/ 1473714 w 11269336"/>
              <a:gd name="connsiteY231" fmla="*/ 2179625 h 2323145"/>
              <a:gd name="connsiteX232" fmla="*/ 1449503 w 11269336"/>
              <a:gd name="connsiteY232" fmla="*/ 2182633 h 2323145"/>
              <a:gd name="connsiteX233" fmla="*/ 1266687 w 11269336"/>
              <a:gd name="connsiteY233" fmla="*/ 2212688 h 2323145"/>
              <a:gd name="connsiteX234" fmla="*/ 1239614 w 11269336"/>
              <a:gd name="connsiteY234" fmla="*/ 2209727 h 2323145"/>
              <a:gd name="connsiteX235" fmla="*/ 1202436 w 11269336"/>
              <a:gd name="connsiteY235" fmla="*/ 2209817 h 2323145"/>
              <a:gd name="connsiteX236" fmla="*/ 1136097 w 11269336"/>
              <a:gd name="connsiteY236" fmla="*/ 2205112 h 2323145"/>
              <a:gd name="connsiteX237" fmla="*/ 988232 w 11269336"/>
              <a:gd name="connsiteY237" fmla="*/ 2235635 h 2323145"/>
              <a:gd name="connsiteX238" fmla="*/ 981959 w 11269336"/>
              <a:gd name="connsiteY238" fmla="*/ 2231607 h 2323145"/>
              <a:gd name="connsiteX239" fmla="*/ 938600 w 11269336"/>
              <a:gd name="connsiteY239" fmla="*/ 2238113 h 2323145"/>
              <a:gd name="connsiteX240" fmla="*/ 791788 w 11269336"/>
              <a:gd name="connsiteY240" fmla="*/ 2293224 h 2323145"/>
              <a:gd name="connsiteX241" fmla="*/ 706914 w 11269336"/>
              <a:gd name="connsiteY241" fmla="*/ 2305046 h 2323145"/>
              <a:gd name="connsiteX242" fmla="*/ 675971 w 11269336"/>
              <a:gd name="connsiteY242" fmla="*/ 2304030 h 2323145"/>
              <a:gd name="connsiteX243" fmla="*/ 624180 w 11269336"/>
              <a:gd name="connsiteY243" fmla="*/ 2302650 h 2323145"/>
              <a:gd name="connsiteX244" fmla="*/ 583453 w 11269336"/>
              <a:gd name="connsiteY244" fmla="*/ 2288788 h 2323145"/>
              <a:gd name="connsiteX245" fmla="*/ 540946 w 11269336"/>
              <a:gd name="connsiteY245" fmla="*/ 2292721 h 2323145"/>
              <a:gd name="connsiteX246" fmla="*/ 533680 w 11269336"/>
              <a:gd name="connsiteY246" fmla="*/ 2310233 h 2323145"/>
              <a:gd name="connsiteX247" fmla="*/ 487366 w 11269336"/>
              <a:gd name="connsiteY247" fmla="*/ 2309053 h 2323145"/>
              <a:gd name="connsiteX248" fmla="*/ 416820 w 11269336"/>
              <a:gd name="connsiteY248" fmla="*/ 2305443 h 2323145"/>
              <a:gd name="connsiteX249" fmla="*/ 376805 w 11269336"/>
              <a:gd name="connsiteY249" fmla="*/ 2307647 h 2323145"/>
              <a:gd name="connsiteX250" fmla="*/ 266777 w 11269336"/>
              <a:gd name="connsiteY250" fmla="*/ 2309012 h 2323145"/>
              <a:gd name="connsiteX251" fmla="*/ 156013 w 11269336"/>
              <a:gd name="connsiteY251" fmla="*/ 2306832 h 2323145"/>
              <a:gd name="connsiteX252" fmla="*/ 87258 w 11269336"/>
              <a:gd name="connsiteY252" fmla="*/ 2285511 h 2323145"/>
              <a:gd name="connsiteX253" fmla="*/ 23798 w 11269336"/>
              <a:gd name="connsiteY253" fmla="*/ 2281822 h 2323145"/>
              <a:gd name="connsiteX254" fmla="*/ 0 w 11269336"/>
              <a:gd name="connsiteY254" fmla="*/ 2285369 h 2323145"/>
              <a:gd name="connsiteX255" fmla="*/ 0 w 11269336"/>
              <a:gd name="connsiteY255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92832 w 11269336"/>
              <a:gd name="connsiteY142" fmla="*/ 2188033 h 2323145"/>
              <a:gd name="connsiteX143" fmla="*/ 4467257 w 11269336"/>
              <a:gd name="connsiteY143" fmla="*/ 2196121 h 2323145"/>
              <a:gd name="connsiteX144" fmla="*/ 4405765 w 11269336"/>
              <a:gd name="connsiteY144" fmla="*/ 2199902 h 2323145"/>
              <a:gd name="connsiteX145" fmla="*/ 4401354 w 11269336"/>
              <a:gd name="connsiteY145" fmla="*/ 2194745 h 2323145"/>
              <a:gd name="connsiteX146" fmla="*/ 4366646 w 11269336"/>
              <a:gd name="connsiteY146" fmla="*/ 2198564 h 2323145"/>
              <a:gd name="connsiteX147" fmla="*/ 4354009 w 11269336"/>
              <a:gd name="connsiteY147" fmla="*/ 2204984 h 2323145"/>
              <a:gd name="connsiteX148" fmla="*/ 4348284 w 11269336"/>
              <a:gd name="connsiteY148" fmla="*/ 2205270 h 2323145"/>
              <a:gd name="connsiteX149" fmla="*/ 4333906 w 11269336"/>
              <a:gd name="connsiteY149" fmla="*/ 2205251 h 2323145"/>
              <a:gd name="connsiteX150" fmla="*/ 4308819 w 11269336"/>
              <a:gd name="connsiteY150" fmla="*/ 2203822 h 2323145"/>
              <a:gd name="connsiteX151" fmla="*/ 4301210 w 11269336"/>
              <a:gd name="connsiteY151" fmla="*/ 2204456 h 2323145"/>
              <a:gd name="connsiteX152" fmla="*/ 4283095 w 11269336"/>
              <a:gd name="connsiteY152" fmla="*/ 2198177 h 2323145"/>
              <a:gd name="connsiteX153" fmla="*/ 4250119 w 11269336"/>
              <a:gd name="connsiteY153" fmla="*/ 2196342 h 2323145"/>
              <a:gd name="connsiteX154" fmla="*/ 4189203 w 11269336"/>
              <a:gd name="connsiteY154" fmla="*/ 2178994 h 2323145"/>
              <a:gd name="connsiteX155" fmla="*/ 4154035 w 11269336"/>
              <a:gd name="connsiteY155" fmla="*/ 2171950 h 2323145"/>
              <a:gd name="connsiteX156" fmla="*/ 4129569 w 11269336"/>
              <a:gd name="connsiteY156" fmla="*/ 2163850 h 2323145"/>
              <a:gd name="connsiteX157" fmla="*/ 4061250 w 11269336"/>
              <a:gd name="connsiteY157" fmla="*/ 2159236 h 2323145"/>
              <a:gd name="connsiteX158" fmla="*/ 3945480 w 11269336"/>
              <a:gd name="connsiteY158" fmla="*/ 2158279 h 2323145"/>
              <a:gd name="connsiteX159" fmla="*/ 3921468 w 11269336"/>
              <a:gd name="connsiteY159" fmla="*/ 2156588 h 2323145"/>
              <a:gd name="connsiteX160" fmla="*/ 3903348 w 11269336"/>
              <a:gd name="connsiteY160" fmla="*/ 2149220 h 2323145"/>
              <a:gd name="connsiteX161" fmla="*/ 3901342 w 11269336"/>
              <a:gd name="connsiteY161" fmla="*/ 2142355 h 2323145"/>
              <a:gd name="connsiteX162" fmla="*/ 3888539 w 11269336"/>
              <a:gd name="connsiteY162" fmla="*/ 2140476 h 2323145"/>
              <a:gd name="connsiteX163" fmla="*/ 3885662 w 11269336"/>
              <a:gd name="connsiteY163" fmla="*/ 2138740 h 2323145"/>
              <a:gd name="connsiteX164" fmla="*/ 3868627 w 11269336"/>
              <a:gd name="connsiteY164" fmla="*/ 2130023 h 2323145"/>
              <a:gd name="connsiteX165" fmla="*/ 3819177 w 11269336"/>
              <a:gd name="connsiteY165" fmla="*/ 2142111 h 2323145"/>
              <a:gd name="connsiteX166" fmla="*/ 3769100 w 11269336"/>
              <a:gd name="connsiteY166" fmla="*/ 2131731 h 2323145"/>
              <a:gd name="connsiteX167" fmla="*/ 3562752 w 11269336"/>
              <a:gd name="connsiteY167" fmla="*/ 2131785 h 2323145"/>
              <a:gd name="connsiteX168" fmla="*/ 3541402 w 11269336"/>
              <a:gd name="connsiteY168" fmla="*/ 2106821 h 2323145"/>
              <a:gd name="connsiteX169" fmla="*/ 3365341 w 11269336"/>
              <a:gd name="connsiteY169" fmla="*/ 2077638 h 2323145"/>
              <a:gd name="connsiteX170" fmla="*/ 3170922 w 11269336"/>
              <a:gd name="connsiteY170" fmla="*/ 2115957 h 2323145"/>
              <a:gd name="connsiteX171" fmla="*/ 3156256 w 11269336"/>
              <a:gd name="connsiteY171" fmla="*/ 2124773 h 2323145"/>
              <a:gd name="connsiteX172" fmla="*/ 3140298 w 11269336"/>
              <a:gd name="connsiteY172" fmla="*/ 2129182 h 2323145"/>
              <a:gd name="connsiteX173" fmla="*/ 3138514 w 11269336"/>
              <a:gd name="connsiteY173" fmla="*/ 2128069 h 2323145"/>
              <a:gd name="connsiteX174" fmla="*/ 3120467 w 11269336"/>
              <a:gd name="connsiteY174" fmla="*/ 2128281 h 2323145"/>
              <a:gd name="connsiteX175" fmla="*/ 3116175 w 11269336"/>
              <a:gd name="connsiteY175" fmla="*/ 2131633 h 2323145"/>
              <a:gd name="connsiteX176" fmla="*/ 3103685 w 11269336"/>
              <a:gd name="connsiteY176" fmla="*/ 2132814 h 2323145"/>
              <a:gd name="connsiteX177" fmla="*/ 3078794 w 11269336"/>
              <a:gd name="connsiteY177" fmla="*/ 2137935 h 2323145"/>
              <a:gd name="connsiteX178" fmla="*/ 3074407 w 11269336"/>
              <a:gd name="connsiteY178" fmla="*/ 2136274 h 2323145"/>
              <a:gd name="connsiteX179" fmla="*/ 3037285 w 11269336"/>
              <a:gd name="connsiteY179" fmla="*/ 2139919 h 2323145"/>
              <a:gd name="connsiteX180" fmla="*/ 3036901 w 11269336"/>
              <a:gd name="connsiteY180" fmla="*/ 2138726 h 2323145"/>
              <a:gd name="connsiteX181" fmla="*/ 3026996 w 11269336"/>
              <a:gd name="connsiteY181" fmla="*/ 2134322 h 2323145"/>
              <a:gd name="connsiteX182" fmla="*/ 3007772 w 11269336"/>
              <a:gd name="connsiteY182" fmla="*/ 2128742 h 2323145"/>
              <a:gd name="connsiteX183" fmla="*/ 2965030 w 11269336"/>
              <a:gd name="connsiteY183" fmla="*/ 2100494 h 2323145"/>
              <a:gd name="connsiteX184" fmla="*/ 2926342 w 11269336"/>
              <a:gd name="connsiteY184" fmla="*/ 2104155 h 2323145"/>
              <a:gd name="connsiteX185" fmla="*/ 2918608 w 11269336"/>
              <a:gd name="connsiteY185" fmla="*/ 2104215 h 2323145"/>
              <a:gd name="connsiteX186" fmla="*/ 2918475 w 11269336"/>
              <a:gd name="connsiteY186" fmla="*/ 2103937 h 2323145"/>
              <a:gd name="connsiteX187" fmla="*/ 2910360 w 11269336"/>
              <a:gd name="connsiteY187" fmla="*/ 2103444 h 2323145"/>
              <a:gd name="connsiteX188" fmla="*/ 2904507 w 11269336"/>
              <a:gd name="connsiteY188" fmla="*/ 2104326 h 2323145"/>
              <a:gd name="connsiteX189" fmla="*/ 2889503 w 11269336"/>
              <a:gd name="connsiteY189" fmla="*/ 2104443 h 2323145"/>
              <a:gd name="connsiteX190" fmla="*/ 2884480 w 11269336"/>
              <a:gd name="connsiteY190" fmla="*/ 2102626 h 2323145"/>
              <a:gd name="connsiteX191" fmla="*/ 2882689 w 11269336"/>
              <a:gd name="connsiteY191" fmla="*/ 2099228 h 2323145"/>
              <a:gd name="connsiteX192" fmla="*/ 2881291 w 11269336"/>
              <a:gd name="connsiteY192" fmla="*/ 2099618 h 2323145"/>
              <a:gd name="connsiteX193" fmla="*/ 2853979 w 11269336"/>
              <a:gd name="connsiteY193" fmla="*/ 2090388 h 2323145"/>
              <a:gd name="connsiteX194" fmla="*/ 2791790 w 11269336"/>
              <a:gd name="connsiteY194" fmla="*/ 2080332 h 2323145"/>
              <a:gd name="connsiteX195" fmla="*/ 2755844 w 11269336"/>
              <a:gd name="connsiteY195" fmla="*/ 2078874 h 2323145"/>
              <a:gd name="connsiteX196" fmla="*/ 2657742 w 11269336"/>
              <a:gd name="connsiteY196" fmla="*/ 2070179 h 2323145"/>
              <a:gd name="connsiteX197" fmla="*/ 2559549 w 11269336"/>
              <a:gd name="connsiteY197" fmla="*/ 2057873 h 2323145"/>
              <a:gd name="connsiteX198" fmla="*/ 2512054 w 11269336"/>
              <a:gd name="connsiteY198" fmla="*/ 2031671 h 2323145"/>
              <a:gd name="connsiteX199" fmla="*/ 2506437 w 11269336"/>
              <a:gd name="connsiteY199" fmla="*/ 2030918 h 2323145"/>
              <a:gd name="connsiteX200" fmla="*/ 2491752 w 11269336"/>
              <a:gd name="connsiteY200" fmla="*/ 2033906 h 2323145"/>
              <a:gd name="connsiteX201" fmla="*/ 2486338 w 11269336"/>
              <a:gd name="connsiteY201" fmla="*/ 2035862 h 2323145"/>
              <a:gd name="connsiteX202" fmla="*/ 2478186 w 11269336"/>
              <a:gd name="connsiteY202" fmla="*/ 2036953 h 2323145"/>
              <a:gd name="connsiteX203" fmla="*/ 2477950 w 11269336"/>
              <a:gd name="connsiteY203" fmla="*/ 2036715 h 2323145"/>
              <a:gd name="connsiteX204" fmla="*/ 2470381 w 11269336"/>
              <a:gd name="connsiteY204" fmla="*/ 2038256 h 2323145"/>
              <a:gd name="connsiteX205" fmla="*/ 2433781 w 11269336"/>
              <a:gd name="connsiteY205" fmla="*/ 2049140 h 2323145"/>
              <a:gd name="connsiteX206" fmla="*/ 2381172 w 11269336"/>
              <a:gd name="connsiteY206" fmla="*/ 2030645 h 2323145"/>
              <a:gd name="connsiteX207" fmla="*/ 2360198 w 11269336"/>
              <a:gd name="connsiteY207" fmla="*/ 2029059 h 2323145"/>
              <a:gd name="connsiteX208" fmla="*/ 2348815 w 11269336"/>
              <a:gd name="connsiteY208" fmla="*/ 2026798 h 2323145"/>
              <a:gd name="connsiteX209" fmla="*/ 2347988 w 11269336"/>
              <a:gd name="connsiteY209" fmla="*/ 2025745 h 2323145"/>
              <a:gd name="connsiteX210" fmla="*/ 2312920 w 11269336"/>
              <a:gd name="connsiteY210" fmla="*/ 2036311 h 2323145"/>
              <a:gd name="connsiteX211" fmla="*/ 2307986 w 11269336"/>
              <a:gd name="connsiteY211" fmla="*/ 2035583 h 2323145"/>
              <a:gd name="connsiteX212" fmla="*/ 2285481 w 11269336"/>
              <a:gd name="connsiteY212" fmla="*/ 2045197 h 2323145"/>
              <a:gd name="connsiteX213" fmla="*/ 2273666 w 11269336"/>
              <a:gd name="connsiteY213" fmla="*/ 2048710 h 2323145"/>
              <a:gd name="connsiteX214" fmla="*/ 2270719 w 11269336"/>
              <a:gd name="connsiteY214" fmla="*/ 2052702 h 2323145"/>
              <a:gd name="connsiteX215" fmla="*/ 2253080 w 11269336"/>
              <a:gd name="connsiteY215" fmla="*/ 2056363 h 2323145"/>
              <a:gd name="connsiteX216" fmla="*/ 2250906 w 11269336"/>
              <a:gd name="connsiteY216" fmla="*/ 2055654 h 2323145"/>
              <a:gd name="connsiteX217" fmla="*/ 2236905 w 11269336"/>
              <a:gd name="connsiteY217" fmla="*/ 2062882 h 2323145"/>
              <a:gd name="connsiteX218" fmla="*/ 2225830 w 11269336"/>
              <a:gd name="connsiteY218" fmla="*/ 2074027 h 2323145"/>
              <a:gd name="connsiteX219" fmla="*/ 2073776 w 11269336"/>
              <a:gd name="connsiteY219" fmla="*/ 2089244 h 2323145"/>
              <a:gd name="connsiteX220" fmla="*/ 1948256 w 11269336"/>
              <a:gd name="connsiteY220" fmla="*/ 2146616 h 2323145"/>
              <a:gd name="connsiteX221" fmla="*/ 1865582 w 11269336"/>
              <a:gd name="connsiteY221" fmla="*/ 2153738 h 2323145"/>
              <a:gd name="connsiteX222" fmla="*/ 1835210 w 11269336"/>
              <a:gd name="connsiteY222" fmla="*/ 2134244 h 2323145"/>
              <a:gd name="connsiteX223" fmla="*/ 1632661 w 11269336"/>
              <a:gd name="connsiteY223" fmla="*/ 2173882 h 2323145"/>
              <a:gd name="connsiteX224" fmla="*/ 1579590 w 11269336"/>
              <a:gd name="connsiteY224" fmla="*/ 2173680 h 2323145"/>
              <a:gd name="connsiteX225" fmla="*/ 1535601 w 11269336"/>
              <a:gd name="connsiteY225" fmla="*/ 2194590 h 2323145"/>
              <a:gd name="connsiteX226" fmla="*/ 1515594 w 11269336"/>
              <a:gd name="connsiteY226" fmla="*/ 2189622 h 2323145"/>
              <a:gd name="connsiteX227" fmla="*/ 1512113 w 11269336"/>
              <a:gd name="connsiteY227" fmla="*/ 2188534 h 2323145"/>
              <a:gd name="connsiteX228" fmla="*/ 1498838 w 11269336"/>
              <a:gd name="connsiteY228" fmla="*/ 2189213 h 2323145"/>
              <a:gd name="connsiteX229" fmla="*/ 1494279 w 11269336"/>
              <a:gd name="connsiteY229" fmla="*/ 2183112 h 2323145"/>
              <a:gd name="connsiteX230" fmla="*/ 1473714 w 11269336"/>
              <a:gd name="connsiteY230" fmla="*/ 2179625 h 2323145"/>
              <a:gd name="connsiteX231" fmla="*/ 1449503 w 11269336"/>
              <a:gd name="connsiteY231" fmla="*/ 2182633 h 2323145"/>
              <a:gd name="connsiteX232" fmla="*/ 1266687 w 11269336"/>
              <a:gd name="connsiteY232" fmla="*/ 2212688 h 2323145"/>
              <a:gd name="connsiteX233" fmla="*/ 1239614 w 11269336"/>
              <a:gd name="connsiteY233" fmla="*/ 2209727 h 2323145"/>
              <a:gd name="connsiteX234" fmla="*/ 1202436 w 11269336"/>
              <a:gd name="connsiteY234" fmla="*/ 2209817 h 2323145"/>
              <a:gd name="connsiteX235" fmla="*/ 1136097 w 11269336"/>
              <a:gd name="connsiteY235" fmla="*/ 2205112 h 2323145"/>
              <a:gd name="connsiteX236" fmla="*/ 988232 w 11269336"/>
              <a:gd name="connsiteY236" fmla="*/ 2235635 h 2323145"/>
              <a:gd name="connsiteX237" fmla="*/ 981959 w 11269336"/>
              <a:gd name="connsiteY237" fmla="*/ 2231607 h 2323145"/>
              <a:gd name="connsiteX238" fmla="*/ 938600 w 11269336"/>
              <a:gd name="connsiteY238" fmla="*/ 2238113 h 2323145"/>
              <a:gd name="connsiteX239" fmla="*/ 791788 w 11269336"/>
              <a:gd name="connsiteY239" fmla="*/ 2293224 h 2323145"/>
              <a:gd name="connsiteX240" fmla="*/ 706914 w 11269336"/>
              <a:gd name="connsiteY240" fmla="*/ 2305046 h 2323145"/>
              <a:gd name="connsiteX241" fmla="*/ 675971 w 11269336"/>
              <a:gd name="connsiteY241" fmla="*/ 2304030 h 2323145"/>
              <a:gd name="connsiteX242" fmla="*/ 624180 w 11269336"/>
              <a:gd name="connsiteY242" fmla="*/ 2302650 h 2323145"/>
              <a:gd name="connsiteX243" fmla="*/ 583453 w 11269336"/>
              <a:gd name="connsiteY243" fmla="*/ 2288788 h 2323145"/>
              <a:gd name="connsiteX244" fmla="*/ 540946 w 11269336"/>
              <a:gd name="connsiteY244" fmla="*/ 2292721 h 2323145"/>
              <a:gd name="connsiteX245" fmla="*/ 533680 w 11269336"/>
              <a:gd name="connsiteY245" fmla="*/ 2310233 h 2323145"/>
              <a:gd name="connsiteX246" fmla="*/ 487366 w 11269336"/>
              <a:gd name="connsiteY246" fmla="*/ 2309053 h 2323145"/>
              <a:gd name="connsiteX247" fmla="*/ 416820 w 11269336"/>
              <a:gd name="connsiteY247" fmla="*/ 2305443 h 2323145"/>
              <a:gd name="connsiteX248" fmla="*/ 376805 w 11269336"/>
              <a:gd name="connsiteY248" fmla="*/ 2307647 h 2323145"/>
              <a:gd name="connsiteX249" fmla="*/ 266777 w 11269336"/>
              <a:gd name="connsiteY249" fmla="*/ 2309012 h 2323145"/>
              <a:gd name="connsiteX250" fmla="*/ 156013 w 11269336"/>
              <a:gd name="connsiteY250" fmla="*/ 2306832 h 2323145"/>
              <a:gd name="connsiteX251" fmla="*/ 87258 w 11269336"/>
              <a:gd name="connsiteY251" fmla="*/ 2285511 h 2323145"/>
              <a:gd name="connsiteX252" fmla="*/ 23798 w 11269336"/>
              <a:gd name="connsiteY252" fmla="*/ 2281822 h 2323145"/>
              <a:gd name="connsiteX253" fmla="*/ 0 w 11269336"/>
              <a:gd name="connsiteY253" fmla="*/ 2285369 h 2323145"/>
              <a:gd name="connsiteX254" fmla="*/ 0 w 11269336"/>
              <a:gd name="connsiteY254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533444 w 11269336"/>
              <a:gd name="connsiteY141" fmla="*/ 2181200 h 2323145"/>
              <a:gd name="connsiteX142" fmla="*/ 4467257 w 11269336"/>
              <a:gd name="connsiteY142" fmla="*/ 2196121 h 2323145"/>
              <a:gd name="connsiteX143" fmla="*/ 4405765 w 11269336"/>
              <a:gd name="connsiteY143" fmla="*/ 2199902 h 2323145"/>
              <a:gd name="connsiteX144" fmla="*/ 4401354 w 11269336"/>
              <a:gd name="connsiteY144" fmla="*/ 2194745 h 2323145"/>
              <a:gd name="connsiteX145" fmla="*/ 4366646 w 11269336"/>
              <a:gd name="connsiteY145" fmla="*/ 2198564 h 2323145"/>
              <a:gd name="connsiteX146" fmla="*/ 4354009 w 11269336"/>
              <a:gd name="connsiteY146" fmla="*/ 2204984 h 2323145"/>
              <a:gd name="connsiteX147" fmla="*/ 4348284 w 11269336"/>
              <a:gd name="connsiteY147" fmla="*/ 2205270 h 2323145"/>
              <a:gd name="connsiteX148" fmla="*/ 4333906 w 11269336"/>
              <a:gd name="connsiteY148" fmla="*/ 2205251 h 2323145"/>
              <a:gd name="connsiteX149" fmla="*/ 4308819 w 11269336"/>
              <a:gd name="connsiteY149" fmla="*/ 2203822 h 2323145"/>
              <a:gd name="connsiteX150" fmla="*/ 4301210 w 11269336"/>
              <a:gd name="connsiteY150" fmla="*/ 2204456 h 2323145"/>
              <a:gd name="connsiteX151" fmla="*/ 4283095 w 11269336"/>
              <a:gd name="connsiteY151" fmla="*/ 2198177 h 2323145"/>
              <a:gd name="connsiteX152" fmla="*/ 4250119 w 11269336"/>
              <a:gd name="connsiteY152" fmla="*/ 2196342 h 2323145"/>
              <a:gd name="connsiteX153" fmla="*/ 4189203 w 11269336"/>
              <a:gd name="connsiteY153" fmla="*/ 2178994 h 2323145"/>
              <a:gd name="connsiteX154" fmla="*/ 4154035 w 11269336"/>
              <a:gd name="connsiteY154" fmla="*/ 2171950 h 2323145"/>
              <a:gd name="connsiteX155" fmla="*/ 4129569 w 11269336"/>
              <a:gd name="connsiteY155" fmla="*/ 2163850 h 2323145"/>
              <a:gd name="connsiteX156" fmla="*/ 4061250 w 11269336"/>
              <a:gd name="connsiteY156" fmla="*/ 2159236 h 2323145"/>
              <a:gd name="connsiteX157" fmla="*/ 3945480 w 11269336"/>
              <a:gd name="connsiteY157" fmla="*/ 2158279 h 2323145"/>
              <a:gd name="connsiteX158" fmla="*/ 3921468 w 11269336"/>
              <a:gd name="connsiteY158" fmla="*/ 2156588 h 2323145"/>
              <a:gd name="connsiteX159" fmla="*/ 3903348 w 11269336"/>
              <a:gd name="connsiteY159" fmla="*/ 2149220 h 2323145"/>
              <a:gd name="connsiteX160" fmla="*/ 3901342 w 11269336"/>
              <a:gd name="connsiteY160" fmla="*/ 2142355 h 2323145"/>
              <a:gd name="connsiteX161" fmla="*/ 3888539 w 11269336"/>
              <a:gd name="connsiteY161" fmla="*/ 2140476 h 2323145"/>
              <a:gd name="connsiteX162" fmla="*/ 3885662 w 11269336"/>
              <a:gd name="connsiteY162" fmla="*/ 2138740 h 2323145"/>
              <a:gd name="connsiteX163" fmla="*/ 3868627 w 11269336"/>
              <a:gd name="connsiteY163" fmla="*/ 2130023 h 2323145"/>
              <a:gd name="connsiteX164" fmla="*/ 3819177 w 11269336"/>
              <a:gd name="connsiteY164" fmla="*/ 2142111 h 2323145"/>
              <a:gd name="connsiteX165" fmla="*/ 3769100 w 11269336"/>
              <a:gd name="connsiteY165" fmla="*/ 2131731 h 2323145"/>
              <a:gd name="connsiteX166" fmla="*/ 3562752 w 11269336"/>
              <a:gd name="connsiteY166" fmla="*/ 2131785 h 2323145"/>
              <a:gd name="connsiteX167" fmla="*/ 3541402 w 11269336"/>
              <a:gd name="connsiteY167" fmla="*/ 2106821 h 2323145"/>
              <a:gd name="connsiteX168" fmla="*/ 3365341 w 11269336"/>
              <a:gd name="connsiteY168" fmla="*/ 2077638 h 2323145"/>
              <a:gd name="connsiteX169" fmla="*/ 3170922 w 11269336"/>
              <a:gd name="connsiteY169" fmla="*/ 2115957 h 2323145"/>
              <a:gd name="connsiteX170" fmla="*/ 3156256 w 11269336"/>
              <a:gd name="connsiteY170" fmla="*/ 2124773 h 2323145"/>
              <a:gd name="connsiteX171" fmla="*/ 3140298 w 11269336"/>
              <a:gd name="connsiteY171" fmla="*/ 2129182 h 2323145"/>
              <a:gd name="connsiteX172" fmla="*/ 3138514 w 11269336"/>
              <a:gd name="connsiteY172" fmla="*/ 2128069 h 2323145"/>
              <a:gd name="connsiteX173" fmla="*/ 3120467 w 11269336"/>
              <a:gd name="connsiteY173" fmla="*/ 2128281 h 2323145"/>
              <a:gd name="connsiteX174" fmla="*/ 3116175 w 11269336"/>
              <a:gd name="connsiteY174" fmla="*/ 2131633 h 2323145"/>
              <a:gd name="connsiteX175" fmla="*/ 3103685 w 11269336"/>
              <a:gd name="connsiteY175" fmla="*/ 2132814 h 2323145"/>
              <a:gd name="connsiteX176" fmla="*/ 3078794 w 11269336"/>
              <a:gd name="connsiteY176" fmla="*/ 2137935 h 2323145"/>
              <a:gd name="connsiteX177" fmla="*/ 3074407 w 11269336"/>
              <a:gd name="connsiteY177" fmla="*/ 2136274 h 2323145"/>
              <a:gd name="connsiteX178" fmla="*/ 3037285 w 11269336"/>
              <a:gd name="connsiteY178" fmla="*/ 2139919 h 2323145"/>
              <a:gd name="connsiteX179" fmla="*/ 3036901 w 11269336"/>
              <a:gd name="connsiteY179" fmla="*/ 2138726 h 2323145"/>
              <a:gd name="connsiteX180" fmla="*/ 3026996 w 11269336"/>
              <a:gd name="connsiteY180" fmla="*/ 2134322 h 2323145"/>
              <a:gd name="connsiteX181" fmla="*/ 3007772 w 11269336"/>
              <a:gd name="connsiteY181" fmla="*/ 2128742 h 2323145"/>
              <a:gd name="connsiteX182" fmla="*/ 2965030 w 11269336"/>
              <a:gd name="connsiteY182" fmla="*/ 2100494 h 2323145"/>
              <a:gd name="connsiteX183" fmla="*/ 2926342 w 11269336"/>
              <a:gd name="connsiteY183" fmla="*/ 2104155 h 2323145"/>
              <a:gd name="connsiteX184" fmla="*/ 2918608 w 11269336"/>
              <a:gd name="connsiteY184" fmla="*/ 2104215 h 2323145"/>
              <a:gd name="connsiteX185" fmla="*/ 2918475 w 11269336"/>
              <a:gd name="connsiteY185" fmla="*/ 2103937 h 2323145"/>
              <a:gd name="connsiteX186" fmla="*/ 2910360 w 11269336"/>
              <a:gd name="connsiteY186" fmla="*/ 2103444 h 2323145"/>
              <a:gd name="connsiteX187" fmla="*/ 2904507 w 11269336"/>
              <a:gd name="connsiteY187" fmla="*/ 2104326 h 2323145"/>
              <a:gd name="connsiteX188" fmla="*/ 2889503 w 11269336"/>
              <a:gd name="connsiteY188" fmla="*/ 2104443 h 2323145"/>
              <a:gd name="connsiteX189" fmla="*/ 2884480 w 11269336"/>
              <a:gd name="connsiteY189" fmla="*/ 2102626 h 2323145"/>
              <a:gd name="connsiteX190" fmla="*/ 2882689 w 11269336"/>
              <a:gd name="connsiteY190" fmla="*/ 2099228 h 2323145"/>
              <a:gd name="connsiteX191" fmla="*/ 2881291 w 11269336"/>
              <a:gd name="connsiteY191" fmla="*/ 2099618 h 2323145"/>
              <a:gd name="connsiteX192" fmla="*/ 2853979 w 11269336"/>
              <a:gd name="connsiteY192" fmla="*/ 2090388 h 2323145"/>
              <a:gd name="connsiteX193" fmla="*/ 2791790 w 11269336"/>
              <a:gd name="connsiteY193" fmla="*/ 2080332 h 2323145"/>
              <a:gd name="connsiteX194" fmla="*/ 2755844 w 11269336"/>
              <a:gd name="connsiteY194" fmla="*/ 2078874 h 2323145"/>
              <a:gd name="connsiteX195" fmla="*/ 2657742 w 11269336"/>
              <a:gd name="connsiteY195" fmla="*/ 2070179 h 2323145"/>
              <a:gd name="connsiteX196" fmla="*/ 2559549 w 11269336"/>
              <a:gd name="connsiteY196" fmla="*/ 2057873 h 2323145"/>
              <a:gd name="connsiteX197" fmla="*/ 2512054 w 11269336"/>
              <a:gd name="connsiteY197" fmla="*/ 2031671 h 2323145"/>
              <a:gd name="connsiteX198" fmla="*/ 2506437 w 11269336"/>
              <a:gd name="connsiteY198" fmla="*/ 2030918 h 2323145"/>
              <a:gd name="connsiteX199" fmla="*/ 2491752 w 11269336"/>
              <a:gd name="connsiteY199" fmla="*/ 2033906 h 2323145"/>
              <a:gd name="connsiteX200" fmla="*/ 2486338 w 11269336"/>
              <a:gd name="connsiteY200" fmla="*/ 2035862 h 2323145"/>
              <a:gd name="connsiteX201" fmla="*/ 2478186 w 11269336"/>
              <a:gd name="connsiteY201" fmla="*/ 2036953 h 2323145"/>
              <a:gd name="connsiteX202" fmla="*/ 2477950 w 11269336"/>
              <a:gd name="connsiteY202" fmla="*/ 2036715 h 2323145"/>
              <a:gd name="connsiteX203" fmla="*/ 2470381 w 11269336"/>
              <a:gd name="connsiteY203" fmla="*/ 2038256 h 2323145"/>
              <a:gd name="connsiteX204" fmla="*/ 2433781 w 11269336"/>
              <a:gd name="connsiteY204" fmla="*/ 2049140 h 2323145"/>
              <a:gd name="connsiteX205" fmla="*/ 2381172 w 11269336"/>
              <a:gd name="connsiteY205" fmla="*/ 2030645 h 2323145"/>
              <a:gd name="connsiteX206" fmla="*/ 2360198 w 11269336"/>
              <a:gd name="connsiteY206" fmla="*/ 2029059 h 2323145"/>
              <a:gd name="connsiteX207" fmla="*/ 2348815 w 11269336"/>
              <a:gd name="connsiteY207" fmla="*/ 2026798 h 2323145"/>
              <a:gd name="connsiteX208" fmla="*/ 2347988 w 11269336"/>
              <a:gd name="connsiteY208" fmla="*/ 2025745 h 2323145"/>
              <a:gd name="connsiteX209" fmla="*/ 2312920 w 11269336"/>
              <a:gd name="connsiteY209" fmla="*/ 2036311 h 2323145"/>
              <a:gd name="connsiteX210" fmla="*/ 2307986 w 11269336"/>
              <a:gd name="connsiteY210" fmla="*/ 2035583 h 2323145"/>
              <a:gd name="connsiteX211" fmla="*/ 2285481 w 11269336"/>
              <a:gd name="connsiteY211" fmla="*/ 2045197 h 2323145"/>
              <a:gd name="connsiteX212" fmla="*/ 2273666 w 11269336"/>
              <a:gd name="connsiteY212" fmla="*/ 2048710 h 2323145"/>
              <a:gd name="connsiteX213" fmla="*/ 2270719 w 11269336"/>
              <a:gd name="connsiteY213" fmla="*/ 2052702 h 2323145"/>
              <a:gd name="connsiteX214" fmla="*/ 2253080 w 11269336"/>
              <a:gd name="connsiteY214" fmla="*/ 2056363 h 2323145"/>
              <a:gd name="connsiteX215" fmla="*/ 2250906 w 11269336"/>
              <a:gd name="connsiteY215" fmla="*/ 2055654 h 2323145"/>
              <a:gd name="connsiteX216" fmla="*/ 2236905 w 11269336"/>
              <a:gd name="connsiteY216" fmla="*/ 2062882 h 2323145"/>
              <a:gd name="connsiteX217" fmla="*/ 2225830 w 11269336"/>
              <a:gd name="connsiteY217" fmla="*/ 2074027 h 2323145"/>
              <a:gd name="connsiteX218" fmla="*/ 2073776 w 11269336"/>
              <a:gd name="connsiteY218" fmla="*/ 2089244 h 2323145"/>
              <a:gd name="connsiteX219" fmla="*/ 1948256 w 11269336"/>
              <a:gd name="connsiteY219" fmla="*/ 2146616 h 2323145"/>
              <a:gd name="connsiteX220" fmla="*/ 1865582 w 11269336"/>
              <a:gd name="connsiteY220" fmla="*/ 2153738 h 2323145"/>
              <a:gd name="connsiteX221" fmla="*/ 1835210 w 11269336"/>
              <a:gd name="connsiteY221" fmla="*/ 2134244 h 2323145"/>
              <a:gd name="connsiteX222" fmla="*/ 1632661 w 11269336"/>
              <a:gd name="connsiteY222" fmla="*/ 2173882 h 2323145"/>
              <a:gd name="connsiteX223" fmla="*/ 1579590 w 11269336"/>
              <a:gd name="connsiteY223" fmla="*/ 2173680 h 2323145"/>
              <a:gd name="connsiteX224" fmla="*/ 1535601 w 11269336"/>
              <a:gd name="connsiteY224" fmla="*/ 2194590 h 2323145"/>
              <a:gd name="connsiteX225" fmla="*/ 1515594 w 11269336"/>
              <a:gd name="connsiteY225" fmla="*/ 2189622 h 2323145"/>
              <a:gd name="connsiteX226" fmla="*/ 1512113 w 11269336"/>
              <a:gd name="connsiteY226" fmla="*/ 2188534 h 2323145"/>
              <a:gd name="connsiteX227" fmla="*/ 1498838 w 11269336"/>
              <a:gd name="connsiteY227" fmla="*/ 2189213 h 2323145"/>
              <a:gd name="connsiteX228" fmla="*/ 1494279 w 11269336"/>
              <a:gd name="connsiteY228" fmla="*/ 2183112 h 2323145"/>
              <a:gd name="connsiteX229" fmla="*/ 1473714 w 11269336"/>
              <a:gd name="connsiteY229" fmla="*/ 2179625 h 2323145"/>
              <a:gd name="connsiteX230" fmla="*/ 1449503 w 11269336"/>
              <a:gd name="connsiteY230" fmla="*/ 2182633 h 2323145"/>
              <a:gd name="connsiteX231" fmla="*/ 1266687 w 11269336"/>
              <a:gd name="connsiteY231" fmla="*/ 2212688 h 2323145"/>
              <a:gd name="connsiteX232" fmla="*/ 1239614 w 11269336"/>
              <a:gd name="connsiteY232" fmla="*/ 2209727 h 2323145"/>
              <a:gd name="connsiteX233" fmla="*/ 1202436 w 11269336"/>
              <a:gd name="connsiteY233" fmla="*/ 2209817 h 2323145"/>
              <a:gd name="connsiteX234" fmla="*/ 1136097 w 11269336"/>
              <a:gd name="connsiteY234" fmla="*/ 2205112 h 2323145"/>
              <a:gd name="connsiteX235" fmla="*/ 988232 w 11269336"/>
              <a:gd name="connsiteY235" fmla="*/ 2235635 h 2323145"/>
              <a:gd name="connsiteX236" fmla="*/ 981959 w 11269336"/>
              <a:gd name="connsiteY236" fmla="*/ 2231607 h 2323145"/>
              <a:gd name="connsiteX237" fmla="*/ 938600 w 11269336"/>
              <a:gd name="connsiteY237" fmla="*/ 2238113 h 2323145"/>
              <a:gd name="connsiteX238" fmla="*/ 791788 w 11269336"/>
              <a:gd name="connsiteY238" fmla="*/ 2293224 h 2323145"/>
              <a:gd name="connsiteX239" fmla="*/ 706914 w 11269336"/>
              <a:gd name="connsiteY239" fmla="*/ 2305046 h 2323145"/>
              <a:gd name="connsiteX240" fmla="*/ 675971 w 11269336"/>
              <a:gd name="connsiteY240" fmla="*/ 2304030 h 2323145"/>
              <a:gd name="connsiteX241" fmla="*/ 624180 w 11269336"/>
              <a:gd name="connsiteY241" fmla="*/ 2302650 h 2323145"/>
              <a:gd name="connsiteX242" fmla="*/ 583453 w 11269336"/>
              <a:gd name="connsiteY242" fmla="*/ 2288788 h 2323145"/>
              <a:gd name="connsiteX243" fmla="*/ 540946 w 11269336"/>
              <a:gd name="connsiteY243" fmla="*/ 2292721 h 2323145"/>
              <a:gd name="connsiteX244" fmla="*/ 533680 w 11269336"/>
              <a:gd name="connsiteY244" fmla="*/ 2310233 h 2323145"/>
              <a:gd name="connsiteX245" fmla="*/ 487366 w 11269336"/>
              <a:gd name="connsiteY245" fmla="*/ 2309053 h 2323145"/>
              <a:gd name="connsiteX246" fmla="*/ 416820 w 11269336"/>
              <a:gd name="connsiteY246" fmla="*/ 2305443 h 2323145"/>
              <a:gd name="connsiteX247" fmla="*/ 376805 w 11269336"/>
              <a:gd name="connsiteY247" fmla="*/ 2307647 h 2323145"/>
              <a:gd name="connsiteX248" fmla="*/ 266777 w 11269336"/>
              <a:gd name="connsiteY248" fmla="*/ 2309012 h 2323145"/>
              <a:gd name="connsiteX249" fmla="*/ 156013 w 11269336"/>
              <a:gd name="connsiteY249" fmla="*/ 2306832 h 2323145"/>
              <a:gd name="connsiteX250" fmla="*/ 87258 w 11269336"/>
              <a:gd name="connsiteY250" fmla="*/ 2285511 h 2323145"/>
              <a:gd name="connsiteX251" fmla="*/ 23798 w 11269336"/>
              <a:gd name="connsiteY251" fmla="*/ 2281822 h 2323145"/>
              <a:gd name="connsiteX252" fmla="*/ 0 w 11269336"/>
              <a:gd name="connsiteY252" fmla="*/ 2285369 h 2323145"/>
              <a:gd name="connsiteX253" fmla="*/ 0 w 11269336"/>
              <a:gd name="connsiteY253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467257 w 11269336"/>
              <a:gd name="connsiteY141" fmla="*/ 2196121 h 2323145"/>
              <a:gd name="connsiteX142" fmla="*/ 4405765 w 11269336"/>
              <a:gd name="connsiteY142" fmla="*/ 2199902 h 2323145"/>
              <a:gd name="connsiteX143" fmla="*/ 4401354 w 11269336"/>
              <a:gd name="connsiteY143" fmla="*/ 2194745 h 2323145"/>
              <a:gd name="connsiteX144" fmla="*/ 4366646 w 11269336"/>
              <a:gd name="connsiteY144" fmla="*/ 2198564 h 2323145"/>
              <a:gd name="connsiteX145" fmla="*/ 4354009 w 11269336"/>
              <a:gd name="connsiteY145" fmla="*/ 2204984 h 2323145"/>
              <a:gd name="connsiteX146" fmla="*/ 4348284 w 11269336"/>
              <a:gd name="connsiteY146" fmla="*/ 2205270 h 2323145"/>
              <a:gd name="connsiteX147" fmla="*/ 4333906 w 11269336"/>
              <a:gd name="connsiteY147" fmla="*/ 2205251 h 2323145"/>
              <a:gd name="connsiteX148" fmla="*/ 4308819 w 11269336"/>
              <a:gd name="connsiteY148" fmla="*/ 2203822 h 2323145"/>
              <a:gd name="connsiteX149" fmla="*/ 4301210 w 11269336"/>
              <a:gd name="connsiteY149" fmla="*/ 2204456 h 2323145"/>
              <a:gd name="connsiteX150" fmla="*/ 4283095 w 11269336"/>
              <a:gd name="connsiteY150" fmla="*/ 2198177 h 2323145"/>
              <a:gd name="connsiteX151" fmla="*/ 4250119 w 11269336"/>
              <a:gd name="connsiteY151" fmla="*/ 2196342 h 2323145"/>
              <a:gd name="connsiteX152" fmla="*/ 4189203 w 11269336"/>
              <a:gd name="connsiteY152" fmla="*/ 2178994 h 2323145"/>
              <a:gd name="connsiteX153" fmla="*/ 4154035 w 11269336"/>
              <a:gd name="connsiteY153" fmla="*/ 2171950 h 2323145"/>
              <a:gd name="connsiteX154" fmla="*/ 4129569 w 11269336"/>
              <a:gd name="connsiteY154" fmla="*/ 2163850 h 2323145"/>
              <a:gd name="connsiteX155" fmla="*/ 4061250 w 11269336"/>
              <a:gd name="connsiteY155" fmla="*/ 2159236 h 2323145"/>
              <a:gd name="connsiteX156" fmla="*/ 3945480 w 11269336"/>
              <a:gd name="connsiteY156" fmla="*/ 2158279 h 2323145"/>
              <a:gd name="connsiteX157" fmla="*/ 3921468 w 11269336"/>
              <a:gd name="connsiteY157" fmla="*/ 2156588 h 2323145"/>
              <a:gd name="connsiteX158" fmla="*/ 3903348 w 11269336"/>
              <a:gd name="connsiteY158" fmla="*/ 2149220 h 2323145"/>
              <a:gd name="connsiteX159" fmla="*/ 3901342 w 11269336"/>
              <a:gd name="connsiteY159" fmla="*/ 2142355 h 2323145"/>
              <a:gd name="connsiteX160" fmla="*/ 3888539 w 11269336"/>
              <a:gd name="connsiteY160" fmla="*/ 2140476 h 2323145"/>
              <a:gd name="connsiteX161" fmla="*/ 3885662 w 11269336"/>
              <a:gd name="connsiteY161" fmla="*/ 2138740 h 2323145"/>
              <a:gd name="connsiteX162" fmla="*/ 3868627 w 11269336"/>
              <a:gd name="connsiteY162" fmla="*/ 2130023 h 2323145"/>
              <a:gd name="connsiteX163" fmla="*/ 3819177 w 11269336"/>
              <a:gd name="connsiteY163" fmla="*/ 2142111 h 2323145"/>
              <a:gd name="connsiteX164" fmla="*/ 3769100 w 11269336"/>
              <a:gd name="connsiteY164" fmla="*/ 2131731 h 2323145"/>
              <a:gd name="connsiteX165" fmla="*/ 3562752 w 11269336"/>
              <a:gd name="connsiteY165" fmla="*/ 2131785 h 2323145"/>
              <a:gd name="connsiteX166" fmla="*/ 3541402 w 11269336"/>
              <a:gd name="connsiteY166" fmla="*/ 2106821 h 2323145"/>
              <a:gd name="connsiteX167" fmla="*/ 3365341 w 11269336"/>
              <a:gd name="connsiteY167" fmla="*/ 2077638 h 2323145"/>
              <a:gd name="connsiteX168" fmla="*/ 3170922 w 11269336"/>
              <a:gd name="connsiteY168" fmla="*/ 2115957 h 2323145"/>
              <a:gd name="connsiteX169" fmla="*/ 3156256 w 11269336"/>
              <a:gd name="connsiteY169" fmla="*/ 2124773 h 2323145"/>
              <a:gd name="connsiteX170" fmla="*/ 3140298 w 11269336"/>
              <a:gd name="connsiteY170" fmla="*/ 2129182 h 2323145"/>
              <a:gd name="connsiteX171" fmla="*/ 3138514 w 11269336"/>
              <a:gd name="connsiteY171" fmla="*/ 2128069 h 2323145"/>
              <a:gd name="connsiteX172" fmla="*/ 3120467 w 11269336"/>
              <a:gd name="connsiteY172" fmla="*/ 2128281 h 2323145"/>
              <a:gd name="connsiteX173" fmla="*/ 3116175 w 11269336"/>
              <a:gd name="connsiteY173" fmla="*/ 2131633 h 2323145"/>
              <a:gd name="connsiteX174" fmla="*/ 3103685 w 11269336"/>
              <a:gd name="connsiteY174" fmla="*/ 2132814 h 2323145"/>
              <a:gd name="connsiteX175" fmla="*/ 3078794 w 11269336"/>
              <a:gd name="connsiteY175" fmla="*/ 2137935 h 2323145"/>
              <a:gd name="connsiteX176" fmla="*/ 3074407 w 11269336"/>
              <a:gd name="connsiteY176" fmla="*/ 2136274 h 2323145"/>
              <a:gd name="connsiteX177" fmla="*/ 3037285 w 11269336"/>
              <a:gd name="connsiteY177" fmla="*/ 2139919 h 2323145"/>
              <a:gd name="connsiteX178" fmla="*/ 3036901 w 11269336"/>
              <a:gd name="connsiteY178" fmla="*/ 2138726 h 2323145"/>
              <a:gd name="connsiteX179" fmla="*/ 3026996 w 11269336"/>
              <a:gd name="connsiteY179" fmla="*/ 2134322 h 2323145"/>
              <a:gd name="connsiteX180" fmla="*/ 3007772 w 11269336"/>
              <a:gd name="connsiteY180" fmla="*/ 2128742 h 2323145"/>
              <a:gd name="connsiteX181" fmla="*/ 2965030 w 11269336"/>
              <a:gd name="connsiteY181" fmla="*/ 2100494 h 2323145"/>
              <a:gd name="connsiteX182" fmla="*/ 2926342 w 11269336"/>
              <a:gd name="connsiteY182" fmla="*/ 2104155 h 2323145"/>
              <a:gd name="connsiteX183" fmla="*/ 2918608 w 11269336"/>
              <a:gd name="connsiteY183" fmla="*/ 2104215 h 2323145"/>
              <a:gd name="connsiteX184" fmla="*/ 2918475 w 11269336"/>
              <a:gd name="connsiteY184" fmla="*/ 2103937 h 2323145"/>
              <a:gd name="connsiteX185" fmla="*/ 2910360 w 11269336"/>
              <a:gd name="connsiteY185" fmla="*/ 2103444 h 2323145"/>
              <a:gd name="connsiteX186" fmla="*/ 2904507 w 11269336"/>
              <a:gd name="connsiteY186" fmla="*/ 2104326 h 2323145"/>
              <a:gd name="connsiteX187" fmla="*/ 2889503 w 11269336"/>
              <a:gd name="connsiteY187" fmla="*/ 2104443 h 2323145"/>
              <a:gd name="connsiteX188" fmla="*/ 2884480 w 11269336"/>
              <a:gd name="connsiteY188" fmla="*/ 2102626 h 2323145"/>
              <a:gd name="connsiteX189" fmla="*/ 2882689 w 11269336"/>
              <a:gd name="connsiteY189" fmla="*/ 2099228 h 2323145"/>
              <a:gd name="connsiteX190" fmla="*/ 2881291 w 11269336"/>
              <a:gd name="connsiteY190" fmla="*/ 2099618 h 2323145"/>
              <a:gd name="connsiteX191" fmla="*/ 2853979 w 11269336"/>
              <a:gd name="connsiteY191" fmla="*/ 2090388 h 2323145"/>
              <a:gd name="connsiteX192" fmla="*/ 2791790 w 11269336"/>
              <a:gd name="connsiteY192" fmla="*/ 2080332 h 2323145"/>
              <a:gd name="connsiteX193" fmla="*/ 2755844 w 11269336"/>
              <a:gd name="connsiteY193" fmla="*/ 2078874 h 2323145"/>
              <a:gd name="connsiteX194" fmla="*/ 2657742 w 11269336"/>
              <a:gd name="connsiteY194" fmla="*/ 2070179 h 2323145"/>
              <a:gd name="connsiteX195" fmla="*/ 2559549 w 11269336"/>
              <a:gd name="connsiteY195" fmla="*/ 2057873 h 2323145"/>
              <a:gd name="connsiteX196" fmla="*/ 2512054 w 11269336"/>
              <a:gd name="connsiteY196" fmla="*/ 2031671 h 2323145"/>
              <a:gd name="connsiteX197" fmla="*/ 2506437 w 11269336"/>
              <a:gd name="connsiteY197" fmla="*/ 2030918 h 2323145"/>
              <a:gd name="connsiteX198" fmla="*/ 2491752 w 11269336"/>
              <a:gd name="connsiteY198" fmla="*/ 2033906 h 2323145"/>
              <a:gd name="connsiteX199" fmla="*/ 2486338 w 11269336"/>
              <a:gd name="connsiteY199" fmla="*/ 2035862 h 2323145"/>
              <a:gd name="connsiteX200" fmla="*/ 2478186 w 11269336"/>
              <a:gd name="connsiteY200" fmla="*/ 2036953 h 2323145"/>
              <a:gd name="connsiteX201" fmla="*/ 2477950 w 11269336"/>
              <a:gd name="connsiteY201" fmla="*/ 2036715 h 2323145"/>
              <a:gd name="connsiteX202" fmla="*/ 2470381 w 11269336"/>
              <a:gd name="connsiteY202" fmla="*/ 2038256 h 2323145"/>
              <a:gd name="connsiteX203" fmla="*/ 2433781 w 11269336"/>
              <a:gd name="connsiteY203" fmla="*/ 2049140 h 2323145"/>
              <a:gd name="connsiteX204" fmla="*/ 2381172 w 11269336"/>
              <a:gd name="connsiteY204" fmla="*/ 2030645 h 2323145"/>
              <a:gd name="connsiteX205" fmla="*/ 2360198 w 11269336"/>
              <a:gd name="connsiteY205" fmla="*/ 2029059 h 2323145"/>
              <a:gd name="connsiteX206" fmla="*/ 2348815 w 11269336"/>
              <a:gd name="connsiteY206" fmla="*/ 2026798 h 2323145"/>
              <a:gd name="connsiteX207" fmla="*/ 2347988 w 11269336"/>
              <a:gd name="connsiteY207" fmla="*/ 2025745 h 2323145"/>
              <a:gd name="connsiteX208" fmla="*/ 2312920 w 11269336"/>
              <a:gd name="connsiteY208" fmla="*/ 2036311 h 2323145"/>
              <a:gd name="connsiteX209" fmla="*/ 2307986 w 11269336"/>
              <a:gd name="connsiteY209" fmla="*/ 2035583 h 2323145"/>
              <a:gd name="connsiteX210" fmla="*/ 2285481 w 11269336"/>
              <a:gd name="connsiteY210" fmla="*/ 2045197 h 2323145"/>
              <a:gd name="connsiteX211" fmla="*/ 2273666 w 11269336"/>
              <a:gd name="connsiteY211" fmla="*/ 2048710 h 2323145"/>
              <a:gd name="connsiteX212" fmla="*/ 2270719 w 11269336"/>
              <a:gd name="connsiteY212" fmla="*/ 2052702 h 2323145"/>
              <a:gd name="connsiteX213" fmla="*/ 2253080 w 11269336"/>
              <a:gd name="connsiteY213" fmla="*/ 2056363 h 2323145"/>
              <a:gd name="connsiteX214" fmla="*/ 2250906 w 11269336"/>
              <a:gd name="connsiteY214" fmla="*/ 2055654 h 2323145"/>
              <a:gd name="connsiteX215" fmla="*/ 2236905 w 11269336"/>
              <a:gd name="connsiteY215" fmla="*/ 2062882 h 2323145"/>
              <a:gd name="connsiteX216" fmla="*/ 2225830 w 11269336"/>
              <a:gd name="connsiteY216" fmla="*/ 2074027 h 2323145"/>
              <a:gd name="connsiteX217" fmla="*/ 2073776 w 11269336"/>
              <a:gd name="connsiteY217" fmla="*/ 2089244 h 2323145"/>
              <a:gd name="connsiteX218" fmla="*/ 1948256 w 11269336"/>
              <a:gd name="connsiteY218" fmla="*/ 2146616 h 2323145"/>
              <a:gd name="connsiteX219" fmla="*/ 1865582 w 11269336"/>
              <a:gd name="connsiteY219" fmla="*/ 2153738 h 2323145"/>
              <a:gd name="connsiteX220" fmla="*/ 1835210 w 11269336"/>
              <a:gd name="connsiteY220" fmla="*/ 2134244 h 2323145"/>
              <a:gd name="connsiteX221" fmla="*/ 1632661 w 11269336"/>
              <a:gd name="connsiteY221" fmla="*/ 2173882 h 2323145"/>
              <a:gd name="connsiteX222" fmla="*/ 1579590 w 11269336"/>
              <a:gd name="connsiteY222" fmla="*/ 2173680 h 2323145"/>
              <a:gd name="connsiteX223" fmla="*/ 1535601 w 11269336"/>
              <a:gd name="connsiteY223" fmla="*/ 2194590 h 2323145"/>
              <a:gd name="connsiteX224" fmla="*/ 1515594 w 11269336"/>
              <a:gd name="connsiteY224" fmla="*/ 2189622 h 2323145"/>
              <a:gd name="connsiteX225" fmla="*/ 1512113 w 11269336"/>
              <a:gd name="connsiteY225" fmla="*/ 2188534 h 2323145"/>
              <a:gd name="connsiteX226" fmla="*/ 1498838 w 11269336"/>
              <a:gd name="connsiteY226" fmla="*/ 2189213 h 2323145"/>
              <a:gd name="connsiteX227" fmla="*/ 1494279 w 11269336"/>
              <a:gd name="connsiteY227" fmla="*/ 2183112 h 2323145"/>
              <a:gd name="connsiteX228" fmla="*/ 1473714 w 11269336"/>
              <a:gd name="connsiteY228" fmla="*/ 2179625 h 2323145"/>
              <a:gd name="connsiteX229" fmla="*/ 1449503 w 11269336"/>
              <a:gd name="connsiteY229" fmla="*/ 2182633 h 2323145"/>
              <a:gd name="connsiteX230" fmla="*/ 1266687 w 11269336"/>
              <a:gd name="connsiteY230" fmla="*/ 2212688 h 2323145"/>
              <a:gd name="connsiteX231" fmla="*/ 1239614 w 11269336"/>
              <a:gd name="connsiteY231" fmla="*/ 2209727 h 2323145"/>
              <a:gd name="connsiteX232" fmla="*/ 1202436 w 11269336"/>
              <a:gd name="connsiteY232" fmla="*/ 2209817 h 2323145"/>
              <a:gd name="connsiteX233" fmla="*/ 1136097 w 11269336"/>
              <a:gd name="connsiteY233" fmla="*/ 2205112 h 2323145"/>
              <a:gd name="connsiteX234" fmla="*/ 988232 w 11269336"/>
              <a:gd name="connsiteY234" fmla="*/ 2235635 h 2323145"/>
              <a:gd name="connsiteX235" fmla="*/ 981959 w 11269336"/>
              <a:gd name="connsiteY235" fmla="*/ 2231607 h 2323145"/>
              <a:gd name="connsiteX236" fmla="*/ 938600 w 11269336"/>
              <a:gd name="connsiteY236" fmla="*/ 2238113 h 2323145"/>
              <a:gd name="connsiteX237" fmla="*/ 791788 w 11269336"/>
              <a:gd name="connsiteY237" fmla="*/ 2293224 h 2323145"/>
              <a:gd name="connsiteX238" fmla="*/ 706914 w 11269336"/>
              <a:gd name="connsiteY238" fmla="*/ 2305046 h 2323145"/>
              <a:gd name="connsiteX239" fmla="*/ 675971 w 11269336"/>
              <a:gd name="connsiteY239" fmla="*/ 2304030 h 2323145"/>
              <a:gd name="connsiteX240" fmla="*/ 624180 w 11269336"/>
              <a:gd name="connsiteY240" fmla="*/ 2302650 h 2323145"/>
              <a:gd name="connsiteX241" fmla="*/ 583453 w 11269336"/>
              <a:gd name="connsiteY241" fmla="*/ 2288788 h 2323145"/>
              <a:gd name="connsiteX242" fmla="*/ 540946 w 11269336"/>
              <a:gd name="connsiteY242" fmla="*/ 2292721 h 2323145"/>
              <a:gd name="connsiteX243" fmla="*/ 533680 w 11269336"/>
              <a:gd name="connsiteY243" fmla="*/ 2310233 h 2323145"/>
              <a:gd name="connsiteX244" fmla="*/ 487366 w 11269336"/>
              <a:gd name="connsiteY244" fmla="*/ 2309053 h 2323145"/>
              <a:gd name="connsiteX245" fmla="*/ 416820 w 11269336"/>
              <a:gd name="connsiteY245" fmla="*/ 2305443 h 2323145"/>
              <a:gd name="connsiteX246" fmla="*/ 376805 w 11269336"/>
              <a:gd name="connsiteY246" fmla="*/ 2307647 h 2323145"/>
              <a:gd name="connsiteX247" fmla="*/ 266777 w 11269336"/>
              <a:gd name="connsiteY247" fmla="*/ 2309012 h 2323145"/>
              <a:gd name="connsiteX248" fmla="*/ 156013 w 11269336"/>
              <a:gd name="connsiteY248" fmla="*/ 2306832 h 2323145"/>
              <a:gd name="connsiteX249" fmla="*/ 87258 w 11269336"/>
              <a:gd name="connsiteY249" fmla="*/ 2285511 h 2323145"/>
              <a:gd name="connsiteX250" fmla="*/ 23798 w 11269336"/>
              <a:gd name="connsiteY250" fmla="*/ 2281822 h 2323145"/>
              <a:gd name="connsiteX251" fmla="*/ 0 w 11269336"/>
              <a:gd name="connsiteY251" fmla="*/ 2285369 h 2323145"/>
              <a:gd name="connsiteX252" fmla="*/ 0 w 11269336"/>
              <a:gd name="connsiteY252" fmla="*/ 0 h 2323145"/>
              <a:gd name="connsiteX0" fmla="*/ 0 w 11269336"/>
              <a:gd name="connsiteY0" fmla="*/ 0 h 2323145"/>
              <a:gd name="connsiteX1" fmla="*/ 11269336 w 11269336"/>
              <a:gd name="connsiteY1" fmla="*/ 0 h 2323145"/>
              <a:gd name="connsiteX2" fmla="*/ 11268645 w 11269336"/>
              <a:gd name="connsiteY2" fmla="*/ 511 h 2323145"/>
              <a:gd name="connsiteX3" fmla="*/ 11230739 w 11269336"/>
              <a:gd name="connsiteY3" fmla="*/ 37096 h 2323145"/>
              <a:gd name="connsiteX4" fmla="*/ 11082485 w 11269336"/>
              <a:gd name="connsiteY4" fmla="*/ 78590 h 2323145"/>
              <a:gd name="connsiteX5" fmla="*/ 11031776 w 11269336"/>
              <a:gd name="connsiteY5" fmla="*/ 79197 h 2323145"/>
              <a:gd name="connsiteX6" fmla="*/ 10995894 w 11269336"/>
              <a:gd name="connsiteY6" fmla="*/ 83459 h 2323145"/>
              <a:gd name="connsiteX7" fmla="*/ 10861177 w 11269336"/>
              <a:gd name="connsiteY7" fmla="*/ 147419 h 2323145"/>
              <a:gd name="connsiteX8" fmla="*/ 10782732 w 11269336"/>
              <a:gd name="connsiteY8" fmla="*/ 135645 h 2323145"/>
              <a:gd name="connsiteX9" fmla="*/ 10660773 w 11269336"/>
              <a:gd name="connsiteY9" fmla="*/ 179312 h 2323145"/>
              <a:gd name="connsiteX10" fmla="*/ 10564442 w 11269336"/>
              <a:gd name="connsiteY10" fmla="*/ 160738 h 2323145"/>
              <a:gd name="connsiteX11" fmla="*/ 10490200 w 11269336"/>
              <a:gd name="connsiteY11" fmla="*/ 183533 h 2323145"/>
              <a:gd name="connsiteX12" fmla="*/ 10271351 w 11269336"/>
              <a:gd name="connsiteY12" fmla="*/ 243104 h 2323145"/>
              <a:gd name="connsiteX13" fmla="*/ 10061033 w 11269336"/>
              <a:gd name="connsiteY13" fmla="*/ 364937 h 2323145"/>
              <a:gd name="connsiteX14" fmla="*/ 9921770 w 11269336"/>
              <a:gd name="connsiteY14" fmla="*/ 406154 h 2323145"/>
              <a:gd name="connsiteX15" fmla="*/ 9858388 w 11269336"/>
              <a:gd name="connsiteY15" fmla="*/ 439489 h 2323145"/>
              <a:gd name="connsiteX16" fmla="*/ 9811914 w 11269336"/>
              <a:gd name="connsiteY16" fmla="*/ 449865 h 2323145"/>
              <a:gd name="connsiteX17" fmla="*/ 9784394 w 11269336"/>
              <a:gd name="connsiteY17" fmla="*/ 457816 h 2323145"/>
              <a:gd name="connsiteX18" fmla="*/ 9656836 w 11269336"/>
              <a:gd name="connsiteY18" fmla="*/ 469967 h 2323145"/>
              <a:gd name="connsiteX19" fmla="*/ 9561575 w 11269336"/>
              <a:gd name="connsiteY19" fmla="*/ 559978 h 2323145"/>
              <a:gd name="connsiteX20" fmla="*/ 9162278 w 11269336"/>
              <a:gd name="connsiteY20" fmla="*/ 704724 h 2323145"/>
              <a:gd name="connsiteX21" fmla="*/ 9062863 w 11269336"/>
              <a:gd name="connsiteY21" fmla="*/ 754656 h 2323145"/>
              <a:gd name="connsiteX22" fmla="*/ 8914746 w 11269336"/>
              <a:gd name="connsiteY22" fmla="*/ 826428 h 2323145"/>
              <a:gd name="connsiteX23" fmla="*/ 8917778 w 11269336"/>
              <a:gd name="connsiteY23" fmla="*/ 835198 h 2323145"/>
              <a:gd name="connsiteX24" fmla="*/ 8905560 w 11269336"/>
              <a:gd name="connsiteY24" fmla="*/ 838358 h 2323145"/>
              <a:gd name="connsiteX25" fmla="*/ 8897564 w 11269336"/>
              <a:gd name="connsiteY25" fmla="*/ 834287 h 2323145"/>
              <a:gd name="connsiteX26" fmla="*/ 8878040 w 11269336"/>
              <a:gd name="connsiteY26" fmla="*/ 844150 h 2323145"/>
              <a:gd name="connsiteX27" fmla="*/ 8795998 w 11269336"/>
              <a:gd name="connsiteY27" fmla="*/ 863337 h 2323145"/>
              <a:gd name="connsiteX28" fmla="*/ 8776970 w 11269336"/>
              <a:gd name="connsiteY28" fmla="*/ 885177 h 2323145"/>
              <a:gd name="connsiteX29" fmla="*/ 8755719 w 11269336"/>
              <a:gd name="connsiteY29" fmla="*/ 889754 h 2323145"/>
              <a:gd name="connsiteX30" fmla="*/ 8743257 w 11269336"/>
              <a:gd name="connsiteY30" fmla="*/ 904723 h 2323145"/>
              <a:gd name="connsiteX31" fmla="*/ 8721366 w 11269336"/>
              <a:gd name="connsiteY31" fmla="*/ 904711 h 2323145"/>
              <a:gd name="connsiteX32" fmla="*/ 8678353 w 11269336"/>
              <a:gd name="connsiteY32" fmla="*/ 926318 h 2323145"/>
              <a:gd name="connsiteX33" fmla="*/ 8636849 w 11269336"/>
              <a:gd name="connsiteY33" fmla="*/ 937900 h 2323145"/>
              <a:gd name="connsiteX34" fmla="*/ 8620213 w 11269336"/>
              <a:gd name="connsiteY34" fmla="*/ 943068 h 2323145"/>
              <a:gd name="connsiteX35" fmla="*/ 8612581 w 11269336"/>
              <a:gd name="connsiteY35" fmla="*/ 952695 h 2323145"/>
              <a:gd name="connsiteX36" fmla="*/ 8589038 w 11269336"/>
              <a:gd name="connsiteY36" fmla="*/ 963892 h 2323145"/>
              <a:gd name="connsiteX37" fmla="*/ 8579950 w 11269336"/>
              <a:gd name="connsiteY37" fmla="*/ 960899 h 2323145"/>
              <a:gd name="connsiteX38" fmla="*/ 8579319 w 11269336"/>
              <a:gd name="connsiteY38" fmla="*/ 965630 h 2323145"/>
              <a:gd name="connsiteX39" fmla="*/ 8547429 w 11269336"/>
              <a:gd name="connsiteY39" fmla="*/ 984506 h 2323145"/>
              <a:gd name="connsiteX40" fmla="*/ 8478704 w 11269336"/>
              <a:gd name="connsiteY40" fmla="*/ 1025490 h 2323145"/>
              <a:gd name="connsiteX41" fmla="*/ 8461421 w 11269336"/>
              <a:gd name="connsiteY41" fmla="*/ 1035512 h 2323145"/>
              <a:gd name="connsiteX42" fmla="*/ 8445003 w 11269336"/>
              <a:gd name="connsiteY42" fmla="*/ 1036851 h 2323145"/>
              <a:gd name="connsiteX43" fmla="*/ 8357350 w 11269336"/>
              <a:gd name="connsiteY43" fmla="*/ 1060213 h 2323145"/>
              <a:gd name="connsiteX44" fmla="*/ 8335565 w 11269336"/>
              <a:gd name="connsiteY44" fmla="*/ 1061151 h 2323145"/>
              <a:gd name="connsiteX45" fmla="*/ 8325267 w 11269336"/>
              <a:gd name="connsiteY45" fmla="*/ 1055919 h 2323145"/>
              <a:gd name="connsiteX46" fmla="*/ 8293586 w 11269336"/>
              <a:gd name="connsiteY46" fmla="*/ 1076144 h 2323145"/>
              <a:gd name="connsiteX47" fmla="*/ 8242405 w 11269336"/>
              <a:gd name="connsiteY47" fmla="*/ 1095960 h 2323145"/>
              <a:gd name="connsiteX48" fmla="*/ 8197391 w 11269336"/>
              <a:gd name="connsiteY48" fmla="*/ 1107746 h 2323145"/>
              <a:gd name="connsiteX49" fmla="*/ 8081474 w 11269336"/>
              <a:gd name="connsiteY49" fmla="*/ 1130125 h 2323145"/>
              <a:gd name="connsiteX50" fmla="*/ 8053585 w 11269336"/>
              <a:gd name="connsiteY50" fmla="*/ 1129169 h 2323145"/>
              <a:gd name="connsiteX51" fmla="*/ 8038422 w 11269336"/>
              <a:gd name="connsiteY51" fmla="*/ 1119092 h 2323145"/>
              <a:gd name="connsiteX52" fmla="*/ 8029450 w 11269336"/>
              <a:gd name="connsiteY52" fmla="*/ 1125592 h 2323145"/>
              <a:gd name="connsiteX53" fmla="*/ 7959552 w 11269336"/>
              <a:gd name="connsiteY53" fmla="*/ 1140188 h 2323145"/>
              <a:gd name="connsiteX54" fmla="*/ 7914188 w 11269336"/>
              <a:gd name="connsiteY54" fmla="*/ 1150862 h 2323145"/>
              <a:gd name="connsiteX55" fmla="*/ 7914918 w 11269336"/>
              <a:gd name="connsiteY55" fmla="*/ 1168758 h 2323145"/>
              <a:gd name="connsiteX56" fmla="*/ 7875510 w 11269336"/>
              <a:gd name="connsiteY56" fmla="*/ 1183153 h 2323145"/>
              <a:gd name="connsiteX57" fmla="*/ 7829932 w 11269336"/>
              <a:gd name="connsiteY57" fmla="*/ 1180782 h 2323145"/>
              <a:gd name="connsiteX58" fmla="*/ 7779182 w 11269336"/>
              <a:gd name="connsiteY58" fmla="*/ 1192665 h 2323145"/>
              <a:gd name="connsiteX59" fmla="*/ 7748774 w 11269336"/>
              <a:gd name="connsiteY59" fmla="*/ 1199586 h 2323145"/>
              <a:gd name="connsiteX60" fmla="*/ 7671846 w 11269336"/>
              <a:gd name="connsiteY60" fmla="*/ 1231966 h 2323145"/>
              <a:gd name="connsiteX61" fmla="*/ 7554146 w 11269336"/>
              <a:gd name="connsiteY61" fmla="*/ 1319748 h 2323145"/>
              <a:gd name="connsiteX62" fmla="*/ 7515052 w 11269336"/>
              <a:gd name="connsiteY62" fmla="*/ 1336718 h 2323145"/>
              <a:gd name="connsiteX63" fmla="*/ 7507193 w 11269336"/>
              <a:gd name="connsiteY63" fmla="*/ 1334617 h 2323145"/>
              <a:gd name="connsiteX64" fmla="*/ 7461694 w 11269336"/>
              <a:gd name="connsiteY64" fmla="*/ 1375866 h 2323145"/>
              <a:gd name="connsiteX65" fmla="*/ 7377571 w 11269336"/>
              <a:gd name="connsiteY65" fmla="*/ 1400128 h 2323145"/>
              <a:gd name="connsiteX66" fmla="*/ 7311261 w 11269336"/>
              <a:gd name="connsiteY66" fmla="*/ 1412652 h 2323145"/>
              <a:gd name="connsiteX67" fmla="*/ 7275307 w 11269336"/>
              <a:gd name="connsiteY67" fmla="*/ 1422171 h 2323145"/>
              <a:gd name="connsiteX68" fmla="*/ 7247783 w 11269336"/>
              <a:gd name="connsiteY68" fmla="*/ 1426330 h 2323145"/>
              <a:gd name="connsiteX69" fmla="*/ 7185047 w 11269336"/>
              <a:gd name="connsiteY69" fmla="*/ 1451812 h 2323145"/>
              <a:gd name="connsiteX70" fmla="*/ 7084117 w 11269336"/>
              <a:gd name="connsiteY70" fmla="*/ 1500281 h 2323145"/>
              <a:gd name="connsiteX71" fmla="*/ 7062011 w 11269336"/>
              <a:gd name="connsiteY71" fmla="*/ 1509183 h 2323145"/>
              <a:gd name="connsiteX72" fmla="*/ 7040555 w 11269336"/>
              <a:gd name="connsiteY72" fmla="*/ 1511207 h 2323145"/>
              <a:gd name="connsiteX73" fmla="*/ 7033438 w 11269336"/>
              <a:gd name="connsiteY73" fmla="*/ 1506772 h 2323145"/>
              <a:gd name="connsiteX74" fmla="*/ 7020886 w 11269336"/>
              <a:gd name="connsiteY74" fmla="*/ 1510764 h 2323145"/>
              <a:gd name="connsiteX75" fmla="*/ 7017033 w 11269336"/>
              <a:gd name="connsiteY75" fmla="*/ 1510650 h 2323145"/>
              <a:gd name="connsiteX76" fmla="*/ 6995460 w 11269336"/>
              <a:gd name="connsiteY76" fmla="*/ 1511173 h 2323145"/>
              <a:gd name="connsiteX77" fmla="*/ 6962144 w 11269336"/>
              <a:gd name="connsiteY77" fmla="*/ 1541508 h 2323145"/>
              <a:gd name="connsiteX78" fmla="*/ 6910674 w 11269336"/>
              <a:gd name="connsiteY78" fmla="*/ 1554793 h 2323145"/>
              <a:gd name="connsiteX79" fmla="*/ 6732152 w 11269336"/>
              <a:gd name="connsiteY79" fmla="*/ 1642538 h 2323145"/>
              <a:gd name="connsiteX80" fmla="*/ 6694106 w 11269336"/>
              <a:gd name="connsiteY80" fmla="*/ 1632377 h 2323145"/>
              <a:gd name="connsiteX81" fmla="*/ 6617223 w 11269336"/>
              <a:gd name="connsiteY81" fmla="*/ 1659889 h 2323145"/>
              <a:gd name="connsiteX82" fmla="*/ 6521138 w 11269336"/>
              <a:gd name="connsiteY82" fmla="*/ 1744340 h 2323145"/>
              <a:gd name="connsiteX83" fmla="*/ 6380677 w 11269336"/>
              <a:gd name="connsiteY83" fmla="*/ 1796883 h 2323145"/>
              <a:gd name="connsiteX84" fmla="*/ 6374897 w 11269336"/>
              <a:gd name="connsiteY84" fmla="*/ 1809910 h 2323145"/>
              <a:gd name="connsiteX85" fmla="*/ 6364545 w 11269336"/>
              <a:gd name="connsiteY85" fmla="*/ 1820090 h 2323145"/>
              <a:gd name="connsiteX86" fmla="*/ 6362126 w 11269336"/>
              <a:gd name="connsiteY86" fmla="*/ 1819991 h 2323145"/>
              <a:gd name="connsiteX87" fmla="*/ 6346673 w 11269336"/>
              <a:gd name="connsiteY87" fmla="*/ 1827824 h 2323145"/>
              <a:gd name="connsiteX88" fmla="*/ 6345588 w 11269336"/>
              <a:gd name="connsiteY88" fmla="*/ 1832232 h 2323145"/>
              <a:gd name="connsiteX89" fmla="*/ 6335708 w 11269336"/>
              <a:gd name="connsiteY89" fmla="*/ 1838451 h 2323145"/>
              <a:gd name="connsiteX90" fmla="*/ 6318182 w 11269336"/>
              <a:gd name="connsiteY90" fmla="*/ 1852975 h 2323145"/>
              <a:gd name="connsiteX91" fmla="*/ 6313084 w 11269336"/>
              <a:gd name="connsiteY91" fmla="*/ 1853561 h 2323145"/>
              <a:gd name="connsiteX92" fmla="*/ 6283816 w 11269336"/>
              <a:gd name="connsiteY92" fmla="*/ 1872148 h 2323145"/>
              <a:gd name="connsiteX93" fmla="*/ 6282550 w 11269336"/>
              <a:gd name="connsiteY93" fmla="*/ 1871392 h 2323145"/>
              <a:gd name="connsiteX94" fmla="*/ 6270527 w 11269336"/>
              <a:gd name="connsiteY94" fmla="*/ 1872208 h 2323145"/>
              <a:gd name="connsiteX95" fmla="*/ 6249518 w 11269336"/>
              <a:gd name="connsiteY95" fmla="*/ 1876079 h 2323145"/>
              <a:gd name="connsiteX96" fmla="*/ 6190386 w 11269336"/>
              <a:gd name="connsiteY96" fmla="*/ 1872478 h 2323145"/>
              <a:gd name="connsiteX97" fmla="*/ 6159777 w 11269336"/>
              <a:gd name="connsiteY97" fmla="*/ 1891745 h 2323145"/>
              <a:gd name="connsiteX98" fmla="*/ 6153131 w 11269336"/>
              <a:gd name="connsiteY98" fmla="*/ 1895079 h 2323145"/>
              <a:gd name="connsiteX99" fmla="*/ 6152798 w 11269336"/>
              <a:gd name="connsiteY99" fmla="*/ 1894920 h 2323145"/>
              <a:gd name="connsiteX100" fmla="*/ 6145388 w 11269336"/>
              <a:gd name="connsiteY100" fmla="*/ 1897990 h 2323145"/>
              <a:gd name="connsiteX101" fmla="*/ 6141014 w 11269336"/>
              <a:gd name="connsiteY101" fmla="*/ 1901155 h 2323145"/>
              <a:gd name="connsiteX102" fmla="*/ 6128122 w 11269336"/>
              <a:gd name="connsiteY102" fmla="*/ 1907623 h 2323145"/>
              <a:gd name="connsiteX103" fmla="*/ 6122351 w 11269336"/>
              <a:gd name="connsiteY103" fmla="*/ 1908359 h 2323145"/>
              <a:gd name="connsiteX104" fmla="*/ 6064750 w 11269336"/>
              <a:gd name="connsiteY104" fmla="*/ 1896394 h 2323145"/>
              <a:gd name="connsiteX105" fmla="*/ 5964230 w 11269336"/>
              <a:gd name="connsiteY105" fmla="*/ 1910038 h 2323145"/>
              <a:gd name="connsiteX106" fmla="*/ 5865399 w 11269336"/>
              <a:gd name="connsiteY106" fmla="*/ 1926966 h 2323145"/>
              <a:gd name="connsiteX107" fmla="*/ 5829951 w 11269336"/>
              <a:gd name="connsiteY107" fmla="*/ 1934755 h 2323145"/>
              <a:gd name="connsiteX108" fmla="*/ 5765285 w 11269336"/>
              <a:gd name="connsiteY108" fmla="*/ 1941322 h 2323145"/>
              <a:gd name="connsiteX109" fmla="*/ 5734750 w 11269336"/>
              <a:gd name="connsiteY109" fmla="*/ 1939793 h 2323145"/>
              <a:gd name="connsiteX110" fmla="*/ 5733569 w 11269336"/>
              <a:gd name="connsiteY110" fmla="*/ 1940505 h 2323145"/>
              <a:gd name="connsiteX111" fmla="*/ 5730329 w 11269336"/>
              <a:gd name="connsiteY111" fmla="*/ 1937845 h 2323145"/>
              <a:gd name="connsiteX112" fmla="*/ 5724661 w 11269336"/>
              <a:gd name="connsiteY112" fmla="*/ 1937455 h 2323145"/>
              <a:gd name="connsiteX113" fmla="*/ 5710186 w 11269336"/>
              <a:gd name="connsiteY113" fmla="*/ 1941370 h 2323145"/>
              <a:gd name="connsiteX114" fmla="*/ 5704910 w 11269336"/>
              <a:gd name="connsiteY114" fmla="*/ 1943663 h 2323145"/>
              <a:gd name="connsiteX115" fmla="*/ 5696836 w 11269336"/>
              <a:gd name="connsiteY115" fmla="*/ 1945271 h 2323145"/>
              <a:gd name="connsiteX116" fmla="*/ 5696583 w 11269336"/>
              <a:gd name="connsiteY116" fmla="*/ 1945050 h 2323145"/>
              <a:gd name="connsiteX117" fmla="*/ 5689123 w 11269336"/>
              <a:gd name="connsiteY117" fmla="*/ 1947067 h 2323145"/>
              <a:gd name="connsiteX118" fmla="*/ 5653291 w 11269336"/>
              <a:gd name="connsiteY118" fmla="*/ 1960245 h 2323145"/>
              <a:gd name="connsiteX119" fmla="*/ 5599385 w 11269336"/>
              <a:gd name="connsiteY119" fmla="*/ 1945198 h 2323145"/>
              <a:gd name="connsiteX120" fmla="*/ 5578300 w 11269336"/>
              <a:gd name="connsiteY120" fmla="*/ 1944963 h 2323145"/>
              <a:gd name="connsiteX121" fmla="*/ 5566758 w 11269336"/>
              <a:gd name="connsiteY121" fmla="*/ 1943441 h 2323145"/>
              <a:gd name="connsiteX122" fmla="*/ 5565857 w 11269336"/>
              <a:gd name="connsiteY122" fmla="*/ 1942445 h 2323145"/>
              <a:gd name="connsiteX123" fmla="*/ 5531534 w 11269336"/>
              <a:gd name="connsiteY123" fmla="*/ 1955208 h 2323145"/>
              <a:gd name="connsiteX124" fmla="*/ 5526552 w 11269336"/>
              <a:gd name="connsiteY124" fmla="*/ 1954799 h 2323145"/>
              <a:gd name="connsiteX125" fmla="*/ 5504723 w 11269336"/>
              <a:gd name="connsiteY125" fmla="*/ 1965811 h 2323145"/>
              <a:gd name="connsiteX126" fmla="*/ 5493156 w 11269336"/>
              <a:gd name="connsiteY126" fmla="*/ 1970063 h 2323145"/>
              <a:gd name="connsiteX127" fmla="*/ 5490486 w 11269336"/>
              <a:gd name="connsiteY127" fmla="*/ 1974227 h 2323145"/>
              <a:gd name="connsiteX128" fmla="*/ 5473107 w 11269336"/>
              <a:gd name="connsiteY128" fmla="*/ 1979001 h 2323145"/>
              <a:gd name="connsiteX129" fmla="*/ 5470885 w 11269336"/>
              <a:gd name="connsiteY129" fmla="*/ 1978432 h 2323145"/>
              <a:gd name="connsiteX130" fmla="*/ 5457393 w 11269336"/>
              <a:gd name="connsiteY130" fmla="*/ 1986525 h 2323145"/>
              <a:gd name="connsiteX131" fmla="*/ 5447102 w 11269336"/>
              <a:gd name="connsiteY131" fmla="*/ 1998329 h 2323145"/>
              <a:gd name="connsiteX132" fmla="*/ 5159151 w 11269336"/>
              <a:gd name="connsiteY132" fmla="*/ 2029640 h 2323145"/>
              <a:gd name="connsiteX133" fmla="*/ 5098838 w 11269336"/>
              <a:gd name="connsiteY133" fmla="*/ 2062961 h 2323145"/>
              <a:gd name="connsiteX134" fmla="*/ 4860988 w 11269336"/>
              <a:gd name="connsiteY134" fmla="*/ 2135698 h 2323145"/>
              <a:gd name="connsiteX135" fmla="*/ 4765388 w 11269336"/>
              <a:gd name="connsiteY135" fmla="*/ 2162525 h 2323145"/>
              <a:gd name="connsiteX136" fmla="*/ 4745033 w 11269336"/>
              <a:gd name="connsiteY136" fmla="*/ 2158859 h 2323145"/>
              <a:gd name="connsiteX137" fmla="*/ 4741475 w 11269336"/>
              <a:gd name="connsiteY137" fmla="*/ 2157998 h 2323145"/>
              <a:gd name="connsiteX138" fmla="*/ 4728247 w 11269336"/>
              <a:gd name="connsiteY138" fmla="*/ 2159526 h 2323145"/>
              <a:gd name="connsiteX139" fmla="*/ 4723263 w 11269336"/>
              <a:gd name="connsiteY139" fmla="*/ 2153742 h 2323145"/>
              <a:gd name="connsiteX140" fmla="*/ 4593061 w 11269336"/>
              <a:gd name="connsiteY140" fmla="*/ 2171597 h 2323145"/>
              <a:gd name="connsiteX141" fmla="*/ 4405765 w 11269336"/>
              <a:gd name="connsiteY141" fmla="*/ 2199902 h 2323145"/>
              <a:gd name="connsiteX142" fmla="*/ 4401354 w 11269336"/>
              <a:gd name="connsiteY142" fmla="*/ 2194745 h 2323145"/>
              <a:gd name="connsiteX143" fmla="*/ 4366646 w 11269336"/>
              <a:gd name="connsiteY143" fmla="*/ 2198564 h 2323145"/>
              <a:gd name="connsiteX144" fmla="*/ 4354009 w 11269336"/>
              <a:gd name="connsiteY144" fmla="*/ 2204984 h 2323145"/>
              <a:gd name="connsiteX145" fmla="*/ 4348284 w 11269336"/>
              <a:gd name="connsiteY145" fmla="*/ 2205270 h 2323145"/>
              <a:gd name="connsiteX146" fmla="*/ 4333906 w 11269336"/>
              <a:gd name="connsiteY146" fmla="*/ 2205251 h 2323145"/>
              <a:gd name="connsiteX147" fmla="*/ 4308819 w 11269336"/>
              <a:gd name="connsiteY147" fmla="*/ 2203822 h 2323145"/>
              <a:gd name="connsiteX148" fmla="*/ 4301210 w 11269336"/>
              <a:gd name="connsiteY148" fmla="*/ 2204456 h 2323145"/>
              <a:gd name="connsiteX149" fmla="*/ 4283095 w 11269336"/>
              <a:gd name="connsiteY149" fmla="*/ 2198177 h 2323145"/>
              <a:gd name="connsiteX150" fmla="*/ 4250119 w 11269336"/>
              <a:gd name="connsiteY150" fmla="*/ 2196342 h 2323145"/>
              <a:gd name="connsiteX151" fmla="*/ 4189203 w 11269336"/>
              <a:gd name="connsiteY151" fmla="*/ 2178994 h 2323145"/>
              <a:gd name="connsiteX152" fmla="*/ 4154035 w 11269336"/>
              <a:gd name="connsiteY152" fmla="*/ 2171950 h 2323145"/>
              <a:gd name="connsiteX153" fmla="*/ 4129569 w 11269336"/>
              <a:gd name="connsiteY153" fmla="*/ 2163850 h 2323145"/>
              <a:gd name="connsiteX154" fmla="*/ 4061250 w 11269336"/>
              <a:gd name="connsiteY154" fmla="*/ 2159236 h 2323145"/>
              <a:gd name="connsiteX155" fmla="*/ 3945480 w 11269336"/>
              <a:gd name="connsiteY155" fmla="*/ 2158279 h 2323145"/>
              <a:gd name="connsiteX156" fmla="*/ 3921468 w 11269336"/>
              <a:gd name="connsiteY156" fmla="*/ 2156588 h 2323145"/>
              <a:gd name="connsiteX157" fmla="*/ 3903348 w 11269336"/>
              <a:gd name="connsiteY157" fmla="*/ 2149220 h 2323145"/>
              <a:gd name="connsiteX158" fmla="*/ 3901342 w 11269336"/>
              <a:gd name="connsiteY158" fmla="*/ 2142355 h 2323145"/>
              <a:gd name="connsiteX159" fmla="*/ 3888539 w 11269336"/>
              <a:gd name="connsiteY159" fmla="*/ 2140476 h 2323145"/>
              <a:gd name="connsiteX160" fmla="*/ 3885662 w 11269336"/>
              <a:gd name="connsiteY160" fmla="*/ 2138740 h 2323145"/>
              <a:gd name="connsiteX161" fmla="*/ 3868627 w 11269336"/>
              <a:gd name="connsiteY161" fmla="*/ 2130023 h 2323145"/>
              <a:gd name="connsiteX162" fmla="*/ 3819177 w 11269336"/>
              <a:gd name="connsiteY162" fmla="*/ 2142111 h 2323145"/>
              <a:gd name="connsiteX163" fmla="*/ 3769100 w 11269336"/>
              <a:gd name="connsiteY163" fmla="*/ 2131731 h 2323145"/>
              <a:gd name="connsiteX164" fmla="*/ 3562752 w 11269336"/>
              <a:gd name="connsiteY164" fmla="*/ 2131785 h 2323145"/>
              <a:gd name="connsiteX165" fmla="*/ 3541402 w 11269336"/>
              <a:gd name="connsiteY165" fmla="*/ 2106821 h 2323145"/>
              <a:gd name="connsiteX166" fmla="*/ 3365341 w 11269336"/>
              <a:gd name="connsiteY166" fmla="*/ 2077638 h 2323145"/>
              <a:gd name="connsiteX167" fmla="*/ 3170922 w 11269336"/>
              <a:gd name="connsiteY167" fmla="*/ 2115957 h 2323145"/>
              <a:gd name="connsiteX168" fmla="*/ 3156256 w 11269336"/>
              <a:gd name="connsiteY168" fmla="*/ 2124773 h 2323145"/>
              <a:gd name="connsiteX169" fmla="*/ 3140298 w 11269336"/>
              <a:gd name="connsiteY169" fmla="*/ 2129182 h 2323145"/>
              <a:gd name="connsiteX170" fmla="*/ 3138514 w 11269336"/>
              <a:gd name="connsiteY170" fmla="*/ 2128069 h 2323145"/>
              <a:gd name="connsiteX171" fmla="*/ 3120467 w 11269336"/>
              <a:gd name="connsiteY171" fmla="*/ 2128281 h 2323145"/>
              <a:gd name="connsiteX172" fmla="*/ 3116175 w 11269336"/>
              <a:gd name="connsiteY172" fmla="*/ 2131633 h 2323145"/>
              <a:gd name="connsiteX173" fmla="*/ 3103685 w 11269336"/>
              <a:gd name="connsiteY173" fmla="*/ 2132814 h 2323145"/>
              <a:gd name="connsiteX174" fmla="*/ 3078794 w 11269336"/>
              <a:gd name="connsiteY174" fmla="*/ 2137935 h 2323145"/>
              <a:gd name="connsiteX175" fmla="*/ 3074407 w 11269336"/>
              <a:gd name="connsiteY175" fmla="*/ 2136274 h 2323145"/>
              <a:gd name="connsiteX176" fmla="*/ 3037285 w 11269336"/>
              <a:gd name="connsiteY176" fmla="*/ 2139919 h 2323145"/>
              <a:gd name="connsiteX177" fmla="*/ 3036901 w 11269336"/>
              <a:gd name="connsiteY177" fmla="*/ 2138726 h 2323145"/>
              <a:gd name="connsiteX178" fmla="*/ 3026996 w 11269336"/>
              <a:gd name="connsiteY178" fmla="*/ 2134322 h 2323145"/>
              <a:gd name="connsiteX179" fmla="*/ 3007772 w 11269336"/>
              <a:gd name="connsiteY179" fmla="*/ 2128742 h 2323145"/>
              <a:gd name="connsiteX180" fmla="*/ 2965030 w 11269336"/>
              <a:gd name="connsiteY180" fmla="*/ 2100494 h 2323145"/>
              <a:gd name="connsiteX181" fmla="*/ 2926342 w 11269336"/>
              <a:gd name="connsiteY181" fmla="*/ 2104155 h 2323145"/>
              <a:gd name="connsiteX182" fmla="*/ 2918608 w 11269336"/>
              <a:gd name="connsiteY182" fmla="*/ 2104215 h 2323145"/>
              <a:gd name="connsiteX183" fmla="*/ 2918475 w 11269336"/>
              <a:gd name="connsiteY183" fmla="*/ 2103937 h 2323145"/>
              <a:gd name="connsiteX184" fmla="*/ 2910360 w 11269336"/>
              <a:gd name="connsiteY184" fmla="*/ 2103444 h 2323145"/>
              <a:gd name="connsiteX185" fmla="*/ 2904507 w 11269336"/>
              <a:gd name="connsiteY185" fmla="*/ 2104326 h 2323145"/>
              <a:gd name="connsiteX186" fmla="*/ 2889503 w 11269336"/>
              <a:gd name="connsiteY186" fmla="*/ 2104443 h 2323145"/>
              <a:gd name="connsiteX187" fmla="*/ 2884480 w 11269336"/>
              <a:gd name="connsiteY187" fmla="*/ 2102626 h 2323145"/>
              <a:gd name="connsiteX188" fmla="*/ 2882689 w 11269336"/>
              <a:gd name="connsiteY188" fmla="*/ 2099228 h 2323145"/>
              <a:gd name="connsiteX189" fmla="*/ 2881291 w 11269336"/>
              <a:gd name="connsiteY189" fmla="*/ 2099618 h 2323145"/>
              <a:gd name="connsiteX190" fmla="*/ 2853979 w 11269336"/>
              <a:gd name="connsiteY190" fmla="*/ 2090388 h 2323145"/>
              <a:gd name="connsiteX191" fmla="*/ 2791790 w 11269336"/>
              <a:gd name="connsiteY191" fmla="*/ 2080332 h 2323145"/>
              <a:gd name="connsiteX192" fmla="*/ 2755844 w 11269336"/>
              <a:gd name="connsiteY192" fmla="*/ 2078874 h 2323145"/>
              <a:gd name="connsiteX193" fmla="*/ 2657742 w 11269336"/>
              <a:gd name="connsiteY193" fmla="*/ 2070179 h 2323145"/>
              <a:gd name="connsiteX194" fmla="*/ 2559549 w 11269336"/>
              <a:gd name="connsiteY194" fmla="*/ 2057873 h 2323145"/>
              <a:gd name="connsiteX195" fmla="*/ 2512054 w 11269336"/>
              <a:gd name="connsiteY195" fmla="*/ 2031671 h 2323145"/>
              <a:gd name="connsiteX196" fmla="*/ 2506437 w 11269336"/>
              <a:gd name="connsiteY196" fmla="*/ 2030918 h 2323145"/>
              <a:gd name="connsiteX197" fmla="*/ 2491752 w 11269336"/>
              <a:gd name="connsiteY197" fmla="*/ 2033906 h 2323145"/>
              <a:gd name="connsiteX198" fmla="*/ 2486338 w 11269336"/>
              <a:gd name="connsiteY198" fmla="*/ 2035862 h 2323145"/>
              <a:gd name="connsiteX199" fmla="*/ 2478186 w 11269336"/>
              <a:gd name="connsiteY199" fmla="*/ 2036953 h 2323145"/>
              <a:gd name="connsiteX200" fmla="*/ 2477950 w 11269336"/>
              <a:gd name="connsiteY200" fmla="*/ 2036715 h 2323145"/>
              <a:gd name="connsiteX201" fmla="*/ 2470381 w 11269336"/>
              <a:gd name="connsiteY201" fmla="*/ 2038256 h 2323145"/>
              <a:gd name="connsiteX202" fmla="*/ 2433781 w 11269336"/>
              <a:gd name="connsiteY202" fmla="*/ 2049140 h 2323145"/>
              <a:gd name="connsiteX203" fmla="*/ 2381172 w 11269336"/>
              <a:gd name="connsiteY203" fmla="*/ 2030645 h 2323145"/>
              <a:gd name="connsiteX204" fmla="*/ 2360198 w 11269336"/>
              <a:gd name="connsiteY204" fmla="*/ 2029059 h 2323145"/>
              <a:gd name="connsiteX205" fmla="*/ 2348815 w 11269336"/>
              <a:gd name="connsiteY205" fmla="*/ 2026798 h 2323145"/>
              <a:gd name="connsiteX206" fmla="*/ 2347988 w 11269336"/>
              <a:gd name="connsiteY206" fmla="*/ 2025745 h 2323145"/>
              <a:gd name="connsiteX207" fmla="*/ 2312920 w 11269336"/>
              <a:gd name="connsiteY207" fmla="*/ 2036311 h 2323145"/>
              <a:gd name="connsiteX208" fmla="*/ 2307986 w 11269336"/>
              <a:gd name="connsiteY208" fmla="*/ 2035583 h 2323145"/>
              <a:gd name="connsiteX209" fmla="*/ 2285481 w 11269336"/>
              <a:gd name="connsiteY209" fmla="*/ 2045197 h 2323145"/>
              <a:gd name="connsiteX210" fmla="*/ 2273666 w 11269336"/>
              <a:gd name="connsiteY210" fmla="*/ 2048710 h 2323145"/>
              <a:gd name="connsiteX211" fmla="*/ 2270719 w 11269336"/>
              <a:gd name="connsiteY211" fmla="*/ 2052702 h 2323145"/>
              <a:gd name="connsiteX212" fmla="*/ 2253080 w 11269336"/>
              <a:gd name="connsiteY212" fmla="*/ 2056363 h 2323145"/>
              <a:gd name="connsiteX213" fmla="*/ 2250906 w 11269336"/>
              <a:gd name="connsiteY213" fmla="*/ 2055654 h 2323145"/>
              <a:gd name="connsiteX214" fmla="*/ 2236905 w 11269336"/>
              <a:gd name="connsiteY214" fmla="*/ 2062882 h 2323145"/>
              <a:gd name="connsiteX215" fmla="*/ 2225830 w 11269336"/>
              <a:gd name="connsiteY215" fmla="*/ 2074027 h 2323145"/>
              <a:gd name="connsiteX216" fmla="*/ 2073776 w 11269336"/>
              <a:gd name="connsiteY216" fmla="*/ 2089244 h 2323145"/>
              <a:gd name="connsiteX217" fmla="*/ 1948256 w 11269336"/>
              <a:gd name="connsiteY217" fmla="*/ 2146616 h 2323145"/>
              <a:gd name="connsiteX218" fmla="*/ 1865582 w 11269336"/>
              <a:gd name="connsiteY218" fmla="*/ 2153738 h 2323145"/>
              <a:gd name="connsiteX219" fmla="*/ 1835210 w 11269336"/>
              <a:gd name="connsiteY219" fmla="*/ 2134244 h 2323145"/>
              <a:gd name="connsiteX220" fmla="*/ 1632661 w 11269336"/>
              <a:gd name="connsiteY220" fmla="*/ 2173882 h 2323145"/>
              <a:gd name="connsiteX221" fmla="*/ 1579590 w 11269336"/>
              <a:gd name="connsiteY221" fmla="*/ 2173680 h 2323145"/>
              <a:gd name="connsiteX222" fmla="*/ 1535601 w 11269336"/>
              <a:gd name="connsiteY222" fmla="*/ 2194590 h 2323145"/>
              <a:gd name="connsiteX223" fmla="*/ 1515594 w 11269336"/>
              <a:gd name="connsiteY223" fmla="*/ 2189622 h 2323145"/>
              <a:gd name="connsiteX224" fmla="*/ 1512113 w 11269336"/>
              <a:gd name="connsiteY224" fmla="*/ 2188534 h 2323145"/>
              <a:gd name="connsiteX225" fmla="*/ 1498838 w 11269336"/>
              <a:gd name="connsiteY225" fmla="*/ 2189213 h 2323145"/>
              <a:gd name="connsiteX226" fmla="*/ 1494279 w 11269336"/>
              <a:gd name="connsiteY226" fmla="*/ 2183112 h 2323145"/>
              <a:gd name="connsiteX227" fmla="*/ 1473714 w 11269336"/>
              <a:gd name="connsiteY227" fmla="*/ 2179625 h 2323145"/>
              <a:gd name="connsiteX228" fmla="*/ 1449503 w 11269336"/>
              <a:gd name="connsiteY228" fmla="*/ 2182633 h 2323145"/>
              <a:gd name="connsiteX229" fmla="*/ 1266687 w 11269336"/>
              <a:gd name="connsiteY229" fmla="*/ 2212688 h 2323145"/>
              <a:gd name="connsiteX230" fmla="*/ 1239614 w 11269336"/>
              <a:gd name="connsiteY230" fmla="*/ 2209727 h 2323145"/>
              <a:gd name="connsiteX231" fmla="*/ 1202436 w 11269336"/>
              <a:gd name="connsiteY231" fmla="*/ 2209817 h 2323145"/>
              <a:gd name="connsiteX232" fmla="*/ 1136097 w 11269336"/>
              <a:gd name="connsiteY232" fmla="*/ 2205112 h 2323145"/>
              <a:gd name="connsiteX233" fmla="*/ 988232 w 11269336"/>
              <a:gd name="connsiteY233" fmla="*/ 2235635 h 2323145"/>
              <a:gd name="connsiteX234" fmla="*/ 981959 w 11269336"/>
              <a:gd name="connsiteY234" fmla="*/ 2231607 h 2323145"/>
              <a:gd name="connsiteX235" fmla="*/ 938600 w 11269336"/>
              <a:gd name="connsiteY235" fmla="*/ 2238113 h 2323145"/>
              <a:gd name="connsiteX236" fmla="*/ 791788 w 11269336"/>
              <a:gd name="connsiteY236" fmla="*/ 2293224 h 2323145"/>
              <a:gd name="connsiteX237" fmla="*/ 706914 w 11269336"/>
              <a:gd name="connsiteY237" fmla="*/ 2305046 h 2323145"/>
              <a:gd name="connsiteX238" fmla="*/ 675971 w 11269336"/>
              <a:gd name="connsiteY238" fmla="*/ 2304030 h 2323145"/>
              <a:gd name="connsiteX239" fmla="*/ 624180 w 11269336"/>
              <a:gd name="connsiteY239" fmla="*/ 2302650 h 2323145"/>
              <a:gd name="connsiteX240" fmla="*/ 583453 w 11269336"/>
              <a:gd name="connsiteY240" fmla="*/ 2288788 h 2323145"/>
              <a:gd name="connsiteX241" fmla="*/ 540946 w 11269336"/>
              <a:gd name="connsiteY241" fmla="*/ 2292721 h 2323145"/>
              <a:gd name="connsiteX242" fmla="*/ 533680 w 11269336"/>
              <a:gd name="connsiteY242" fmla="*/ 2310233 h 2323145"/>
              <a:gd name="connsiteX243" fmla="*/ 487366 w 11269336"/>
              <a:gd name="connsiteY243" fmla="*/ 2309053 h 2323145"/>
              <a:gd name="connsiteX244" fmla="*/ 416820 w 11269336"/>
              <a:gd name="connsiteY244" fmla="*/ 2305443 h 2323145"/>
              <a:gd name="connsiteX245" fmla="*/ 376805 w 11269336"/>
              <a:gd name="connsiteY245" fmla="*/ 2307647 h 2323145"/>
              <a:gd name="connsiteX246" fmla="*/ 266777 w 11269336"/>
              <a:gd name="connsiteY246" fmla="*/ 2309012 h 2323145"/>
              <a:gd name="connsiteX247" fmla="*/ 156013 w 11269336"/>
              <a:gd name="connsiteY247" fmla="*/ 2306832 h 2323145"/>
              <a:gd name="connsiteX248" fmla="*/ 87258 w 11269336"/>
              <a:gd name="connsiteY248" fmla="*/ 2285511 h 2323145"/>
              <a:gd name="connsiteX249" fmla="*/ 23798 w 11269336"/>
              <a:gd name="connsiteY249" fmla="*/ 2281822 h 2323145"/>
              <a:gd name="connsiteX250" fmla="*/ 0 w 11269336"/>
              <a:gd name="connsiteY250" fmla="*/ 2285369 h 2323145"/>
              <a:gd name="connsiteX251" fmla="*/ 0 w 11269336"/>
              <a:gd name="connsiteY251" fmla="*/ 0 h 2323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</a:cxnLst>
            <a:rect l="l" t="t" r="r" b="b"/>
            <a:pathLst>
              <a:path w="11269336" h="2323145">
                <a:moveTo>
                  <a:pt x="0" y="0"/>
                </a:moveTo>
                <a:lnTo>
                  <a:pt x="11269336" y="0"/>
                </a:lnTo>
                <a:lnTo>
                  <a:pt x="11268645" y="511"/>
                </a:lnTo>
                <a:cubicBezTo>
                  <a:pt x="11257520" y="14091"/>
                  <a:pt x="11248967" y="32073"/>
                  <a:pt x="11230739" y="37096"/>
                </a:cubicBezTo>
                <a:cubicBezTo>
                  <a:pt x="11194283" y="47141"/>
                  <a:pt x="11124351" y="55013"/>
                  <a:pt x="11082485" y="78590"/>
                </a:cubicBezTo>
                <a:cubicBezTo>
                  <a:pt x="11064655" y="69818"/>
                  <a:pt x="11049588" y="97621"/>
                  <a:pt x="11031776" y="79197"/>
                </a:cubicBezTo>
                <a:cubicBezTo>
                  <a:pt x="11016683" y="85023"/>
                  <a:pt x="11009945" y="92832"/>
                  <a:pt x="10995894" y="83459"/>
                </a:cubicBezTo>
                <a:cubicBezTo>
                  <a:pt x="10971843" y="134740"/>
                  <a:pt x="10888992" y="106042"/>
                  <a:pt x="10861177" y="147419"/>
                </a:cubicBezTo>
                <a:cubicBezTo>
                  <a:pt x="10850370" y="129415"/>
                  <a:pt x="10807086" y="138624"/>
                  <a:pt x="10782732" y="135645"/>
                </a:cubicBezTo>
                <a:cubicBezTo>
                  <a:pt x="10869014" y="196205"/>
                  <a:pt x="10693356" y="147304"/>
                  <a:pt x="10660773" y="179312"/>
                </a:cubicBezTo>
                <a:cubicBezTo>
                  <a:pt x="10667385" y="121467"/>
                  <a:pt x="10595265" y="182241"/>
                  <a:pt x="10564442" y="160738"/>
                </a:cubicBezTo>
                <a:cubicBezTo>
                  <a:pt x="10544419" y="190949"/>
                  <a:pt x="10518436" y="167191"/>
                  <a:pt x="10490200" y="183533"/>
                </a:cubicBezTo>
                <a:cubicBezTo>
                  <a:pt x="10423905" y="202688"/>
                  <a:pt x="10362764" y="244779"/>
                  <a:pt x="10271351" y="243104"/>
                </a:cubicBezTo>
                <a:cubicBezTo>
                  <a:pt x="10247818" y="329775"/>
                  <a:pt x="10135674" y="303068"/>
                  <a:pt x="10061033" y="364937"/>
                </a:cubicBezTo>
                <a:cubicBezTo>
                  <a:pt x="10014289" y="383940"/>
                  <a:pt x="9930032" y="360289"/>
                  <a:pt x="9921770" y="406154"/>
                </a:cubicBezTo>
                <a:cubicBezTo>
                  <a:pt x="9894276" y="384665"/>
                  <a:pt x="9881945" y="430851"/>
                  <a:pt x="9858388" y="439489"/>
                </a:cubicBezTo>
                <a:cubicBezTo>
                  <a:pt x="9835642" y="426888"/>
                  <a:pt x="9828901" y="443125"/>
                  <a:pt x="9811914" y="449865"/>
                </a:cubicBezTo>
                <a:cubicBezTo>
                  <a:pt x="9801869" y="441287"/>
                  <a:pt x="9787055" y="444835"/>
                  <a:pt x="9784394" y="457816"/>
                </a:cubicBezTo>
                <a:cubicBezTo>
                  <a:pt x="9797169" y="483924"/>
                  <a:pt x="9656844" y="450179"/>
                  <a:pt x="9656836" y="469967"/>
                </a:cubicBezTo>
                <a:cubicBezTo>
                  <a:pt x="9589537" y="485301"/>
                  <a:pt x="9662097" y="527310"/>
                  <a:pt x="9561575" y="559978"/>
                </a:cubicBezTo>
                <a:cubicBezTo>
                  <a:pt x="9479149" y="599104"/>
                  <a:pt x="9215234" y="670585"/>
                  <a:pt x="9162278" y="704724"/>
                </a:cubicBezTo>
                <a:cubicBezTo>
                  <a:pt x="9173017" y="730567"/>
                  <a:pt x="9063215" y="727685"/>
                  <a:pt x="9062863" y="754656"/>
                </a:cubicBezTo>
                <a:cubicBezTo>
                  <a:pt x="9021608" y="774940"/>
                  <a:pt x="8924639" y="816390"/>
                  <a:pt x="8914746" y="826428"/>
                </a:cubicBezTo>
                <a:lnTo>
                  <a:pt x="8917778" y="835198"/>
                </a:lnTo>
                <a:lnTo>
                  <a:pt x="8905560" y="838358"/>
                </a:lnTo>
                <a:lnTo>
                  <a:pt x="8897564" y="834287"/>
                </a:lnTo>
                <a:lnTo>
                  <a:pt x="8878040" y="844150"/>
                </a:lnTo>
                <a:cubicBezTo>
                  <a:pt x="8861112" y="848992"/>
                  <a:pt x="8812843" y="856499"/>
                  <a:pt x="8795998" y="863337"/>
                </a:cubicBezTo>
                <a:cubicBezTo>
                  <a:pt x="8792888" y="873975"/>
                  <a:pt x="8786153" y="880792"/>
                  <a:pt x="8776970" y="885177"/>
                </a:cubicBezTo>
                <a:lnTo>
                  <a:pt x="8755719" y="889754"/>
                </a:lnTo>
                <a:lnTo>
                  <a:pt x="8743257" y="904723"/>
                </a:lnTo>
                <a:cubicBezTo>
                  <a:pt x="8737642" y="908108"/>
                  <a:pt x="8730651" y="908759"/>
                  <a:pt x="8721366" y="904711"/>
                </a:cubicBezTo>
                <a:cubicBezTo>
                  <a:pt x="8711895" y="915873"/>
                  <a:pt x="8676250" y="900745"/>
                  <a:pt x="8678353" y="926318"/>
                </a:cubicBezTo>
                <a:cubicBezTo>
                  <a:pt x="8658506" y="928813"/>
                  <a:pt x="8647569" y="933735"/>
                  <a:pt x="8636849" y="937900"/>
                </a:cubicBezTo>
                <a:lnTo>
                  <a:pt x="8620213" y="943068"/>
                </a:lnTo>
                <a:lnTo>
                  <a:pt x="8612581" y="952695"/>
                </a:lnTo>
                <a:cubicBezTo>
                  <a:pt x="8605836" y="959769"/>
                  <a:pt x="8598255" y="964412"/>
                  <a:pt x="8589038" y="963892"/>
                </a:cubicBezTo>
                <a:lnTo>
                  <a:pt x="8579950" y="960899"/>
                </a:lnTo>
                <a:cubicBezTo>
                  <a:pt x="8579740" y="962476"/>
                  <a:pt x="8579529" y="964053"/>
                  <a:pt x="8579319" y="965630"/>
                </a:cubicBezTo>
                <a:cubicBezTo>
                  <a:pt x="8579138" y="972972"/>
                  <a:pt x="8576531" y="980010"/>
                  <a:pt x="8547429" y="984506"/>
                </a:cubicBezTo>
                <a:cubicBezTo>
                  <a:pt x="8529238" y="1001725"/>
                  <a:pt x="8505565" y="1015840"/>
                  <a:pt x="8478704" y="1025490"/>
                </a:cubicBezTo>
                <a:cubicBezTo>
                  <a:pt x="8473109" y="1019545"/>
                  <a:pt x="8465819" y="1032194"/>
                  <a:pt x="8461421" y="1035512"/>
                </a:cubicBezTo>
                <a:cubicBezTo>
                  <a:pt x="8459739" y="1031087"/>
                  <a:pt x="8447663" y="1032074"/>
                  <a:pt x="8445003" y="1036851"/>
                </a:cubicBezTo>
                <a:cubicBezTo>
                  <a:pt x="8366593" y="1075951"/>
                  <a:pt x="8398773" y="1021402"/>
                  <a:pt x="8357350" y="1060213"/>
                </a:cubicBezTo>
                <a:cubicBezTo>
                  <a:pt x="8349366" y="1063843"/>
                  <a:pt x="8342208" y="1063367"/>
                  <a:pt x="8335565" y="1061151"/>
                </a:cubicBezTo>
                <a:lnTo>
                  <a:pt x="8325267" y="1055919"/>
                </a:lnTo>
                <a:lnTo>
                  <a:pt x="8293586" y="1076144"/>
                </a:lnTo>
                <a:cubicBezTo>
                  <a:pt x="8277595" y="1084193"/>
                  <a:pt x="8260401" y="1090863"/>
                  <a:pt x="8242405" y="1095960"/>
                </a:cubicBezTo>
                <a:cubicBezTo>
                  <a:pt x="8226373" y="1101227"/>
                  <a:pt x="8224213" y="1102052"/>
                  <a:pt x="8197391" y="1107746"/>
                </a:cubicBezTo>
                <a:cubicBezTo>
                  <a:pt x="8090266" y="1152133"/>
                  <a:pt x="8141491" y="1082372"/>
                  <a:pt x="8081474" y="1130125"/>
                </a:cubicBezTo>
                <a:cubicBezTo>
                  <a:pt x="8070634" y="1134173"/>
                  <a:pt x="8061619" y="1132810"/>
                  <a:pt x="8053585" y="1129169"/>
                </a:cubicBezTo>
                <a:lnTo>
                  <a:pt x="8038422" y="1119092"/>
                </a:lnTo>
                <a:lnTo>
                  <a:pt x="8029450" y="1125592"/>
                </a:lnTo>
                <a:cubicBezTo>
                  <a:pt x="7992226" y="1133484"/>
                  <a:pt x="7978616" y="1122765"/>
                  <a:pt x="7959552" y="1140188"/>
                </a:cubicBezTo>
                <a:cubicBezTo>
                  <a:pt x="7922008" y="1119572"/>
                  <a:pt x="7937737" y="1141786"/>
                  <a:pt x="7914188" y="1150862"/>
                </a:cubicBezTo>
                <a:cubicBezTo>
                  <a:pt x="7896037" y="1160155"/>
                  <a:pt x="7933463" y="1163411"/>
                  <a:pt x="7914918" y="1168758"/>
                </a:cubicBezTo>
                <a:cubicBezTo>
                  <a:pt x="7893102" y="1165887"/>
                  <a:pt x="7898453" y="1187420"/>
                  <a:pt x="7875510" y="1183153"/>
                </a:cubicBezTo>
                <a:cubicBezTo>
                  <a:pt x="7877354" y="1165743"/>
                  <a:pt x="7834286" y="1194789"/>
                  <a:pt x="7829932" y="1180782"/>
                </a:cubicBezTo>
                <a:cubicBezTo>
                  <a:pt x="7816047" y="1204874"/>
                  <a:pt x="7801901" y="1181513"/>
                  <a:pt x="7779182" y="1192665"/>
                </a:cubicBezTo>
                <a:cubicBezTo>
                  <a:pt x="7769446" y="1202686"/>
                  <a:pt x="7761564" y="1205661"/>
                  <a:pt x="7748774" y="1199586"/>
                </a:cubicBezTo>
                <a:cubicBezTo>
                  <a:pt x="7704339" y="1247771"/>
                  <a:pt x="7717626" y="1207638"/>
                  <a:pt x="7671846" y="1231966"/>
                </a:cubicBezTo>
                <a:cubicBezTo>
                  <a:pt x="7632956" y="1255682"/>
                  <a:pt x="7587383" y="1275180"/>
                  <a:pt x="7554146" y="1319748"/>
                </a:cubicBezTo>
                <a:cubicBezTo>
                  <a:pt x="7548775" y="1331557"/>
                  <a:pt x="7531272" y="1339155"/>
                  <a:pt x="7515052" y="1336718"/>
                </a:cubicBezTo>
                <a:cubicBezTo>
                  <a:pt x="7512260" y="1336298"/>
                  <a:pt x="7509613" y="1335590"/>
                  <a:pt x="7507193" y="1334617"/>
                </a:cubicBezTo>
                <a:cubicBezTo>
                  <a:pt x="7488273" y="1365207"/>
                  <a:pt x="7468925" y="1356298"/>
                  <a:pt x="7461694" y="1375866"/>
                </a:cubicBezTo>
                <a:cubicBezTo>
                  <a:pt x="7422434" y="1391917"/>
                  <a:pt x="7384603" y="1382819"/>
                  <a:pt x="7377571" y="1400128"/>
                </a:cubicBezTo>
                <a:cubicBezTo>
                  <a:pt x="7356236" y="1403926"/>
                  <a:pt x="7322509" y="1393138"/>
                  <a:pt x="7311261" y="1412652"/>
                </a:cubicBezTo>
                <a:cubicBezTo>
                  <a:pt x="7305349" y="1400071"/>
                  <a:pt x="7289966" y="1428039"/>
                  <a:pt x="7275307" y="1422171"/>
                </a:cubicBezTo>
                <a:cubicBezTo>
                  <a:pt x="7264529" y="1416601"/>
                  <a:pt x="7257348" y="1423786"/>
                  <a:pt x="7247783" y="1426330"/>
                </a:cubicBezTo>
                <a:cubicBezTo>
                  <a:pt x="7233839" y="1423056"/>
                  <a:pt x="7194363" y="1442037"/>
                  <a:pt x="7185047" y="1451812"/>
                </a:cubicBezTo>
                <a:cubicBezTo>
                  <a:pt x="7164447" y="1483396"/>
                  <a:pt x="7101577" y="1475742"/>
                  <a:pt x="7084117" y="1500281"/>
                </a:cubicBezTo>
                <a:cubicBezTo>
                  <a:pt x="7076899" y="1504821"/>
                  <a:pt x="7069494" y="1507565"/>
                  <a:pt x="7062011" y="1509183"/>
                </a:cubicBezTo>
                <a:lnTo>
                  <a:pt x="7040555" y="1511207"/>
                </a:lnTo>
                <a:lnTo>
                  <a:pt x="7033438" y="1506772"/>
                </a:lnTo>
                <a:lnTo>
                  <a:pt x="7020886" y="1510764"/>
                </a:lnTo>
                <a:lnTo>
                  <a:pt x="7017033" y="1510650"/>
                </a:lnTo>
                <a:lnTo>
                  <a:pt x="6995460" y="1511173"/>
                </a:lnTo>
                <a:cubicBezTo>
                  <a:pt x="7010208" y="1537643"/>
                  <a:pt x="6938512" y="1522467"/>
                  <a:pt x="6962144" y="1541508"/>
                </a:cubicBezTo>
                <a:cubicBezTo>
                  <a:pt x="6926351" y="1550586"/>
                  <a:pt x="6958236" y="1566326"/>
                  <a:pt x="6910674" y="1554793"/>
                </a:cubicBezTo>
                <a:cubicBezTo>
                  <a:pt x="6859225" y="1589274"/>
                  <a:pt x="6769015" y="1598548"/>
                  <a:pt x="6732152" y="1642538"/>
                </a:cubicBezTo>
                <a:cubicBezTo>
                  <a:pt x="6734901" y="1628031"/>
                  <a:pt x="6709146" y="1622413"/>
                  <a:pt x="6694106" y="1632377"/>
                </a:cubicBezTo>
                <a:cubicBezTo>
                  <a:pt x="6702628" y="1575914"/>
                  <a:pt x="6638899" y="1692862"/>
                  <a:pt x="6617223" y="1659889"/>
                </a:cubicBezTo>
                <a:cubicBezTo>
                  <a:pt x="6623246" y="1693349"/>
                  <a:pt x="6561228" y="1764690"/>
                  <a:pt x="6521138" y="1744340"/>
                </a:cubicBezTo>
                <a:cubicBezTo>
                  <a:pt x="6469831" y="1761656"/>
                  <a:pt x="6438109" y="1796731"/>
                  <a:pt x="6380677" y="1796883"/>
                </a:cubicBezTo>
                <a:cubicBezTo>
                  <a:pt x="6379865" y="1801686"/>
                  <a:pt x="6377810" y="1805986"/>
                  <a:pt x="6374897" y="1809910"/>
                </a:cubicBezTo>
                <a:lnTo>
                  <a:pt x="6364545" y="1820090"/>
                </a:lnTo>
                <a:lnTo>
                  <a:pt x="6362126" y="1819991"/>
                </a:lnTo>
                <a:cubicBezTo>
                  <a:pt x="6353055" y="1821720"/>
                  <a:pt x="6348796" y="1824537"/>
                  <a:pt x="6346673" y="1827824"/>
                </a:cubicBezTo>
                <a:lnTo>
                  <a:pt x="6345588" y="1832232"/>
                </a:lnTo>
                <a:lnTo>
                  <a:pt x="6335708" y="1838451"/>
                </a:lnTo>
                <a:lnTo>
                  <a:pt x="6318182" y="1852975"/>
                </a:lnTo>
                <a:lnTo>
                  <a:pt x="6313084" y="1853561"/>
                </a:lnTo>
                <a:lnTo>
                  <a:pt x="6283816" y="1872148"/>
                </a:lnTo>
                <a:lnTo>
                  <a:pt x="6282550" y="1871392"/>
                </a:lnTo>
                <a:cubicBezTo>
                  <a:pt x="6279041" y="1870121"/>
                  <a:pt x="6275192" y="1869982"/>
                  <a:pt x="6270527" y="1872208"/>
                </a:cubicBezTo>
                <a:cubicBezTo>
                  <a:pt x="6265029" y="1853962"/>
                  <a:pt x="6262790" y="1867903"/>
                  <a:pt x="6249518" y="1876079"/>
                </a:cubicBezTo>
                <a:cubicBezTo>
                  <a:pt x="6238019" y="1849564"/>
                  <a:pt x="6207959" y="1881750"/>
                  <a:pt x="6190386" y="1872478"/>
                </a:cubicBezTo>
                <a:cubicBezTo>
                  <a:pt x="6180893" y="1879083"/>
                  <a:pt x="6170646" y="1885584"/>
                  <a:pt x="6159777" y="1891745"/>
                </a:cubicBezTo>
                <a:lnTo>
                  <a:pt x="6153131" y="1895079"/>
                </a:lnTo>
                <a:lnTo>
                  <a:pt x="6152798" y="1894920"/>
                </a:lnTo>
                <a:cubicBezTo>
                  <a:pt x="6150925" y="1895166"/>
                  <a:pt x="6148578" y="1896082"/>
                  <a:pt x="6145388" y="1897990"/>
                </a:cubicBezTo>
                <a:lnTo>
                  <a:pt x="6141014" y="1901155"/>
                </a:lnTo>
                <a:lnTo>
                  <a:pt x="6128122" y="1907623"/>
                </a:lnTo>
                <a:lnTo>
                  <a:pt x="6122351" y="1908359"/>
                </a:lnTo>
                <a:cubicBezTo>
                  <a:pt x="6099508" y="1905910"/>
                  <a:pt x="6088334" y="1869006"/>
                  <a:pt x="6064750" y="1896394"/>
                </a:cubicBezTo>
                <a:cubicBezTo>
                  <a:pt x="6025977" y="1903785"/>
                  <a:pt x="5997095" y="1889190"/>
                  <a:pt x="5964230" y="1910038"/>
                </a:cubicBezTo>
                <a:cubicBezTo>
                  <a:pt x="5927910" y="1916874"/>
                  <a:pt x="5894873" y="1914928"/>
                  <a:pt x="5865399" y="1926966"/>
                </a:cubicBezTo>
                <a:cubicBezTo>
                  <a:pt x="5851644" y="1923038"/>
                  <a:pt x="5839380" y="1922808"/>
                  <a:pt x="5829951" y="1934755"/>
                </a:cubicBezTo>
                <a:cubicBezTo>
                  <a:pt x="5795498" y="1938369"/>
                  <a:pt x="5784532" y="1926246"/>
                  <a:pt x="5765285" y="1941322"/>
                </a:cubicBezTo>
                <a:cubicBezTo>
                  <a:pt x="5741789" y="1922874"/>
                  <a:pt x="5742385" y="1931607"/>
                  <a:pt x="5734750" y="1939793"/>
                </a:cubicBezTo>
                <a:lnTo>
                  <a:pt x="5733569" y="1940505"/>
                </a:lnTo>
                <a:lnTo>
                  <a:pt x="5730329" y="1937845"/>
                </a:lnTo>
                <a:lnTo>
                  <a:pt x="5724661" y="1937455"/>
                </a:lnTo>
                <a:lnTo>
                  <a:pt x="5710186" y="1941370"/>
                </a:lnTo>
                <a:lnTo>
                  <a:pt x="5704910" y="1943663"/>
                </a:lnTo>
                <a:cubicBezTo>
                  <a:pt x="5701213" y="1944937"/>
                  <a:pt x="5698678" y="1945391"/>
                  <a:pt x="5696836" y="1945271"/>
                </a:cubicBezTo>
                <a:lnTo>
                  <a:pt x="5696583" y="1945050"/>
                </a:lnTo>
                <a:lnTo>
                  <a:pt x="5689123" y="1947067"/>
                </a:lnTo>
                <a:cubicBezTo>
                  <a:pt x="5676655" y="1951072"/>
                  <a:pt x="5664639" y="1955533"/>
                  <a:pt x="5653291" y="1960245"/>
                </a:cubicBezTo>
                <a:cubicBezTo>
                  <a:pt x="5640346" y="1947636"/>
                  <a:pt x="5600180" y="1973739"/>
                  <a:pt x="5599385" y="1945198"/>
                </a:cubicBezTo>
                <a:cubicBezTo>
                  <a:pt x="5583913" y="1950736"/>
                  <a:pt x="5576590" y="1964134"/>
                  <a:pt x="5578300" y="1944963"/>
                </a:cubicBezTo>
                <a:cubicBezTo>
                  <a:pt x="5573104" y="1946266"/>
                  <a:pt x="5569560" y="1945382"/>
                  <a:pt x="5566758" y="1943441"/>
                </a:cubicBezTo>
                <a:lnTo>
                  <a:pt x="5565857" y="1942445"/>
                </a:lnTo>
                <a:lnTo>
                  <a:pt x="5531534" y="1955208"/>
                </a:lnTo>
                <a:lnTo>
                  <a:pt x="5526552" y="1954799"/>
                </a:lnTo>
                <a:lnTo>
                  <a:pt x="5504723" y="1965811"/>
                </a:lnTo>
                <a:lnTo>
                  <a:pt x="5493156" y="1970063"/>
                </a:lnTo>
                <a:lnTo>
                  <a:pt x="5490486" y="1974227"/>
                </a:lnTo>
                <a:cubicBezTo>
                  <a:pt x="5487271" y="1977077"/>
                  <a:pt x="5482233" y="1979045"/>
                  <a:pt x="5473107" y="1979001"/>
                </a:cubicBezTo>
                <a:lnTo>
                  <a:pt x="5470885" y="1978432"/>
                </a:lnTo>
                <a:lnTo>
                  <a:pt x="5457393" y="1986525"/>
                </a:lnTo>
                <a:cubicBezTo>
                  <a:pt x="5453194" y="1989853"/>
                  <a:pt x="5449663" y="1993721"/>
                  <a:pt x="5447102" y="1998329"/>
                </a:cubicBezTo>
                <a:cubicBezTo>
                  <a:pt x="5386283" y="2017364"/>
                  <a:pt x="5223545" y="2015483"/>
                  <a:pt x="5159151" y="2029640"/>
                </a:cubicBezTo>
                <a:cubicBezTo>
                  <a:pt x="5141359" y="2036610"/>
                  <a:pt x="5090827" y="2076822"/>
                  <a:pt x="5098838" y="2062961"/>
                </a:cubicBezTo>
                <a:cubicBezTo>
                  <a:pt x="5047883" y="2099457"/>
                  <a:pt x="4922007" y="2111466"/>
                  <a:pt x="4860988" y="2135698"/>
                </a:cubicBezTo>
                <a:cubicBezTo>
                  <a:pt x="4805413" y="2152292"/>
                  <a:pt x="4784714" y="2158665"/>
                  <a:pt x="4765388" y="2162525"/>
                </a:cubicBezTo>
                <a:cubicBezTo>
                  <a:pt x="4758560" y="2161978"/>
                  <a:pt x="4751823" y="2160531"/>
                  <a:pt x="4745033" y="2158859"/>
                </a:cubicBezTo>
                <a:lnTo>
                  <a:pt x="4741475" y="2157998"/>
                </a:lnTo>
                <a:lnTo>
                  <a:pt x="4728247" y="2159526"/>
                </a:lnTo>
                <a:lnTo>
                  <a:pt x="4723263" y="2153742"/>
                </a:lnTo>
                <a:lnTo>
                  <a:pt x="4593061" y="2171597"/>
                </a:lnTo>
                <a:lnTo>
                  <a:pt x="4405765" y="2199902"/>
                </a:lnTo>
                <a:cubicBezTo>
                  <a:pt x="4403942" y="2198353"/>
                  <a:pt x="4402457" y="2196614"/>
                  <a:pt x="4401354" y="2194745"/>
                </a:cubicBezTo>
                <a:lnTo>
                  <a:pt x="4366646" y="2198564"/>
                </a:lnTo>
                <a:lnTo>
                  <a:pt x="4354009" y="2204984"/>
                </a:lnTo>
                <a:lnTo>
                  <a:pt x="4348284" y="2205270"/>
                </a:lnTo>
                <a:lnTo>
                  <a:pt x="4333906" y="2205251"/>
                </a:lnTo>
                <a:cubicBezTo>
                  <a:pt x="4326429" y="2204713"/>
                  <a:pt x="4318024" y="2203940"/>
                  <a:pt x="4308819" y="2203822"/>
                </a:cubicBezTo>
                <a:lnTo>
                  <a:pt x="4301210" y="2204456"/>
                </a:lnTo>
                <a:lnTo>
                  <a:pt x="4283095" y="2198177"/>
                </a:lnTo>
                <a:cubicBezTo>
                  <a:pt x="4269863" y="2193337"/>
                  <a:pt x="4259612" y="2190345"/>
                  <a:pt x="4250119" y="2196342"/>
                </a:cubicBezTo>
                <a:cubicBezTo>
                  <a:pt x="4230702" y="2190559"/>
                  <a:pt x="4213171" y="2166890"/>
                  <a:pt x="4189203" y="2178994"/>
                </a:cubicBezTo>
                <a:cubicBezTo>
                  <a:pt x="4194512" y="2165594"/>
                  <a:pt x="4160734" y="2183257"/>
                  <a:pt x="4154035" y="2171950"/>
                </a:cubicBezTo>
                <a:cubicBezTo>
                  <a:pt x="4150098" y="2162547"/>
                  <a:pt x="4138934" y="2165714"/>
                  <a:pt x="4129569" y="2163850"/>
                </a:cubicBezTo>
                <a:cubicBezTo>
                  <a:pt x="4121391" y="2155090"/>
                  <a:pt x="4076089" y="2154737"/>
                  <a:pt x="4061250" y="2159236"/>
                </a:cubicBezTo>
                <a:cubicBezTo>
                  <a:pt x="4020618" y="2177811"/>
                  <a:pt x="3978175" y="2144465"/>
                  <a:pt x="3945480" y="2158279"/>
                </a:cubicBezTo>
                <a:cubicBezTo>
                  <a:pt x="3936362" y="2159139"/>
                  <a:pt x="3928502" y="2158369"/>
                  <a:pt x="3921468" y="2156588"/>
                </a:cubicBezTo>
                <a:lnTo>
                  <a:pt x="3903348" y="2149220"/>
                </a:lnTo>
                <a:lnTo>
                  <a:pt x="3901342" y="2142355"/>
                </a:lnTo>
                <a:lnTo>
                  <a:pt x="3888539" y="2140476"/>
                </a:lnTo>
                <a:lnTo>
                  <a:pt x="3885662" y="2138740"/>
                </a:lnTo>
                <a:cubicBezTo>
                  <a:pt x="3880178" y="2135398"/>
                  <a:pt x="3874645" y="2132286"/>
                  <a:pt x="3868627" y="2130023"/>
                </a:cubicBezTo>
                <a:cubicBezTo>
                  <a:pt x="3859240" y="2159198"/>
                  <a:pt x="3815892" y="2115590"/>
                  <a:pt x="3819177" y="2142111"/>
                </a:cubicBezTo>
                <a:cubicBezTo>
                  <a:pt x="3784478" y="2134756"/>
                  <a:pt x="3796708" y="2161930"/>
                  <a:pt x="3769100" y="2131731"/>
                </a:cubicBezTo>
                <a:cubicBezTo>
                  <a:pt x="3702423" y="2139704"/>
                  <a:pt x="3625642" y="2109386"/>
                  <a:pt x="3562752" y="2131785"/>
                </a:cubicBezTo>
                <a:cubicBezTo>
                  <a:pt x="3576244" y="2120400"/>
                  <a:pt x="3560801" y="2104591"/>
                  <a:pt x="3541402" y="2106821"/>
                </a:cubicBezTo>
                <a:cubicBezTo>
                  <a:pt x="3592232" y="2061584"/>
                  <a:pt x="3356194" y="2115384"/>
                  <a:pt x="3365341" y="2077638"/>
                </a:cubicBezTo>
                <a:cubicBezTo>
                  <a:pt x="3303594" y="2079161"/>
                  <a:pt x="3221644" y="2111487"/>
                  <a:pt x="3170922" y="2115957"/>
                </a:cubicBezTo>
                <a:cubicBezTo>
                  <a:pt x="3166532" y="2119769"/>
                  <a:pt x="3161579" y="2122617"/>
                  <a:pt x="3156256" y="2124773"/>
                </a:cubicBezTo>
                <a:lnTo>
                  <a:pt x="3140298" y="2129182"/>
                </a:lnTo>
                <a:lnTo>
                  <a:pt x="3138514" y="2128069"/>
                </a:lnTo>
                <a:cubicBezTo>
                  <a:pt x="3130169" y="2125710"/>
                  <a:pt x="3124679" y="2126336"/>
                  <a:pt x="3120467" y="2128281"/>
                </a:cubicBezTo>
                <a:lnTo>
                  <a:pt x="3116175" y="2131633"/>
                </a:lnTo>
                <a:lnTo>
                  <a:pt x="3103685" y="2132814"/>
                </a:lnTo>
                <a:lnTo>
                  <a:pt x="3078794" y="2137935"/>
                </a:lnTo>
                <a:lnTo>
                  <a:pt x="3074407" y="2136274"/>
                </a:lnTo>
                <a:lnTo>
                  <a:pt x="3037285" y="2139919"/>
                </a:lnTo>
                <a:lnTo>
                  <a:pt x="3036901" y="2138726"/>
                </a:lnTo>
                <a:cubicBezTo>
                  <a:pt x="3035193" y="2136135"/>
                  <a:pt x="3032337" y="2134379"/>
                  <a:pt x="3026996" y="2134322"/>
                </a:cubicBezTo>
                <a:cubicBezTo>
                  <a:pt x="3037063" y="2116196"/>
                  <a:pt x="3024412" y="2127308"/>
                  <a:pt x="3007772" y="2128742"/>
                </a:cubicBezTo>
                <a:cubicBezTo>
                  <a:pt x="3019697" y="2100910"/>
                  <a:pt x="2971305" y="2115987"/>
                  <a:pt x="2965030" y="2100494"/>
                </a:cubicBezTo>
                <a:cubicBezTo>
                  <a:pt x="2952539" y="2102174"/>
                  <a:pt x="2939545" y="2103445"/>
                  <a:pt x="2926342" y="2104155"/>
                </a:cubicBezTo>
                <a:lnTo>
                  <a:pt x="2918608" y="2104215"/>
                </a:lnTo>
                <a:cubicBezTo>
                  <a:pt x="2918564" y="2104122"/>
                  <a:pt x="2918519" y="2104030"/>
                  <a:pt x="2918475" y="2103937"/>
                </a:cubicBezTo>
                <a:cubicBezTo>
                  <a:pt x="2916840" y="2103354"/>
                  <a:pt x="2914314" y="2103149"/>
                  <a:pt x="2910360" y="2103444"/>
                </a:cubicBezTo>
                <a:lnTo>
                  <a:pt x="2904507" y="2104326"/>
                </a:lnTo>
                <a:lnTo>
                  <a:pt x="2889503" y="2104443"/>
                </a:lnTo>
                <a:lnTo>
                  <a:pt x="2884480" y="2102626"/>
                </a:lnTo>
                <a:lnTo>
                  <a:pt x="2882689" y="2099228"/>
                </a:lnTo>
                <a:lnTo>
                  <a:pt x="2881291" y="2099618"/>
                </a:lnTo>
                <a:cubicBezTo>
                  <a:pt x="2870663" y="2105606"/>
                  <a:pt x="2867338" y="2114210"/>
                  <a:pt x="2853979" y="2090388"/>
                </a:cubicBezTo>
                <a:cubicBezTo>
                  <a:pt x="2829652" y="2100099"/>
                  <a:pt x="2824975" y="2085577"/>
                  <a:pt x="2791790" y="2080332"/>
                </a:cubicBezTo>
                <a:cubicBezTo>
                  <a:pt x="2777850" y="2089504"/>
                  <a:pt x="2766709" y="2086170"/>
                  <a:pt x="2755844" y="2078874"/>
                </a:cubicBezTo>
                <a:cubicBezTo>
                  <a:pt x="2723488" y="2083049"/>
                  <a:pt x="2694065" y="2072780"/>
                  <a:pt x="2657742" y="2070179"/>
                </a:cubicBezTo>
                <a:cubicBezTo>
                  <a:pt x="2618372" y="2082020"/>
                  <a:pt x="2598368" y="2060559"/>
                  <a:pt x="2559549" y="2057873"/>
                </a:cubicBezTo>
                <a:cubicBezTo>
                  <a:pt x="2525789" y="2078403"/>
                  <a:pt x="2531908" y="2039838"/>
                  <a:pt x="2512054" y="2031671"/>
                </a:cubicBezTo>
                <a:lnTo>
                  <a:pt x="2506437" y="2030918"/>
                </a:lnTo>
                <a:lnTo>
                  <a:pt x="2491752" y="2033906"/>
                </a:lnTo>
                <a:lnTo>
                  <a:pt x="2486338" y="2035862"/>
                </a:lnTo>
                <a:cubicBezTo>
                  <a:pt x="2482568" y="2036899"/>
                  <a:pt x="2480011" y="2037191"/>
                  <a:pt x="2478186" y="2036953"/>
                </a:cubicBezTo>
                <a:lnTo>
                  <a:pt x="2477950" y="2036715"/>
                </a:lnTo>
                <a:lnTo>
                  <a:pt x="2470381" y="2038256"/>
                </a:lnTo>
                <a:cubicBezTo>
                  <a:pt x="2457686" y="2041461"/>
                  <a:pt x="2445410" y="2045155"/>
                  <a:pt x="2433781" y="2049140"/>
                </a:cubicBezTo>
                <a:cubicBezTo>
                  <a:pt x="2421781" y="2035703"/>
                  <a:pt x="2379959" y="2059234"/>
                  <a:pt x="2381172" y="2030645"/>
                </a:cubicBezTo>
                <a:cubicBezTo>
                  <a:pt x="2365380" y="2035192"/>
                  <a:pt x="2357148" y="2048120"/>
                  <a:pt x="2360198" y="2029059"/>
                </a:cubicBezTo>
                <a:cubicBezTo>
                  <a:pt x="2354933" y="2030031"/>
                  <a:pt x="2351467" y="2028919"/>
                  <a:pt x="2348815" y="2026798"/>
                </a:cubicBezTo>
                <a:lnTo>
                  <a:pt x="2347988" y="2025745"/>
                </a:lnTo>
                <a:lnTo>
                  <a:pt x="2312920" y="2036311"/>
                </a:lnTo>
                <a:lnTo>
                  <a:pt x="2307986" y="2035583"/>
                </a:lnTo>
                <a:lnTo>
                  <a:pt x="2285481" y="2045197"/>
                </a:lnTo>
                <a:lnTo>
                  <a:pt x="2273666" y="2048710"/>
                </a:lnTo>
                <a:lnTo>
                  <a:pt x="2270719" y="2052702"/>
                </a:lnTo>
                <a:cubicBezTo>
                  <a:pt x="2267315" y="2055347"/>
                  <a:pt x="2262161" y="2056992"/>
                  <a:pt x="2253080" y="2056363"/>
                </a:cubicBezTo>
                <a:lnTo>
                  <a:pt x="2250906" y="2055654"/>
                </a:lnTo>
                <a:lnTo>
                  <a:pt x="2236905" y="2062882"/>
                </a:lnTo>
                <a:cubicBezTo>
                  <a:pt x="2232493" y="2065942"/>
                  <a:pt x="2228705" y="2069583"/>
                  <a:pt x="2225830" y="2074027"/>
                </a:cubicBezTo>
                <a:cubicBezTo>
                  <a:pt x="2173117" y="2059597"/>
                  <a:pt x="2128486" y="2085502"/>
                  <a:pt x="2073776" y="2089244"/>
                </a:cubicBezTo>
                <a:cubicBezTo>
                  <a:pt x="2046050" y="2059365"/>
                  <a:pt x="1957570" y="2112693"/>
                  <a:pt x="1948256" y="2146616"/>
                </a:cubicBezTo>
                <a:cubicBezTo>
                  <a:pt x="1943005" y="2109192"/>
                  <a:pt x="1832736" y="2206239"/>
                  <a:pt x="1865582" y="2153738"/>
                </a:cubicBezTo>
                <a:cubicBezTo>
                  <a:pt x="1847376" y="2159567"/>
                  <a:pt x="1826258" y="2147592"/>
                  <a:pt x="1835210" y="2134244"/>
                </a:cubicBezTo>
                <a:cubicBezTo>
                  <a:pt x="1781916" y="2167476"/>
                  <a:pt x="1695112" y="2153556"/>
                  <a:pt x="1632661" y="2173882"/>
                </a:cubicBezTo>
                <a:cubicBezTo>
                  <a:pt x="1594177" y="2150642"/>
                  <a:pt x="1616426" y="2173975"/>
                  <a:pt x="1579590" y="2173680"/>
                </a:cubicBezTo>
                <a:cubicBezTo>
                  <a:pt x="1592812" y="2198112"/>
                  <a:pt x="1533818" y="2165220"/>
                  <a:pt x="1535601" y="2194590"/>
                </a:cubicBezTo>
                <a:cubicBezTo>
                  <a:pt x="1528840" y="2193608"/>
                  <a:pt x="1522236" y="2191728"/>
                  <a:pt x="1515594" y="2189622"/>
                </a:cubicBezTo>
                <a:lnTo>
                  <a:pt x="1512113" y="2188534"/>
                </a:lnTo>
                <a:lnTo>
                  <a:pt x="1498838" y="2189213"/>
                </a:lnTo>
                <a:lnTo>
                  <a:pt x="1494279" y="2183112"/>
                </a:lnTo>
                <a:lnTo>
                  <a:pt x="1473714" y="2179625"/>
                </a:lnTo>
                <a:cubicBezTo>
                  <a:pt x="1466138" y="2179292"/>
                  <a:pt x="1458132" y="2180071"/>
                  <a:pt x="1449503" y="2182633"/>
                </a:cubicBezTo>
                <a:lnTo>
                  <a:pt x="1266687" y="2212688"/>
                </a:lnTo>
                <a:cubicBezTo>
                  <a:pt x="1256792" y="2212722"/>
                  <a:pt x="1247024" y="2217857"/>
                  <a:pt x="1239614" y="2209727"/>
                </a:cubicBezTo>
                <a:cubicBezTo>
                  <a:pt x="1228778" y="2200326"/>
                  <a:pt x="1202276" y="2223497"/>
                  <a:pt x="1202436" y="2209817"/>
                </a:cubicBezTo>
                <a:cubicBezTo>
                  <a:pt x="1183471" y="2225854"/>
                  <a:pt x="1157340" y="2206849"/>
                  <a:pt x="1136097" y="2205112"/>
                </a:cubicBezTo>
                <a:cubicBezTo>
                  <a:pt x="1100396" y="2209415"/>
                  <a:pt x="1013922" y="2231219"/>
                  <a:pt x="988232" y="2235635"/>
                </a:cubicBezTo>
                <a:cubicBezTo>
                  <a:pt x="986445" y="2234079"/>
                  <a:pt x="984332" y="2232722"/>
                  <a:pt x="981959" y="2231607"/>
                </a:cubicBezTo>
                <a:cubicBezTo>
                  <a:pt x="968170" y="2225130"/>
                  <a:pt x="948759" y="2228043"/>
                  <a:pt x="938600" y="2238113"/>
                </a:cubicBezTo>
                <a:cubicBezTo>
                  <a:pt x="888371" y="2272824"/>
                  <a:pt x="837950" y="2280135"/>
                  <a:pt x="791788" y="2293224"/>
                </a:cubicBezTo>
                <a:cubicBezTo>
                  <a:pt x="739035" y="2305159"/>
                  <a:pt x="769009" y="2269676"/>
                  <a:pt x="706914" y="2305046"/>
                </a:cubicBezTo>
                <a:cubicBezTo>
                  <a:pt x="697882" y="2295919"/>
                  <a:pt x="689339" y="2296797"/>
                  <a:pt x="675971" y="2304030"/>
                </a:cubicBezTo>
                <a:cubicBezTo>
                  <a:pt x="650201" y="2309060"/>
                  <a:pt x="647591" y="2282853"/>
                  <a:pt x="624180" y="2302650"/>
                </a:cubicBezTo>
                <a:cubicBezTo>
                  <a:pt x="626400" y="2287987"/>
                  <a:pt x="574045" y="2305175"/>
                  <a:pt x="583453" y="2288788"/>
                </a:cubicBezTo>
                <a:cubicBezTo>
                  <a:pt x="564313" y="2278832"/>
                  <a:pt x="559671" y="2301039"/>
                  <a:pt x="540946" y="2292721"/>
                </a:cubicBezTo>
                <a:cubicBezTo>
                  <a:pt x="521576" y="2293191"/>
                  <a:pt x="554439" y="2305843"/>
                  <a:pt x="533680" y="2310233"/>
                </a:cubicBezTo>
                <a:cubicBezTo>
                  <a:pt x="508069" y="2313043"/>
                  <a:pt x="512638" y="2338541"/>
                  <a:pt x="487366" y="2309053"/>
                </a:cubicBezTo>
                <a:cubicBezTo>
                  <a:pt x="462164" y="2321083"/>
                  <a:pt x="454441" y="2307251"/>
                  <a:pt x="416820" y="2305443"/>
                </a:cubicBezTo>
                <a:cubicBezTo>
                  <a:pt x="403012" y="2315890"/>
                  <a:pt x="390105" y="2313733"/>
                  <a:pt x="376805" y="2307647"/>
                </a:cubicBezTo>
                <a:cubicBezTo>
                  <a:pt x="341751" y="2315035"/>
                  <a:pt x="307408" y="2307897"/>
                  <a:pt x="266777" y="2309012"/>
                </a:cubicBezTo>
                <a:cubicBezTo>
                  <a:pt x="225310" y="2324664"/>
                  <a:pt x="199419" y="2305548"/>
                  <a:pt x="156013" y="2306832"/>
                </a:cubicBezTo>
                <a:cubicBezTo>
                  <a:pt x="117457" y="2333851"/>
                  <a:pt x="122965" y="2279562"/>
                  <a:pt x="87258" y="2285511"/>
                </a:cubicBezTo>
                <a:cubicBezTo>
                  <a:pt x="38977" y="2309189"/>
                  <a:pt x="74043" y="2277969"/>
                  <a:pt x="23798" y="2281822"/>
                </a:cubicBezTo>
                <a:lnTo>
                  <a:pt x="0" y="2285369"/>
                </a:lnTo>
                <a:lnTo>
                  <a:pt x="0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60CB31EB-4A6A-6C8B-5DA7-9020A658E0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7973" y="393380"/>
            <a:ext cx="7655427" cy="739881"/>
          </a:xfrm>
        </p:spPr>
        <p:txBody>
          <a:bodyPr>
            <a:normAutofit fontScale="90000"/>
          </a:bodyPr>
          <a:lstStyle/>
          <a:p>
            <a:pPr algn="l"/>
            <a:r>
              <a:rPr lang="pl-PL" sz="3600" b="1" dirty="0"/>
              <a:t>Analiza otoczenia bliższego </a:t>
            </a:r>
            <a:r>
              <a:rPr lang="pl-PL" sz="3600" b="1" dirty="0" err="1"/>
              <a:t>pzs</a:t>
            </a:r>
            <a:r>
              <a:rPr lang="pl-PL" sz="3600" b="1" dirty="0"/>
              <a:t> (mikrootoczenia)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A72E33F5-87A5-05F0-5A0E-1983D78CD7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307088" y="6277971"/>
            <a:ext cx="6884912" cy="580030"/>
          </a:xfrm>
          <a:custGeom>
            <a:avLst/>
            <a:gdLst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59043 h 1161397"/>
              <a:gd name="connsiteX5" fmla="*/ 119094 w 6884912"/>
              <a:gd name="connsiteY5" fmla="*/ 1148463 h 1161397"/>
              <a:gd name="connsiteX6" fmla="*/ 171824 w 6884912"/>
              <a:gd name="connsiteY6" fmla="*/ 1133224 h 1161397"/>
              <a:gd name="connsiteX7" fmla="*/ 376455 w 6884912"/>
              <a:gd name="connsiteY7" fmla="*/ 1137381 h 1161397"/>
              <a:gd name="connsiteX8" fmla="*/ 478946 w 6884912"/>
              <a:gd name="connsiteY8" fmla="*/ 1106011 h 1161397"/>
              <a:gd name="connsiteX9" fmla="*/ 512111 w 6884912"/>
              <a:gd name="connsiteY9" fmla="*/ 1085599 h 1161397"/>
              <a:gd name="connsiteX10" fmla="*/ 567875 w 6884912"/>
              <a:gd name="connsiteY10" fmla="*/ 1051976 h 1161397"/>
              <a:gd name="connsiteX11" fmla="*/ 601644 w 6884912"/>
              <a:gd name="connsiteY11" fmla="*/ 1003997 h 1161397"/>
              <a:gd name="connsiteX12" fmla="*/ 651408 w 6884912"/>
              <a:gd name="connsiteY12" fmla="*/ 984938 h 1161397"/>
              <a:gd name="connsiteX13" fmla="*/ 673197 w 6884912"/>
              <a:gd name="connsiteY13" fmla="*/ 1010060 h 1161397"/>
              <a:gd name="connsiteX14" fmla="*/ 723108 w 6884912"/>
              <a:gd name="connsiteY14" fmla="*/ 980081 h 1161397"/>
              <a:gd name="connsiteX15" fmla="*/ 797699 w 6884912"/>
              <a:gd name="connsiteY15" fmla="*/ 931362 h 1161397"/>
              <a:gd name="connsiteX16" fmla="*/ 843359 w 6884912"/>
              <a:gd name="connsiteY16" fmla="*/ 910894 h 1161397"/>
              <a:gd name="connsiteX17" fmla="*/ 965215 w 6884912"/>
              <a:gd name="connsiteY17" fmla="*/ 846701 h 1161397"/>
              <a:gd name="connsiteX18" fmla="*/ 1085080 w 6884912"/>
              <a:gd name="connsiteY18" fmla="*/ 776086 h 1161397"/>
              <a:gd name="connsiteX19" fmla="*/ 1131224 w 6884912"/>
              <a:gd name="connsiteY19" fmla="*/ 706160 h 1161397"/>
              <a:gd name="connsiteX20" fmla="*/ 1138051 w 6884912"/>
              <a:gd name="connsiteY20" fmla="*/ 702034 h 1161397"/>
              <a:gd name="connsiteX21" fmla="*/ 1158800 w 6884912"/>
              <a:gd name="connsiteY21" fmla="*/ 700004 h 1161397"/>
              <a:gd name="connsiteX22" fmla="*/ 1166947 w 6884912"/>
              <a:gd name="connsiteY22" fmla="*/ 700762 h 1161397"/>
              <a:gd name="connsiteX23" fmla="*/ 1178135 w 6884912"/>
              <a:gd name="connsiteY23" fmla="*/ 698631 h 1161397"/>
              <a:gd name="connsiteX24" fmla="*/ 1178301 w 6884912"/>
              <a:gd name="connsiteY24" fmla="*/ 698094 h 1161397"/>
              <a:gd name="connsiteX25" fmla="*/ 1188995 w 6884912"/>
              <a:gd name="connsiteY25" fmla="*/ 697048 h 1161397"/>
              <a:gd name="connsiteX26" fmla="*/ 1242716 w 6884912"/>
              <a:gd name="connsiteY26" fmla="*/ 698052 h 1161397"/>
              <a:gd name="connsiteX27" fmla="*/ 1299977 w 6884912"/>
              <a:gd name="connsiteY27" fmla="*/ 639196 h 1161397"/>
              <a:gd name="connsiteX28" fmla="*/ 1326190 w 6884912"/>
              <a:gd name="connsiteY28" fmla="*/ 625955 h 1161397"/>
              <a:gd name="connsiteX29" fmla="*/ 1339600 w 6884912"/>
              <a:gd name="connsiteY29" fmla="*/ 616295 h 1161397"/>
              <a:gd name="connsiteX30" fmla="*/ 1340054 w 6884912"/>
              <a:gd name="connsiteY30" fmla="*/ 614022 h 1161397"/>
              <a:gd name="connsiteX31" fmla="*/ 1391606 w 6884912"/>
              <a:gd name="connsiteY31" fmla="*/ 615229 h 1161397"/>
              <a:gd name="connsiteX32" fmla="*/ 1397565 w 6884912"/>
              <a:gd name="connsiteY32" fmla="*/ 611490 h 1161397"/>
              <a:gd name="connsiteX33" fmla="*/ 1432302 w 6884912"/>
              <a:gd name="connsiteY33" fmla="*/ 617267 h 1161397"/>
              <a:gd name="connsiteX34" fmla="*/ 1449644 w 6884912"/>
              <a:gd name="connsiteY34" fmla="*/ 617591 h 1161397"/>
              <a:gd name="connsiteX35" fmla="*/ 1455793 w 6884912"/>
              <a:gd name="connsiteY35" fmla="*/ 623174 h 1161397"/>
              <a:gd name="connsiteX36" fmla="*/ 1480758 w 6884912"/>
              <a:gd name="connsiteY36" fmla="*/ 620863 h 1161397"/>
              <a:gd name="connsiteX37" fmla="*/ 1483154 w 6884912"/>
              <a:gd name="connsiteY37" fmla="*/ 618527 h 1161397"/>
              <a:gd name="connsiteX38" fmla="*/ 1505495 w 6884912"/>
              <a:gd name="connsiteY38" fmla="*/ 624325 h 1161397"/>
              <a:gd name="connsiteX39" fmla="*/ 1526340 w 6884912"/>
              <a:gd name="connsiteY39" fmla="*/ 638496 h 1161397"/>
              <a:gd name="connsiteX40" fmla="*/ 1731986 w 6884912"/>
              <a:gd name="connsiteY40" fmla="*/ 589682 h 1161397"/>
              <a:gd name="connsiteX41" fmla="*/ 1927935 w 6884912"/>
              <a:gd name="connsiteY41" fmla="*/ 628540 h 1161397"/>
              <a:gd name="connsiteX42" fmla="*/ 2039075 w 6884912"/>
              <a:gd name="connsiteY42" fmla="*/ 599964 h 1161397"/>
              <a:gd name="connsiteX43" fmla="*/ 2066980 w 6884912"/>
              <a:gd name="connsiteY43" fmla="*/ 550413 h 1161397"/>
              <a:gd name="connsiteX44" fmla="*/ 2352236 w 6884912"/>
              <a:gd name="connsiteY44" fmla="*/ 519602 h 1161397"/>
              <a:gd name="connsiteX45" fmla="*/ 2420791 w 6884912"/>
              <a:gd name="connsiteY45" fmla="*/ 492826 h 1161397"/>
              <a:gd name="connsiteX46" fmla="*/ 2489932 w 6884912"/>
              <a:gd name="connsiteY46" fmla="*/ 507864 h 1161397"/>
              <a:gd name="connsiteX47" fmla="*/ 2512917 w 6884912"/>
              <a:gd name="connsiteY47" fmla="*/ 489127 h 1161397"/>
              <a:gd name="connsiteX48" fmla="*/ 2516783 w 6884912"/>
              <a:gd name="connsiteY48" fmla="*/ 485473 h 1161397"/>
              <a:gd name="connsiteX49" fmla="*/ 2534360 w 6884912"/>
              <a:gd name="connsiteY49" fmla="*/ 480064 h 1161397"/>
              <a:gd name="connsiteX50" fmla="*/ 2536691 w 6884912"/>
              <a:gd name="connsiteY50" fmla="*/ 467018 h 1161397"/>
              <a:gd name="connsiteX51" fmla="*/ 2561265 w 6884912"/>
              <a:gd name="connsiteY51" fmla="*/ 450623 h 1161397"/>
              <a:gd name="connsiteX52" fmla="*/ 2594349 w 6884912"/>
              <a:gd name="connsiteY52" fmla="*/ 443884 h 1161397"/>
              <a:gd name="connsiteX53" fmla="*/ 2754324 w 6884912"/>
              <a:gd name="connsiteY53" fmla="*/ 424766 h 1161397"/>
              <a:gd name="connsiteX54" fmla="*/ 2848470 w 6884912"/>
              <a:gd name="connsiteY54" fmla="*/ 405966 h 1161397"/>
              <a:gd name="connsiteX55" fmla="*/ 2881772 w 6884912"/>
              <a:gd name="connsiteY55" fmla="*/ 387260 h 1161397"/>
              <a:gd name="connsiteX56" fmla="*/ 2929932 w 6884912"/>
              <a:gd name="connsiteY56" fmla="*/ 368912 h 1161397"/>
              <a:gd name="connsiteX57" fmla="*/ 3013020 w 6884912"/>
              <a:gd name="connsiteY57" fmla="*/ 327578 h 1161397"/>
              <a:gd name="connsiteX58" fmla="*/ 3127968 w 6884912"/>
              <a:gd name="connsiteY58" fmla="*/ 287613 h 1161397"/>
              <a:gd name="connsiteX59" fmla="*/ 3222191 w 6884912"/>
              <a:gd name="connsiteY59" fmla="*/ 307887 h 1161397"/>
              <a:gd name="connsiteX60" fmla="*/ 3227953 w 6884912"/>
              <a:gd name="connsiteY60" fmla="*/ 297650 h 1161397"/>
              <a:gd name="connsiteX61" fmla="*/ 3287859 w 6884912"/>
              <a:gd name="connsiteY61" fmla="*/ 287558 h 1161397"/>
              <a:gd name="connsiteX62" fmla="*/ 3510042 w 6884912"/>
              <a:gd name="connsiteY62" fmla="*/ 311820 h 1161397"/>
              <a:gd name="connsiteX63" fmla="*/ 3626773 w 6884912"/>
              <a:gd name="connsiteY63" fmla="*/ 290452 h 1161397"/>
              <a:gd name="connsiteX64" fmla="*/ 3666217 w 6884912"/>
              <a:gd name="connsiteY64" fmla="*/ 273255 h 1161397"/>
              <a:gd name="connsiteX65" fmla="*/ 3732427 w 6884912"/>
              <a:gd name="connsiteY65" fmla="*/ 245039 h 1161397"/>
              <a:gd name="connsiteX66" fmla="*/ 3777022 w 6884912"/>
              <a:gd name="connsiteY66" fmla="*/ 200276 h 1161397"/>
              <a:gd name="connsiteX67" fmla="*/ 3791246 w 6884912"/>
              <a:gd name="connsiteY67" fmla="*/ 189996 h 1161397"/>
              <a:gd name="connsiteX68" fmla="*/ 3819864 w 6884912"/>
              <a:gd name="connsiteY68" fmla="*/ 194605 h 1161397"/>
              <a:gd name="connsiteX69" fmla="*/ 3830398 w 6884912"/>
              <a:gd name="connsiteY69" fmla="*/ 188383 h 1161397"/>
              <a:gd name="connsiteX70" fmla="*/ 3834360 w 6884912"/>
              <a:gd name="connsiteY70" fmla="*/ 188992 h 1161397"/>
              <a:gd name="connsiteX71" fmla="*/ 3843715 w 6884912"/>
              <a:gd name="connsiteY71" fmla="*/ 188752 h 1161397"/>
              <a:gd name="connsiteX72" fmla="*/ 3842609 w 6884912"/>
              <a:gd name="connsiteY72" fmla="*/ 197386 h 1161397"/>
              <a:gd name="connsiteX73" fmla="*/ 3853961 w 6884912"/>
              <a:gd name="connsiteY73" fmla="*/ 213380 h 1161397"/>
              <a:gd name="connsiteX74" fmla="*/ 3907640 w 6884912"/>
              <a:gd name="connsiteY74" fmla="*/ 207568 h 1161397"/>
              <a:gd name="connsiteX75" fmla="*/ 3910449 w 6884912"/>
              <a:gd name="connsiteY75" fmla="*/ 197808 h 1161397"/>
              <a:gd name="connsiteX76" fmla="*/ 3917197 w 6884912"/>
              <a:gd name="connsiteY76" fmla="*/ 196121 h 1161397"/>
              <a:gd name="connsiteX77" fmla="*/ 3922400 w 6884912"/>
              <a:gd name="connsiteY77" fmla="*/ 205056 h 1161397"/>
              <a:gd name="connsiteX78" fmla="*/ 4013061 w 6884912"/>
              <a:gd name="connsiteY78" fmla="*/ 224874 h 1161397"/>
              <a:gd name="connsiteX79" fmla="*/ 4134285 w 6884912"/>
              <a:gd name="connsiteY79" fmla="*/ 235592 h 1161397"/>
              <a:gd name="connsiteX80" fmla="*/ 4220717 w 6884912"/>
              <a:gd name="connsiteY80" fmla="*/ 192946 h 1161397"/>
              <a:gd name="connsiteX81" fmla="*/ 4228802 w 6884912"/>
              <a:gd name="connsiteY81" fmla="*/ 201468 h 1161397"/>
              <a:gd name="connsiteX82" fmla="*/ 4289361 w 6884912"/>
              <a:gd name="connsiteY82" fmla="*/ 196642 h 1161397"/>
              <a:gd name="connsiteX83" fmla="*/ 4498913 w 6884912"/>
              <a:gd name="connsiteY83" fmla="*/ 118915 h 1161397"/>
              <a:gd name="connsiteX84" fmla="*/ 4617330 w 6884912"/>
              <a:gd name="connsiteY84" fmla="*/ 111163 h 1161397"/>
              <a:gd name="connsiteX85" fmla="*/ 4659778 w 6884912"/>
              <a:gd name="connsiteY85" fmla="*/ 118219 h 1161397"/>
              <a:gd name="connsiteX86" fmla="*/ 4730870 w 6884912"/>
              <a:gd name="connsiteY86" fmla="*/ 129432 h 1161397"/>
              <a:gd name="connsiteX87" fmla="*/ 4785037 w 6884912"/>
              <a:gd name="connsiteY87" fmla="*/ 161964 h 1161397"/>
              <a:gd name="connsiteX88" fmla="*/ 4844073 w 6884912"/>
              <a:gd name="connsiteY88" fmla="*/ 161768 h 1161397"/>
              <a:gd name="connsiteX89" fmla="*/ 4856454 w 6884912"/>
              <a:gd name="connsiteY89" fmla="*/ 130488 h 1161397"/>
              <a:gd name="connsiteX90" fmla="*/ 4920038 w 6884912"/>
              <a:gd name="connsiteY90" fmla="*/ 140418 h 1161397"/>
              <a:gd name="connsiteX91" fmla="*/ 5016639 w 6884912"/>
              <a:gd name="connsiteY91" fmla="*/ 158905 h 1161397"/>
              <a:gd name="connsiteX92" fmla="*/ 5072009 w 6884912"/>
              <a:gd name="connsiteY92" fmla="*/ 161502 h 1161397"/>
              <a:gd name="connsiteX93" fmla="*/ 5223626 w 6884912"/>
              <a:gd name="connsiteY93" fmla="*/ 177356 h 1161397"/>
              <a:gd name="connsiteX94" fmla="*/ 5375773 w 6884912"/>
              <a:gd name="connsiteY94" fmla="*/ 199913 h 1161397"/>
              <a:gd name="connsiteX95" fmla="*/ 5467502 w 6884912"/>
              <a:gd name="connsiteY95" fmla="*/ 250963 h 1161397"/>
              <a:gd name="connsiteX96" fmla="*/ 5592395 w 6884912"/>
              <a:gd name="connsiteY96" fmla="*/ 265434 h 1161397"/>
              <a:gd name="connsiteX97" fmla="*/ 5613532 w 6884912"/>
              <a:gd name="connsiteY97" fmla="*/ 273379 h 1161397"/>
              <a:gd name="connsiteX98" fmla="*/ 5642173 w 6884912"/>
              <a:gd name="connsiteY98" fmla="*/ 266904 h 1161397"/>
              <a:gd name="connsiteX99" fmla="*/ 5756910 w 6884912"/>
              <a:gd name="connsiteY99" fmla="*/ 239211 h 1161397"/>
              <a:gd name="connsiteX100" fmla="*/ 5846667 w 6884912"/>
              <a:gd name="connsiteY100" fmla="*/ 201786 h 1161397"/>
              <a:gd name="connsiteX101" fmla="*/ 5960732 w 6884912"/>
              <a:gd name="connsiteY101" fmla="*/ 220708 h 1161397"/>
              <a:gd name="connsiteX102" fmla="*/ 6029542 w 6884912"/>
              <a:gd name="connsiteY102" fmla="*/ 210339 h 1161397"/>
              <a:gd name="connsiteX103" fmla="*/ 6141123 w 6884912"/>
              <a:gd name="connsiteY103" fmla="*/ 159923 h 1161397"/>
              <a:gd name="connsiteX104" fmla="*/ 6290640 w 6884912"/>
              <a:gd name="connsiteY104" fmla="*/ 167441 h 1161397"/>
              <a:gd name="connsiteX105" fmla="*/ 6322806 w 6884912"/>
              <a:gd name="connsiteY105" fmla="*/ 213293 h 1161397"/>
              <a:gd name="connsiteX106" fmla="*/ 6364914 w 6884912"/>
              <a:gd name="connsiteY106" fmla="*/ 240140 h 1161397"/>
              <a:gd name="connsiteX107" fmla="*/ 6380420 w 6884912"/>
              <a:gd name="connsiteY107" fmla="*/ 173195 h 1161397"/>
              <a:gd name="connsiteX108" fmla="*/ 6507891 w 6884912"/>
              <a:gd name="connsiteY108" fmla="*/ 118474 h 1161397"/>
              <a:gd name="connsiteX109" fmla="*/ 6571807 w 6884912"/>
              <a:gd name="connsiteY109" fmla="*/ 98636 h 1161397"/>
              <a:gd name="connsiteX110" fmla="*/ 6671880 w 6884912"/>
              <a:gd name="connsiteY110" fmla="*/ 82931 h 1161397"/>
              <a:gd name="connsiteX111" fmla="*/ 6702266 w 6884912"/>
              <a:gd name="connsiteY111" fmla="*/ 75470 h 1161397"/>
              <a:gd name="connsiteX112" fmla="*/ 6845802 w 6884912"/>
              <a:gd name="connsiteY112" fmla="*/ 24496 h 1161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6884912" h="1161397">
                <a:moveTo>
                  <a:pt x="6884912" y="0"/>
                </a:moveTo>
                <a:lnTo>
                  <a:pt x="6884912" y="1161397"/>
                </a:lnTo>
                <a:lnTo>
                  <a:pt x="0" y="1161397"/>
                </a:lnTo>
                <a:lnTo>
                  <a:pt x="27135" y="1147460"/>
                </a:lnTo>
                <a:cubicBezTo>
                  <a:pt x="57431" y="1167048"/>
                  <a:pt x="61886" y="1135904"/>
                  <a:pt x="115388" y="1159043"/>
                </a:cubicBezTo>
                <a:cubicBezTo>
                  <a:pt x="116121" y="1155340"/>
                  <a:pt x="117370" y="1151777"/>
                  <a:pt x="119094" y="1148463"/>
                </a:cubicBezTo>
                <a:cubicBezTo>
                  <a:pt x="129121" y="1129214"/>
                  <a:pt x="152727" y="1122391"/>
                  <a:pt x="171824" y="1133224"/>
                </a:cubicBezTo>
                <a:cubicBezTo>
                  <a:pt x="254344" y="1161369"/>
                  <a:pt x="315458" y="1143220"/>
                  <a:pt x="376455" y="1137381"/>
                </a:cubicBezTo>
                <a:cubicBezTo>
                  <a:pt x="443775" y="1125614"/>
                  <a:pt x="382885" y="1083927"/>
                  <a:pt x="478946" y="1106011"/>
                </a:cubicBezTo>
                <a:cubicBezTo>
                  <a:pt x="481662" y="1085172"/>
                  <a:pt x="491731" y="1081489"/>
                  <a:pt x="512111" y="1085599"/>
                </a:cubicBezTo>
                <a:cubicBezTo>
                  <a:pt x="544368" y="1078502"/>
                  <a:pt x="526559" y="1032754"/>
                  <a:pt x="567875" y="1051976"/>
                </a:cubicBezTo>
                <a:cubicBezTo>
                  <a:pt x="553871" y="1028602"/>
                  <a:pt x="624901" y="1025930"/>
                  <a:pt x="601644" y="1003997"/>
                </a:cubicBezTo>
                <a:cubicBezTo>
                  <a:pt x="614803" y="975652"/>
                  <a:pt x="637415" y="1010272"/>
                  <a:pt x="651408" y="984938"/>
                </a:cubicBezTo>
                <a:cubicBezTo>
                  <a:pt x="673042" y="974024"/>
                  <a:pt x="646948" y="1015207"/>
                  <a:pt x="673197" y="1010060"/>
                </a:cubicBezTo>
                <a:cubicBezTo>
                  <a:pt x="703527" y="999318"/>
                  <a:pt x="718626" y="1045053"/>
                  <a:pt x="723108" y="980081"/>
                </a:cubicBezTo>
                <a:cubicBezTo>
                  <a:pt x="760262" y="985126"/>
                  <a:pt x="757827" y="957145"/>
                  <a:pt x="797699" y="931362"/>
                </a:cubicBezTo>
                <a:cubicBezTo>
                  <a:pt x="821097" y="940623"/>
                  <a:pt x="833565" y="929189"/>
                  <a:pt x="843359" y="910894"/>
                </a:cubicBezTo>
                <a:cubicBezTo>
                  <a:pt x="887668" y="902160"/>
                  <a:pt x="919738" y="869376"/>
                  <a:pt x="965215" y="846701"/>
                </a:cubicBezTo>
                <a:cubicBezTo>
                  <a:pt x="1023081" y="848019"/>
                  <a:pt x="1036422" y="800154"/>
                  <a:pt x="1085080" y="776086"/>
                </a:cubicBezTo>
                <a:cubicBezTo>
                  <a:pt x="1140763" y="795544"/>
                  <a:pt x="1110309" y="730471"/>
                  <a:pt x="1131224" y="706160"/>
                </a:cubicBezTo>
                <a:lnTo>
                  <a:pt x="1138051" y="702034"/>
                </a:lnTo>
                <a:lnTo>
                  <a:pt x="1158800" y="700004"/>
                </a:lnTo>
                <a:lnTo>
                  <a:pt x="1166947" y="700762"/>
                </a:lnTo>
                <a:cubicBezTo>
                  <a:pt x="1172432" y="700717"/>
                  <a:pt x="1175913" y="699961"/>
                  <a:pt x="1178135" y="698631"/>
                </a:cubicBezTo>
                <a:lnTo>
                  <a:pt x="1178301" y="698094"/>
                </a:lnTo>
                <a:lnTo>
                  <a:pt x="1188995" y="697048"/>
                </a:lnTo>
                <a:cubicBezTo>
                  <a:pt x="1207294" y="696390"/>
                  <a:pt x="1225337" y="696802"/>
                  <a:pt x="1242716" y="698052"/>
                </a:cubicBezTo>
                <a:cubicBezTo>
                  <a:pt x="1250387" y="668345"/>
                  <a:pt x="1318259" y="689091"/>
                  <a:pt x="1299977" y="639196"/>
                </a:cubicBezTo>
                <a:cubicBezTo>
                  <a:pt x="1323072" y="639367"/>
                  <a:pt x="1341279" y="658105"/>
                  <a:pt x="1326190" y="625955"/>
                </a:cubicBezTo>
                <a:cubicBezTo>
                  <a:pt x="1333572" y="625050"/>
                  <a:pt x="1337406" y="621362"/>
                  <a:pt x="1339600" y="616295"/>
                </a:cubicBezTo>
                <a:lnTo>
                  <a:pt x="1340054" y="614022"/>
                </a:lnTo>
                <a:lnTo>
                  <a:pt x="1391606" y="615229"/>
                </a:lnTo>
                <a:lnTo>
                  <a:pt x="1397565" y="611490"/>
                </a:lnTo>
                <a:lnTo>
                  <a:pt x="1432302" y="617267"/>
                </a:lnTo>
                <a:lnTo>
                  <a:pt x="1449644" y="617591"/>
                </a:lnTo>
                <a:lnTo>
                  <a:pt x="1455793" y="623174"/>
                </a:lnTo>
                <a:cubicBezTo>
                  <a:pt x="1461744" y="626151"/>
                  <a:pt x="1469373" y="626493"/>
                  <a:pt x="1480758" y="620863"/>
                </a:cubicBezTo>
                <a:lnTo>
                  <a:pt x="1483154" y="618527"/>
                </a:lnTo>
                <a:lnTo>
                  <a:pt x="1505495" y="624325"/>
                </a:lnTo>
                <a:cubicBezTo>
                  <a:pt x="1512992" y="627532"/>
                  <a:pt x="1520025" y="632078"/>
                  <a:pt x="1526340" y="638496"/>
                </a:cubicBezTo>
                <a:cubicBezTo>
                  <a:pt x="1586113" y="586768"/>
                  <a:pt x="1659006" y="610309"/>
                  <a:pt x="1731986" y="589682"/>
                </a:cubicBezTo>
                <a:cubicBezTo>
                  <a:pt x="1750397" y="523106"/>
                  <a:pt x="1896056" y="573257"/>
                  <a:pt x="1927935" y="628540"/>
                </a:cubicBezTo>
                <a:cubicBezTo>
                  <a:pt x="1912854" y="559823"/>
                  <a:pt x="2112261" y="676347"/>
                  <a:pt x="2039075" y="599964"/>
                </a:cubicBezTo>
                <a:cubicBezTo>
                  <a:pt x="2066036" y="601198"/>
                  <a:pt x="2086366" y="569532"/>
                  <a:pt x="2066980" y="550413"/>
                </a:cubicBezTo>
                <a:cubicBezTo>
                  <a:pt x="2155364" y="582582"/>
                  <a:pt x="2259548" y="514786"/>
                  <a:pt x="2352236" y="519602"/>
                </a:cubicBezTo>
                <a:cubicBezTo>
                  <a:pt x="2388450" y="459394"/>
                  <a:pt x="2373298" y="511682"/>
                  <a:pt x="2420791" y="492826"/>
                </a:cubicBezTo>
                <a:cubicBezTo>
                  <a:pt x="2417962" y="542563"/>
                  <a:pt x="2475071" y="455098"/>
                  <a:pt x="2489932" y="507864"/>
                </a:cubicBezTo>
                <a:cubicBezTo>
                  <a:pt x="2498105" y="502761"/>
                  <a:pt x="2505553" y="496153"/>
                  <a:pt x="2512917" y="489127"/>
                </a:cubicBezTo>
                <a:lnTo>
                  <a:pt x="2516783" y="485473"/>
                </a:lnTo>
                <a:lnTo>
                  <a:pt x="2534360" y="480064"/>
                </a:lnTo>
                <a:lnTo>
                  <a:pt x="2536691" y="467018"/>
                </a:lnTo>
                <a:lnTo>
                  <a:pt x="2561265" y="450623"/>
                </a:lnTo>
                <a:cubicBezTo>
                  <a:pt x="2570872" y="446262"/>
                  <a:pt x="2581686" y="443655"/>
                  <a:pt x="2594349" y="443884"/>
                </a:cubicBezTo>
                <a:cubicBezTo>
                  <a:pt x="2640435" y="464638"/>
                  <a:pt x="2696955" y="396361"/>
                  <a:pt x="2754324" y="424766"/>
                </a:cubicBezTo>
                <a:cubicBezTo>
                  <a:pt x="2775130" y="430896"/>
                  <a:pt x="2837731" y="423458"/>
                  <a:pt x="2848470" y="405966"/>
                </a:cubicBezTo>
                <a:cubicBezTo>
                  <a:pt x="2861295" y="401100"/>
                  <a:pt x="2876936" y="405309"/>
                  <a:pt x="2881772" y="387260"/>
                </a:cubicBezTo>
                <a:cubicBezTo>
                  <a:pt x="2890299" y="365261"/>
                  <a:pt x="2938134" y="392997"/>
                  <a:pt x="2929932" y="368912"/>
                </a:cubicBezTo>
                <a:cubicBezTo>
                  <a:pt x="2963844" y="387799"/>
                  <a:pt x="2986550" y="341223"/>
                  <a:pt x="3013020" y="327578"/>
                </a:cubicBezTo>
                <a:cubicBezTo>
                  <a:pt x="3040041" y="346996"/>
                  <a:pt x="3068934" y="299222"/>
                  <a:pt x="3127968" y="287613"/>
                </a:cubicBezTo>
                <a:cubicBezTo>
                  <a:pt x="3157770" y="310215"/>
                  <a:pt x="3167695" y="279445"/>
                  <a:pt x="3222191" y="307887"/>
                </a:cubicBezTo>
                <a:cubicBezTo>
                  <a:pt x="3223593" y="304249"/>
                  <a:pt x="3225533" y="300801"/>
                  <a:pt x="3227953" y="297650"/>
                </a:cubicBezTo>
                <a:cubicBezTo>
                  <a:pt x="3242008" y="279345"/>
                  <a:pt x="3268831" y="274825"/>
                  <a:pt x="3287859" y="287558"/>
                </a:cubicBezTo>
                <a:cubicBezTo>
                  <a:pt x="3373144" y="323866"/>
                  <a:pt x="3442657" y="311681"/>
                  <a:pt x="3510042" y="311820"/>
                </a:cubicBezTo>
                <a:cubicBezTo>
                  <a:pt x="3585274" y="306641"/>
                  <a:pt x="3525753" y="258887"/>
                  <a:pt x="3626773" y="290452"/>
                </a:cubicBezTo>
                <a:cubicBezTo>
                  <a:pt x="3633124" y="269835"/>
                  <a:pt x="3644693" y="267134"/>
                  <a:pt x="3666217" y="273255"/>
                </a:cubicBezTo>
                <a:cubicBezTo>
                  <a:pt x="3702502" y="269310"/>
                  <a:pt x="3690563" y="221720"/>
                  <a:pt x="3732427" y="245039"/>
                </a:cubicBezTo>
                <a:cubicBezTo>
                  <a:pt x="3720985" y="220241"/>
                  <a:pt x="3798776" y="224539"/>
                  <a:pt x="3777022" y="200276"/>
                </a:cubicBezTo>
                <a:cubicBezTo>
                  <a:pt x="3781759" y="193499"/>
                  <a:pt x="3786499" y="190723"/>
                  <a:pt x="3791246" y="189996"/>
                </a:cubicBezTo>
                <a:cubicBezTo>
                  <a:pt x="3800740" y="188542"/>
                  <a:pt x="3810265" y="195284"/>
                  <a:pt x="3819864" y="194605"/>
                </a:cubicBezTo>
                <a:lnTo>
                  <a:pt x="3830398" y="188383"/>
                </a:lnTo>
                <a:lnTo>
                  <a:pt x="3834360" y="188992"/>
                </a:lnTo>
                <a:lnTo>
                  <a:pt x="3843715" y="188752"/>
                </a:lnTo>
                <a:lnTo>
                  <a:pt x="3842609" y="197386"/>
                </a:lnTo>
                <a:cubicBezTo>
                  <a:pt x="3840673" y="205638"/>
                  <a:pt x="3839248" y="214671"/>
                  <a:pt x="3853961" y="213380"/>
                </a:cubicBezTo>
                <a:cubicBezTo>
                  <a:pt x="3884396" y="206569"/>
                  <a:pt x="3895082" y="241941"/>
                  <a:pt x="3907640" y="207568"/>
                </a:cubicBezTo>
                <a:lnTo>
                  <a:pt x="3910449" y="197808"/>
                </a:lnTo>
                <a:lnTo>
                  <a:pt x="3917197" y="196121"/>
                </a:lnTo>
                <a:cubicBezTo>
                  <a:pt x="3920833" y="196372"/>
                  <a:pt x="3922919" y="198717"/>
                  <a:pt x="3922400" y="205056"/>
                </a:cubicBezTo>
                <a:cubicBezTo>
                  <a:pt x="3950680" y="178467"/>
                  <a:pt x="3984062" y="218098"/>
                  <a:pt x="4013061" y="224874"/>
                </a:cubicBezTo>
                <a:cubicBezTo>
                  <a:pt x="4034530" y="199451"/>
                  <a:pt x="4074202" y="238734"/>
                  <a:pt x="4134285" y="235592"/>
                </a:cubicBezTo>
                <a:cubicBezTo>
                  <a:pt x="4157674" y="206403"/>
                  <a:pt x="4174806" y="233822"/>
                  <a:pt x="4220717" y="192946"/>
                </a:cubicBezTo>
                <a:cubicBezTo>
                  <a:pt x="4222964" y="196132"/>
                  <a:pt x="4225687" y="199002"/>
                  <a:pt x="4228802" y="201468"/>
                </a:cubicBezTo>
                <a:cubicBezTo>
                  <a:pt x="4246898" y="215792"/>
                  <a:pt x="4274013" y="213632"/>
                  <a:pt x="4289361" y="196642"/>
                </a:cubicBezTo>
                <a:cubicBezTo>
                  <a:pt x="4363212" y="140627"/>
                  <a:pt x="4433598" y="135488"/>
                  <a:pt x="4498913" y="118915"/>
                </a:cubicBezTo>
                <a:cubicBezTo>
                  <a:pt x="4573135" y="105586"/>
                  <a:pt x="4527062" y="166416"/>
                  <a:pt x="4617330" y="111163"/>
                </a:cubicBezTo>
                <a:cubicBezTo>
                  <a:pt x="4628518" y="129608"/>
                  <a:pt x="4640397" y="129405"/>
                  <a:pt x="4659778" y="118219"/>
                </a:cubicBezTo>
                <a:cubicBezTo>
                  <a:pt x="4695929" y="113193"/>
                  <a:pt x="4695958" y="162259"/>
                  <a:pt x="4730870" y="129432"/>
                </a:cubicBezTo>
                <a:cubicBezTo>
                  <a:pt x="4725822" y="156271"/>
                  <a:pt x="4800214" y="133127"/>
                  <a:pt x="4785037" y="161964"/>
                </a:cubicBezTo>
                <a:cubicBezTo>
                  <a:pt x="4810025" y="183633"/>
                  <a:pt x="4819434" y="143205"/>
                  <a:pt x="4844073" y="161768"/>
                </a:cubicBezTo>
                <a:cubicBezTo>
                  <a:pt x="4870797" y="164132"/>
                  <a:pt x="4827288" y="135164"/>
                  <a:pt x="4856454" y="130488"/>
                </a:cubicBezTo>
                <a:cubicBezTo>
                  <a:pt x="4892086" y="129553"/>
                  <a:pt x="4889263" y="81477"/>
                  <a:pt x="4920038" y="140418"/>
                </a:cubicBezTo>
                <a:cubicBezTo>
                  <a:pt x="4956358" y="122308"/>
                  <a:pt x="4965108" y="149263"/>
                  <a:pt x="5016639" y="158905"/>
                </a:cubicBezTo>
                <a:cubicBezTo>
                  <a:pt x="5037063" y="141828"/>
                  <a:pt x="5054534" y="147986"/>
                  <a:pt x="5072009" y="161502"/>
                </a:cubicBezTo>
                <a:cubicBezTo>
                  <a:pt x="5121260" y="153653"/>
                  <a:pt x="5167555" y="172635"/>
                  <a:pt x="5223626" y="177356"/>
                </a:cubicBezTo>
                <a:cubicBezTo>
                  <a:pt x="5282824" y="155243"/>
                  <a:pt x="5315859" y="195041"/>
                  <a:pt x="5375773" y="199913"/>
                </a:cubicBezTo>
                <a:cubicBezTo>
                  <a:pt x="5432511" y="156218"/>
                  <a:pt x="5417550" y="256036"/>
                  <a:pt x="5467502" y="250963"/>
                </a:cubicBezTo>
                <a:cubicBezTo>
                  <a:pt x="5547124" y="209975"/>
                  <a:pt x="5467171" y="283839"/>
                  <a:pt x="5592395" y="265434"/>
                </a:cubicBezTo>
                <a:cubicBezTo>
                  <a:pt x="5599201" y="258867"/>
                  <a:pt x="5614752" y="264706"/>
                  <a:pt x="5613532" y="273379"/>
                </a:cubicBezTo>
                <a:cubicBezTo>
                  <a:pt x="5621390" y="270408"/>
                  <a:pt x="5639720" y="253173"/>
                  <a:pt x="5642173" y="266904"/>
                </a:cubicBezTo>
                <a:cubicBezTo>
                  <a:pt x="5682296" y="267049"/>
                  <a:pt x="5721812" y="257513"/>
                  <a:pt x="5756910" y="239211"/>
                </a:cubicBezTo>
                <a:cubicBezTo>
                  <a:pt x="5834998" y="260050"/>
                  <a:pt x="5790596" y="197229"/>
                  <a:pt x="5846667" y="201786"/>
                </a:cubicBezTo>
                <a:cubicBezTo>
                  <a:pt x="5892444" y="227312"/>
                  <a:pt x="5908324" y="204527"/>
                  <a:pt x="5960732" y="220708"/>
                </a:cubicBezTo>
                <a:cubicBezTo>
                  <a:pt x="5977124" y="175349"/>
                  <a:pt x="6009640" y="223654"/>
                  <a:pt x="6029542" y="210339"/>
                </a:cubicBezTo>
                <a:cubicBezTo>
                  <a:pt x="6063108" y="261420"/>
                  <a:pt x="6107411" y="160034"/>
                  <a:pt x="6141123" y="159923"/>
                </a:cubicBezTo>
                <a:cubicBezTo>
                  <a:pt x="6198068" y="167749"/>
                  <a:pt x="6260628" y="219715"/>
                  <a:pt x="6290640" y="167441"/>
                </a:cubicBezTo>
                <a:cubicBezTo>
                  <a:pt x="6295193" y="188689"/>
                  <a:pt x="6290494" y="217816"/>
                  <a:pt x="6322806" y="213293"/>
                </a:cubicBezTo>
                <a:cubicBezTo>
                  <a:pt x="6335911" y="223881"/>
                  <a:pt x="6338726" y="256581"/>
                  <a:pt x="6364914" y="240140"/>
                </a:cubicBezTo>
                <a:cubicBezTo>
                  <a:pt x="6331888" y="211628"/>
                  <a:pt x="6385856" y="207033"/>
                  <a:pt x="6380420" y="173195"/>
                </a:cubicBezTo>
                <a:cubicBezTo>
                  <a:pt x="6420580" y="151473"/>
                  <a:pt x="6513519" y="179296"/>
                  <a:pt x="6507891" y="118474"/>
                </a:cubicBezTo>
                <a:cubicBezTo>
                  <a:pt x="6519398" y="82452"/>
                  <a:pt x="6571830" y="137398"/>
                  <a:pt x="6571807" y="98636"/>
                </a:cubicBezTo>
                <a:cubicBezTo>
                  <a:pt x="6594702" y="123421"/>
                  <a:pt x="6634676" y="82071"/>
                  <a:pt x="6671880" y="82931"/>
                </a:cubicBezTo>
                <a:cubicBezTo>
                  <a:pt x="6678855" y="65407"/>
                  <a:pt x="6687415" y="66196"/>
                  <a:pt x="6702266" y="75470"/>
                </a:cubicBezTo>
                <a:cubicBezTo>
                  <a:pt x="6747004" y="78450"/>
                  <a:pt x="6798307" y="53072"/>
                  <a:pt x="6845802" y="24496"/>
                </a:cubicBez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Podtytuł 7">
            <a:extLst>
              <a:ext uri="{FF2B5EF4-FFF2-40B4-BE49-F238E27FC236}">
                <a16:creationId xmlns:a16="http://schemas.microsoft.com/office/drawing/2014/main" id="{682B28F7-EAA3-F710-A24D-88BFCC997CF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B8F46F84-AB47-CB94-1DE4-02404BBA853C}"/>
              </a:ext>
            </a:extLst>
          </p:cNvPr>
          <p:cNvSpPr txBox="1"/>
          <p:nvPr/>
        </p:nvSpPr>
        <p:spPr>
          <a:xfrm>
            <a:off x="3498242" y="3889817"/>
            <a:ext cx="20552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rganizacj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</a:t>
            </a:r>
            <a:r>
              <a:rPr kumimoji="0" lang="pl-PL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zs</a:t>
            </a: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)</a:t>
            </a:r>
          </a:p>
        </p:txBody>
      </p:sp>
      <p:pic>
        <p:nvPicPr>
          <p:cNvPr id="20" name="Obraz 2">
            <a:extLst>
              <a:ext uri="{FF2B5EF4-FFF2-40B4-BE49-F238E27FC236}">
                <a16:creationId xmlns:a16="http://schemas.microsoft.com/office/drawing/2014/main" id="{FC388336-02E4-E5EB-9F7A-BDAC10BD89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0757" y="1004321"/>
            <a:ext cx="5139911" cy="4594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ole tekstowe 5">
            <a:extLst>
              <a:ext uri="{FF2B5EF4-FFF2-40B4-BE49-F238E27FC236}">
                <a16:creationId xmlns:a16="http://schemas.microsoft.com/office/drawing/2014/main" id="{9E807C84-4E1B-B723-D17D-40CF928D6F1F}"/>
              </a:ext>
            </a:extLst>
          </p:cNvPr>
          <p:cNvSpPr txBox="1"/>
          <p:nvPr/>
        </p:nvSpPr>
        <p:spPr>
          <a:xfrm>
            <a:off x="350030" y="1548856"/>
            <a:ext cx="5890698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pl-PL" sz="28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•  </a:t>
            </a:r>
            <a:r>
              <a:rPr lang="pl-PL" sz="2800" kern="0" dirty="0">
                <a:solidFill>
                  <a:srgbClr val="002060"/>
                </a:solidFill>
                <a:latin typeface="Arial"/>
                <a:cs typeface="Arial"/>
                <a:sym typeface="Arial"/>
              </a:rPr>
              <a:t>Analiza pięciu sił konkurencyjnych </a:t>
            </a:r>
            <a:r>
              <a:rPr lang="pl-PL" sz="2800" kern="0" dirty="0" err="1">
                <a:solidFill>
                  <a:srgbClr val="002060"/>
                </a:solidFill>
                <a:latin typeface="Arial"/>
                <a:cs typeface="Arial"/>
                <a:sym typeface="Arial"/>
              </a:rPr>
              <a:t>M.Portera</a:t>
            </a:r>
            <a:endParaRPr lang="pl-PL" sz="2800" kern="0" dirty="0">
              <a:solidFill>
                <a:srgbClr val="002060"/>
              </a:solidFill>
              <a:latin typeface="Arial"/>
              <a:cs typeface="Arial"/>
              <a:sym typeface="Arial"/>
            </a:endParaRPr>
          </a:p>
          <a:p>
            <a:pPr>
              <a:buClr>
                <a:srgbClr val="000000"/>
              </a:buClr>
              <a:defRPr/>
            </a:pPr>
            <a:r>
              <a:rPr lang="pl-PL" sz="2800" kern="0" dirty="0">
                <a:solidFill>
                  <a:srgbClr val="002060"/>
                </a:solidFill>
                <a:latin typeface="Arial"/>
                <a:cs typeface="Arial"/>
                <a:sym typeface="Arial"/>
              </a:rPr>
              <a:t>•   Punktowa ocena atrakcyjności sektora</a:t>
            </a:r>
          </a:p>
          <a:p>
            <a:pPr>
              <a:buClr>
                <a:srgbClr val="000000"/>
              </a:buClr>
              <a:defRPr/>
            </a:pPr>
            <a:r>
              <a:rPr lang="pl-PL" sz="2800" kern="0" dirty="0">
                <a:solidFill>
                  <a:srgbClr val="002060"/>
                </a:solidFill>
                <a:latin typeface="Arial"/>
                <a:cs typeface="Arial"/>
                <a:sym typeface="Arial"/>
              </a:rPr>
              <a:t>•   Mapa grup strategicznych</a:t>
            </a:r>
          </a:p>
          <a:p>
            <a:pPr>
              <a:buClr>
                <a:srgbClr val="000000"/>
              </a:buClr>
              <a:defRPr/>
            </a:pPr>
            <a:r>
              <a:rPr lang="pl-PL" sz="2800" kern="0" dirty="0">
                <a:solidFill>
                  <a:srgbClr val="002060"/>
                </a:solidFill>
                <a:latin typeface="Arial"/>
                <a:cs typeface="Arial"/>
                <a:sym typeface="Arial"/>
              </a:rPr>
              <a:t>•   Krzywa doświadczeń</a:t>
            </a:r>
          </a:p>
          <a:p>
            <a:pPr marL="457200" indent="-45720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pl-PL" sz="2800" kern="0" dirty="0">
                <a:solidFill>
                  <a:srgbClr val="002060"/>
                </a:solidFill>
                <a:latin typeface="Arial"/>
                <a:cs typeface="Arial"/>
                <a:sym typeface="Arial"/>
              </a:rPr>
              <a:t>Identyfikacja interesariuszy zewnętrznych</a:t>
            </a:r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9BE12860-A64C-12D9-E7E0-EB56E3CE037F}"/>
              </a:ext>
            </a:extLst>
          </p:cNvPr>
          <p:cNvSpPr txBox="1"/>
          <p:nvPr/>
        </p:nvSpPr>
        <p:spPr>
          <a:xfrm>
            <a:off x="9335347" y="6260543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 dirty="0"/>
              <a:t>Źródło: </a:t>
            </a:r>
            <a:r>
              <a:rPr lang="pl-PL" sz="1200" dirty="0" err="1"/>
              <a:t>Cheverton</a:t>
            </a:r>
            <a:r>
              <a:rPr lang="pl-PL" sz="1200" dirty="0"/>
              <a:t> P. (2006)</a:t>
            </a:r>
          </a:p>
        </p:txBody>
      </p:sp>
    </p:spTree>
    <p:extLst>
      <p:ext uri="{BB962C8B-B14F-4D97-AF65-F5344CB8AC3E}">
        <p14:creationId xmlns:p14="http://schemas.microsoft.com/office/powerpoint/2010/main" val="38448561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Pakiet 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IGPIA - Theme 15 - Light">
      <a:dk1>
        <a:srgbClr val="B3B3B3"/>
      </a:dk1>
      <a:lt1>
        <a:srgbClr val="FFFFFF"/>
      </a:lt1>
      <a:dk2>
        <a:srgbClr val="1C2835"/>
      </a:dk2>
      <a:lt2>
        <a:srgbClr val="FFFFFF"/>
      </a:lt2>
      <a:accent1>
        <a:srgbClr val="4DADB5"/>
      </a:accent1>
      <a:accent2>
        <a:srgbClr val="3984A3"/>
      </a:accent2>
      <a:accent3>
        <a:srgbClr val="2B526A"/>
      </a:accent3>
      <a:accent4>
        <a:srgbClr val="6C88B7"/>
      </a:accent4>
      <a:accent5>
        <a:srgbClr val="4C5974"/>
      </a:accent5>
      <a:accent6>
        <a:srgbClr val="303942"/>
      </a:accent6>
      <a:hlink>
        <a:srgbClr val="F33B48"/>
      </a:hlink>
      <a:folHlink>
        <a:srgbClr val="FFC000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3.xml><?xml version="1.0" encoding="utf-8"?>
<a:theme xmlns:a="http://schemas.openxmlformats.org/drawingml/2006/main" name="1_Office Theme">
  <a:themeElements>
    <a:clrScheme name="Custom 8">
      <a:dk1>
        <a:sysClr val="windowText" lastClr="000000"/>
      </a:dk1>
      <a:lt1>
        <a:sysClr val="window" lastClr="FFFFFF"/>
      </a:lt1>
      <a:dk2>
        <a:srgbClr val="0052A5"/>
      </a:dk2>
      <a:lt2>
        <a:srgbClr val="EEECE1"/>
      </a:lt2>
      <a:accent1>
        <a:srgbClr val="D0091D"/>
      </a:accent1>
      <a:accent2>
        <a:srgbClr val="171945"/>
      </a:accent2>
      <a:accent3>
        <a:srgbClr val="FFCC00"/>
      </a:accent3>
      <a:accent4>
        <a:srgbClr val="E30613"/>
      </a:accent4>
      <a:accent5>
        <a:srgbClr val="509400"/>
      </a:accent5>
      <a:accent6>
        <a:srgbClr val="7030A0"/>
      </a:accent6>
      <a:hlink>
        <a:srgbClr val="000000"/>
      </a:hlink>
      <a:folHlink>
        <a:srgbClr val="003D7B"/>
      </a:folHlink>
    </a:clrScheme>
    <a:fontScheme name="Custom 4">
      <a:majorFont>
        <a:latin typeface="Lato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Office Theme">
  <a:themeElements>
    <a:clrScheme name="Jetfabrik - Coloured 17 - Light">
      <a:dk1>
        <a:srgbClr val="737572"/>
      </a:dk1>
      <a:lt1>
        <a:sysClr val="window" lastClr="FFFFFF"/>
      </a:lt1>
      <a:dk2>
        <a:srgbClr val="445469"/>
      </a:dk2>
      <a:lt2>
        <a:srgbClr val="FFFFFF"/>
      </a:lt2>
      <a:accent1>
        <a:srgbClr val="0E80C9"/>
      </a:accent1>
      <a:accent2>
        <a:srgbClr val="119CF4"/>
      </a:accent2>
      <a:accent3>
        <a:srgbClr val="445469"/>
      </a:accent3>
      <a:accent4>
        <a:srgbClr val="8AC153"/>
      </a:accent4>
      <a:accent5>
        <a:srgbClr val="BAEF69"/>
      </a:accent5>
      <a:accent6>
        <a:srgbClr val="A9A8AB"/>
      </a:accent6>
      <a:hlink>
        <a:srgbClr val="0E80C9"/>
      </a:hlink>
      <a:folHlink>
        <a:srgbClr val="0EA3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5.xml><?xml version="1.0" encoding="utf-8"?>
<a:theme xmlns:a="http://schemas.openxmlformats.org/drawingml/2006/main" name="3_Office Theme">
  <a:themeElements>
    <a:clrScheme name="Vistula prezentacja">
      <a:dk1>
        <a:srgbClr val="000000"/>
      </a:dk1>
      <a:lt1>
        <a:srgbClr val="FFFFFF"/>
      </a:lt1>
      <a:dk2>
        <a:srgbClr val="6D6E70"/>
      </a:dk2>
      <a:lt2>
        <a:srgbClr val="FFFFFF"/>
      </a:lt2>
      <a:accent1>
        <a:srgbClr val="00ADC4"/>
      </a:accent1>
      <a:accent2>
        <a:srgbClr val="9E5EBD"/>
      </a:accent2>
      <a:accent3>
        <a:srgbClr val="2C97DC"/>
      </a:accent3>
      <a:accent4>
        <a:srgbClr val="20BF9C"/>
      </a:accent4>
      <a:accent5>
        <a:srgbClr val="485E7B"/>
      </a:accent5>
      <a:accent6>
        <a:srgbClr val="EF4541"/>
      </a:accent6>
      <a:hlink>
        <a:srgbClr val="139EB8"/>
      </a:hlink>
      <a:folHlink>
        <a:srgbClr val="9E5EB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Pakiet 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85</TotalTime>
  <Words>1242</Words>
  <Application>Microsoft Office PowerPoint</Application>
  <PresentationFormat>Panoramiczny</PresentationFormat>
  <Paragraphs>305</Paragraphs>
  <Slides>37</Slides>
  <Notes>15</Notes>
  <HiddenSlides>0</HiddenSlides>
  <MMClips>0</MMClips>
  <ScaleCrop>false</ScaleCrop>
  <HeadingPairs>
    <vt:vector size="8" baseType="variant">
      <vt:variant>
        <vt:lpstr>Używane czcionki</vt:lpstr>
      </vt:variant>
      <vt:variant>
        <vt:i4>14</vt:i4>
      </vt:variant>
      <vt:variant>
        <vt:lpstr>Motyw</vt:lpstr>
      </vt:variant>
      <vt:variant>
        <vt:i4>5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37</vt:i4>
      </vt:variant>
    </vt:vector>
  </HeadingPairs>
  <TitlesOfParts>
    <vt:vector size="57" baseType="lpstr">
      <vt:lpstr>Aptos</vt:lpstr>
      <vt:lpstr>Aptos Display</vt:lpstr>
      <vt:lpstr>Arial</vt:lpstr>
      <vt:lpstr>Calibri</vt:lpstr>
      <vt:lpstr>Lato</vt:lpstr>
      <vt:lpstr>Lato Light</vt:lpstr>
      <vt:lpstr>Poppins</vt:lpstr>
      <vt:lpstr>Poppins Medium</vt:lpstr>
      <vt:lpstr>Roboto Condensed</vt:lpstr>
      <vt:lpstr>Roboto Condensed Light</vt:lpstr>
      <vt:lpstr>Symbol</vt:lpstr>
      <vt:lpstr>Tahoma</vt:lpstr>
      <vt:lpstr>Times New Roman</vt:lpstr>
      <vt:lpstr>Wingdings</vt:lpstr>
      <vt:lpstr>Motyw pakietu Office</vt:lpstr>
      <vt:lpstr>Office Theme</vt:lpstr>
      <vt:lpstr>1_Office Theme</vt:lpstr>
      <vt:lpstr>2_Office Theme</vt:lpstr>
      <vt:lpstr>3_Office Theme</vt:lpstr>
      <vt:lpstr>think-cell Slide</vt:lpstr>
      <vt:lpstr>Master Plan rozwoju polskiego  związku sportowego</vt:lpstr>
      <vt:lpstr>Narzędzia zarządzania organizacją wg McKinsey</vt:lpstr>
      <vt:lpstr>Prezentacja programu PowerPoint</vt:lpstr>
      <vt:lpstr>Etapy procesu planowania strategicznego</vt:lpstr>
      <vt:lpstr>Etapy procesu planowania   strategicznego</vt:lpstr>
      <vt:lpstr>Analiza strategiczna pzs</vt:lpstr>
      <vt:lpstr>Analiza otoczenia polskiego związku sportowego</vt:lpstr>
      <vt:lpstr>Analiza otoczenia dalszego pzs (makrootoczenia)</vt:lpstr>
      <vt:lpstr>Analiza otoczenia bliższego pzs (mikrootoczenia)</vt:lpstr>
      <vt:lpstr>Prezentacja programu PowerPoint</vt:lpstr>
      <vt:lpstr>Prezentacja programu PowerPoint</vt:lpstr>
      <vt:lpstr>Prezentacja programu PowerPoint</vt:lpstr>
      <vt:lpstr>Prezentacja programu PowerPoint</vt:lpstr>
      <vt:lpstr>Struktura Planu Strategicznego</vt:lpstr>
      <vt:lpstr>MISJA WIZJA WARTOŚCI</vt:lpstr>
      <vt:lpstr>MISJA WIZJA WARTOŚCI</vt:lpstr>
      <vt:lpstr>Prezentacja programu PowerPoint</vt:lpstr>
      <vt:lpstr>OBSZARY STRATEGICZNE</vt:lpstr>
      <vt:lpstr>OBSZARY STRATEGICZNE</vt:lpstr>
      <vt:lpstr>Prezentacja programu PowerPoint</vt:lpstr>
      <vt:lpstr>Cele strategiczne</vt:lpstr>
      <vt:lpstr>Prezentacja programu PowerPoint</vt:lpstr>
      <vt:lpstr>PLAN DZIAŁANIA</vt:lpstr>
      <vt:lpstr>PLAN DZIAŁANIA</vt:lpstr>
      <vt:lpstr>Prezentacja programu PowerPoint</vt:lpstr>
      <vt:lpstr>HARMONOGRAM (KAMIENIE MILOWE)</vt:lpstr>
      <vt:lpstr>KOMUNIKACJA  I PROMOCJA OSIĄGNIĘĆ</vt:lpstr>
      <vt:lpstr>Plan działania</vt:lpstr>
      <vt:lpstr>PLAN DZIAŁANIA</vt:lpstr>
      <vt:lpstr>Wytyczne - Horyzont planowania </vt:lpstr>
      <vt:lpstr>Wytyczne - Analiza interesariuszy </vt:lpstr>
      <vt:lpstr>Wytyczne - Analiza i diagnoza dyscypliny </vt:lpstr>
      <vt:lpstr>Wytyczne - Proces przygotowania i akceptacji dokumentu </vt:lpstr>
      <vt:lpstr>Wytyczne - Zakres merytoryczny Masterplanu </vt:lpstr>
      <vt:lpstr>Wytyczne - Plany operacyjne</vt:lpstr>
      <vt:lpstr>Wytyczne - Termin przekazania dokumentów </vt:lpstr>
      <vt:lpstr>Dziękuję za uwagę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olanta Żyśko</dc:creator>
  <cp:lastModifiedBy>Jolanta Żyśko</cp:lastModifiedBy>
  <cp:revision>10</cp:revision>
  <dcterms:created xsi:type="dcterms:W3CDTF">2025-11-17T20:31:36Z</dcterms:created>
  <dcterms:modified xsi:type="dcterms:W3CDTF">2026-05-18T10:14:42Z</dcterms:modified>
</cp:coreProperties>
</file>